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omments/modernComment_1C5_9E431E71.xml" ContentType="application/vnd.ms-powerpoint.comments+xml"/>
  <Override PartName="/ppt/notesSlides/notesSlide15.xml" ContentType="application/vnd.openxmlformats-officedocument.presentationml.notesSlide+xml"/>
  <Override PartName="/ppt/comments/modernComment_1C6_FD689439.xml" ContentType="application/vnd.ms-powerpoint.comments+xml"/>
  <Override PartName="/ppt/notesSlides/notesSlide16.xml" ContentType="application/vnd.openxmlformats-officedocument.presentationml.notesSlide+xml"/>
  <Override PartName="/ppt/comments/modernComment_1D6_99073FCB.xml" ContentType="application/vnd.ms-powerpoint.comments+xml"/>
  <Override PartName="/ppt/notesSlides/notesSlide17.xml" ContentType="application/vnd.openxmlformats-officedocument.presentationml.notesSlide+xml"/>
  <Override PartName="/ppt/comments/modernComment_1CA_25D53EF0.xml" ContentType="application/vnd.ms-powerpoint.comments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14" r:id="rId5"/>
    <p:sldMasterId id="2147483736" r:id="rId6"/>
  </p:sldMasterIdLst>
  <p:notesMasterIdLst>
    <p:notesMasterId r:id="rId38"/>
  </p:notesMasterIdLst>
  <p:handoutMasterIdLst>
    <p:handoutMasterId r:id="rId39"/>
  </p:handoutMasterIdLst>
  <p:sldIdLst>
    <p:sldId id="261" r:id="rId7"/>
    <p:sldId id="484" r:id="rId8"/>
    <p:sldId id="483" r:id="rId9"/>
    <p:sldId id="292" r:id="rId10"/>
    <p:sldId id="485" r:id="rId11"/>
    <p:sldId id="439" r:id="rId12"/>
    <p:sldId id="472" r:id="rId13"/>
    <p:sldId id="468" r:id="rId14"/>
    <p:sldId id="461" r:id="rId15"/>
    <p:sldId id="462" r:id="rId16"/>
    <p:sldId id="463" r:id="rId17"/>
    <p:sldId id="469" r:id="rId18"/>
    <p:sldId id="466" r:id="rId19"/>
    <p:sldId id="471" r:id="rId20"/>
    <p:sldId id="473" r:id="rId21"/>
    <p:sldId id="478" r:id="rId22"/>
    <p:sldId id="444" r:id="rId23"/>
    <p:sldId id="445" r:id="rId24"/>
    <p:sldId id="446" r:id="rId25"/>
    <p:sldId id="447" r:id="rId26"/>
    <p:sldId id="448" r:id="rId27"/>
    <p:sldId id="449" r:id="rId28"/>
    <p:sldId id="451" r:id="rId29"/>
    <p:sldId id="453" r:id="rId30"/>
    <p:sldId id="454" r:id="rId31"/>
    <p:sldId id="470" r:id="rId32"/>
    <p:sldId id="458" r:id="rId33"/>
    <p:sldId id="467" r:id="rId34"/>
    <p:sldId id="481" r:id="rId35"/>
    <p:sldId id="479" r:id="rId36"/>
    <p:sldId id="475" r:id="rId3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AB7963E-ED27-4191-8B57-BDBC760FE9FB}">
          <p14:sldIdLst>
            <p14:sldId id="261"/>
            <p14:sldId id="484"/>
            <p14:sldId id="483"/>
            <p14:sldId id="292"/>
            <p14:sldId id="485"/>
            <p14:sldId id="439"/>
            <p14:sldId id="472"/>
            <p14:sldId id="468"/>
            <p14:sldId id="461"/>
            <p14:sldId id="462"/>
            <p14:sldId id="463"/>
            <p14:sldId id="469"/>
            <p14:sldId id="466"/>
            <p14:sldId id="471"/>
            <p14:sldId id="473"/>
            <p14:sldId id="478"/>
            <p14:sldId id="444"/>
            <p14:sldId id="445"/>
            <p14:sldId id="446"/>
            <p14:sldId id="447"/>
            <p14:sldId id="448"/>
            <p14:sldId id="449"/>
            <p14:sldId id="451"/>
            <p14:sldId id="453"/>
            <p14:sldId id="454"/>
            <p14:sldId id="470"/>
            <p14:sldId id="458"/>
            <p14:sldId id="467"/>
            <p14:sldId id="481"/>
          </p14:sldIdLst>
        </p14:section>
        <p14:section name="backup" id="{58905703-47F3-49EF-80B9-7B5C88853129}">
          <p14:sldIdLst>
            <p14:sldId id="479"/>
            <p14:sldId id="47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FBA067-CB7B-1DBE-0D2F-C786207FCFAC}" name="Zhizi Wen" initials="ZW" userId="S::we94jope@fauad.fau.de::b804997a-63ad-4c7f-9308-31a917908f04" providerId="AD"/>
  <p188:author id="{4A10CD74-D94A-4A13-E41E-E04947D05FC1}" name="Wilps, Julius" initials="JW" userId="S::ja03xewo@fauad.fau.de::6d1b960f-b4ab-492d-83e7-05f23c28b40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50F3C"/>
    <a:srgbClr val="971B2F"/>
    <a:srgbClr val="F2F2F2"/>
    <a:srgbClr val="04316A"/>
    <a:srgbClr val="041E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2B9D64-17D5-9E4A-BFA7-5A2CE99A15B4}" v="7" vWet="9" dt="2023-03-13T07:54:07.139"/>
    <p1510:client id="{3F4FFD1E-BD3D-1A48-A91A-DD9E54F15304}" v="2434" dt="2023-03-13T22:50:25.388"/>
    <p1510:client id="{B10B7B39-2ABD-4C62-8983-C68601FCF583}" v="6895" dt="2023-03-13T08:43:58.3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4092"/>
    <p:restoredTop sz="70915"/>
  </p:normalViewPr>
  <p:slideViewPr>
    <p:cSldViewPr snapToGrid="0">
      <p:cViewPr varScale="1">
        <p:scale>
          <a:sx n="60" d="100"/>
          <a:sy n="60" d="100"/>
        </p:scale>
        <p:origin x="248" y="7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ableStyles" Target="tableStyle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notesMaster" Target="notesMasters/notesMaster1.xml"/><Relationship Id="rId46" Type="http://schemas.microsoft.com/office/2018/10/relationships/authors" Target="authors.xml"/><Relationship Id="rId20" Type="http://schemas.openxmlformats.org/officeDocument/2006/relationships/slide" Target="slides/slide14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ourati, Omar" userId="S::oz48ohuv@fauad.fau.de::543b926d-baf3-4e4d-861e-19746c37446c" providerId="AD" clId="Web-{128E2877-2B38-4C7E-9B0C-4299909DC953}"/>
    <pc:docChg chg="modSld">
      <pc:chgData name="Fourati, Omar" userId="S::oz48ohuv@fauad.fau.de::543b926d-baf3-4e4d-861e-19746c37446c" providerId="AD" clId="Web-{128E2877-2B38-4C7E-9B0C-4299909DC953}" dt="2023-03-12T20:47:49.276" v="4" actId="20577"/>
      <pc:docMkLst>
        <pc:docMk/>
      </pc:docMkLst>
      <pc:sldChg chg="modSp">
        <pc:chgData name="Fourati, Omar" userId="S::oz48ohuv@fauad.fau.de::543b926d-baf3-4e4d-861e-19746c37446c" providerId="AD" clId="Web-{128E2877-2B38-4C7E-9B0C-4299909DC953}" dt="2023-03-12T20:47:49.276" v="4" actId="20577"/>
        <pc:sldMkLst>
          <pc:docMk/>
          <pc:sldMk cId="2655198833" sldId="453"/>
        </pc:sldMkLst>
        <pc:spChg chg="mod">
          <ac:chgData name="Fourati, Omar" userId="S::oz48ohuv@fauad.fau.de::543b926d-baf3-4e4d-861e-19746c37446c" providerId="AD" clId="Web-{128E2877-2B38-4C7E-9B0C-4299909DC953}" dt="2023-03-12T20:47:49.276" v="4" actId="20577"/>
          <ac:spMkLst>
            <pc:docMk/>
            <pc:sldMk cId="2655198833" sldId="453"/>
            <ac:spMk id="10" creationId="{2EAF70E9-9520-C359-3F14-F7FA04BB93BF}"/>
          </ac:spMkLst>
        </pc:spChg>
        <pc:spChg chg="mod">
          <ac:chgData name="Fourati, Omar" userId="S::oz48ohuv@fauad.fau.de::543b926d-baf3-4e4d-861e-19746c37446c" providerId="AD" clId="Web-{128E2877-2B38-4C7E-9B0C-4299909DC953}" dt="2023-03-12T20:47:38.244" v="1" actId="20577"/>
          <ac:spMkLst>
            <pc:docMk/>
            <pc:sldMk cId="2655198833" sldId="453"/>
            <ac:spMk id="11" creationId="{EC364AED-479C-F7DA-9EF9-4B90512195B1}"/>
          </ac:spMkLst>
        </pc:spChg>
      </pc:sldChg>
    </pc:docChg>
  </pc:docChgLst>
  <pc:docChgLst>
    <pc:chgData name="Fourati, Omar" userId="S::oz48ohuv@fauad.fau.de::543b926d-baf3-4e4d-861e-19746c37446c" providerId="AD" clId="Web-{6F2464FE-6775-4AFF-B86A-7B68114B79AE}"/>
    <pc:docChg chg="addSld modSld">
      <pc:chgData name="Fourati, Omar" userId="S::oz48ohuv@fauad.fau.de::543b926d-baf3-4e4d-861e-19746c37446c" providerId="AD" clId="Web-{6F2464FE-6775-4AFF-B86A-7B68114B79AE}" dt="2023-03-12T09:31:08.735" v="114" actId="14100"/>
      <pc:docMkLst>
        <pc:docMk/>
      </pc:docMkLst>
      <pc:sldChg chg="addSp delSp modSp">
        <pc:chgData name="Fourati, Omar" userId="S::oz48ohuv@fauad.fau.de::543b926d-baf3-4e4d-861e-19746c37446c" providerId="AD" clId="Web-{6F2464FE-6775-4AFF-B86A-7B68114B79AE}" dt="2023-03-12T09:27:57.107" v="59" actId="1076"/>
        <pc:sldMkLst>
          <pc:docMk/>
          <pc:sldMk cId="1731582872" sldId="456"/>
        </pc:sldMkLst>
        <pc:spChg chg="add del mod">
          <ac:chgData name="Fourati, Omar" userId="S::oz48ohuv@fauad.fau.de::543b926d-baf3-4e4d-861e-19746c37446c" providerId="AD" clId="Web-{6F2464FE-6775-4AFF-B86A-7B68114B79AE}" dt="2023-03-12T09:11:58.367" v="10"/>
          <ac:spMkLst>
            <pc:docMk/>
            <pc:sldMk cId="1731582872" sldId="456"/>
            <ac:spMk id="2" creationId="{F81136C4-4E70-9EAE-D7E4-7081D5C388EA}"/>
          </ac:spMkLst>
        </pc:spChg>
        <pc:spChg chg="add del mod">
          <ac:chgData name="Fourati, Omar" userId="S::oz48ohuv@fauad.fau.de::543b926d-baf3-4e4d-861e-19746c37446c" providerId="AD" clId="Web-{6F2464FE-6775-4AFF-B86A-7B68114B79AE}" dt="2023-03-12T09:12:35.978" v="17"/>
          <ac:spMkLst>
            <pc:docMk/>
            <pc:sldMk cId="1731582872" sldId="456"/>
            <ac:spMk id="5" creationId="{99156801-C1D9-3FA3-9BE4-890A0B860F1E}"/>
          </ac:spMkLst>
        </pc:spChg>
        <pc:spChg chg="add mod">
          <ac:chgData name="Fourati, Omar" userId="S::oz48ohuv@fauad.fau.de::543b926d-baf3-4e4d-861e-19746c37446c" providerId="AD" clId="Web-{6F2464FE-6775-4AFF-B86A-7B68114B79AE}" dt="2023-03-12T09:15:53.091" v="47" actId="1076"/>
          <ac:spMkLst>
            <pc:docMk/>
            <pc:sldMk cId="1731582872" sldId="456"/>
            <ac:spMk id="7" creationId="{88B87F09-4E01-5983-8543-E32FCBF5A1B5}"/>
          </ac:spMkLst>
        </pc:spChg>
        <pc:spChg chg="add mod">
          <ac:chgData name="Fourati, Omar" userId="S::oz48ohuv@fauad.fau.de::543b926d-baf3-4e4d-861e-19746c37446c" providerId="AD" clId="Web-{6F2464FE-6775-4AFF-B86A-7B68114B79AE}" dt="2023-03-12T09:27:57.107" v="59" actId="1076"/>
          <ac:spMkLst>
            <pc:docMk/>
            <pc:sldMk cId="1731582872" sldId="456"/>
            <ac:spMk id="10" creationId="{A93C917D-903C-BC3E-A77E-F7CB3C2335BE}"/>
          </ac:spMkLst>
        </pc:spChg>
        <pc:picChg chg="mod">
          <ac:chgData name="Fourati, Omar" userId="S::oz48ohuv@fauad.fau.de::543b926d-baf3-4e4d-861e-19746c37446c" providerId="AD" clId="Web-{6F2464FE-6775-4AFF-B86A-7B68114B79AE}" dt="2023-03-12T09:15:52.466" v="40" actId="1076"/>
          <ac:picMkLst>
            <pc:docMk/>
            <pc:sldMk cId="1731582872" sldId="456"/>
            <ac:picMk id="3" creationId="{36D23585-F42D-8BA2-EDBD-4A01B07A5B42}"/>
          </ac:picMkLst>
        </pc:picChg>
      </pc:sldChg>
      <pc:sldChg chg="addSp delSp modSp add replId">
        <pc:chgData name="Fourati, Omar" userId="S::oz48ohuv@fauad.fau.de::543b926d-baf3-4e4d-861e-19746c37446c" providerId="AD" clId="Web-{6F2464FE-6775-4AFF-B86A-7B68114B79AE}" dt="2023-03-12T09:31:08.735" v="114" actId="14100"/>
        <pc:sldMkLst>
          <pc:docMk/>
          <pc:sldMk cId="1959561535" sldId="457"/>
        </pc:sldMkLst>
        <pc:spChg chg="mod">
          <ac:chgData name="Fourati, Omar" userId="S::oz48ohuv@fauad.fau.de::543b926d-baf3-4e4d-861e-19746c37446c" providerId="AD" clId="Web-{6F2464FE-6775-4AFF-B86A-7B68114B79AE}" dt="2023-03-12T09:28:27.685" v="62" actId="20577"/>
          <ac:spMkLst>
            <pc:docMk/>
            <pc:sldMk cId="1959561535" sldId="457"/>
            <ac:spMk id="6" creationId="{1CC6A956-A954-4940-A619-381D56C1A856}"/>
          </ac:spMkLst>
        </pc:spChg>
        <pc:spChg chg="mod">
          <ac:chgData name="Fourati, Omar" userId="S::oz48ohuv@fauad.fau.de::543b926d-baf3-4e4d-861e-19746c37446c" providerId="AD" clId="Web-{6F2464FE-6775-4AFF-B86A-7B68114B79AE}" dt="2023-03-12T09:31:03.892" v="112" actId="20577"/>
          <ac:spMkLst>
            <pc:docMk/>
            <pc:sldMk cId="1959561535" sldId="457"/>
            <ac:spMk id="7" creationId="{88B87F09-4E01-5983-8543-E32FCBF5A1B5}"/>
          </ac:spMkLst>
        </pc:spChg>
        <pc:spChg chg="mod">
          <ac:chgData name="Fourati, Omar" userId="S::oz48ohuv@fauad.fau.de::543b926d-baf3-4e4d-861e-19746c37446c" providerId="AD" clId="Web-{6F2464FE-6775-4AFF-B86A-7B68114B79AE}" dt="2023-03-12T09:31:08.735" v="114" actId="14100"/>
          <ac:spMkLst>
            <pc:docMk/>
            <pc:sldMk cId="1959561535" sldId="457"/>
            <ac:spMk id="10" creationId="{A93C917D-903C-BC3E-A77E-F7CB3C2335BE}"/>
          </ac:spMkLst>
        </pc:spChg>
        <pc:picChg chg="add mod">
          <ac:chgData name="Fourati, Omar" userId="S::oz48ohuv@fauad.fau.de::543b926d-baf3-4e4d-861e-19746c37446c" providerId="AD" clId="Web-{6F2464FE-6775-4AFF-B86A-7B68114B79AE}" dt="2023-03-12T09:28:35.889" v="66" actId="1076"/>
          <ac:picMkLst>
            <pc:docMk/>
            <pc:sldMk cId="1959561535" sldId="457"/>
            <ac:picMk id="2" creationId="{7A611C3B-577D-F676-5D6E-7C0FEC01526F}"/>
          </ac:picMkLst>
        </pc:picChg>
        <pc:picChg chg="del">
          <ac:chgData name="Fourati, Omar" userId="S::oz48ohuv@fauad.fau.de::543b926d-baf3-4e4d-861e-19746c37446c" providerId="AD" clId="Web-{6F2464FE-6775-4AFF-B86A-7B68114B79AE}" dt="2023-03-12T09:28:29.138" v="63"/>
          <ac:picMkLst>
            <pc:docMk/>
            <pc:sldMk cId="1959561535" sldId="457"/>
            <ac:picMk id="3" creationId="{36D23585-F42D-8BA2-EDBD-4A01B07A5B42}"/>
          </ac:picMkLst>
        </pc:picChg>
        <pc:picChg chg="add mod">
          <ac:chgData name="Fourati, Omar" userId="S::oz48ohuv@fauad.fau.de::543b926d-baf3-4e4d-861e-19746c37446c" providerId="AD" clId="Web-{6F2464FE-6775-4AFF-B86A-7B68114B79AE}" dt="2023-03-12T09:29:30.093" v="76" actId="1076"/>
          <ac:picMkLst>
            <pc:docMk/>
            <pc:sldMk cId="1959561535" sldId="457"/>
            <ac:picMk id="5" creationId="{EE34D499-9493-839C-53D2-E6429EE260F3}"/>
          </ac:picMkLst>
        </pc:picChg>
      </pc:sldChg>
    </pc:docChg>
  </pc:docChgLst>
  <pc:docChgLst>
    <pc:chgData name="Fourati, Omar" userId="S::oz48ohuv@fauad.fau.de::543b926d-baf3-4e4d-861e-19746c37446c" providerId="AD" clId="Web-{D56CD655-6438-4027-917F-5483610AED0A}"/>
    <pc:docChg chg="modSld">
      <pc:chgData name="Fourati, Omar" userId="S::oz48ohuv@fauad.fau.de::543b926d-baf3-4e4d-861e-19746c37446c" providerId="AD" clId="Web-{D56CD655-6438-4027-917F-5483610AED0A}" dt="2023-03-12T21:03:14.077" v="4" actId="14100"/>
      <pc:docMkLst>
        <pc:docMk/>
      </pc:docMkLst>
      <pc:sldChg chg="addSp modSp">
        <pc:chgData name="Fourati, Omar" userId="S::oz48ohuv@fauad.fau.de::543b926d-baf3-4e4d-861e-19746c37446c" providerId="AD" clId="Web-{D56CD655-6438-4027-917F-5483610AED0A}" dt="2023-03-12T21:03:14.077" v="4" actId="14100"/>
        <pc:sldMkLst>
          <pc:docMk/>
          <pc:sldMk cId="1358568689" sldId="483"/>
        </pc:sldMkLst>
        <pc:picChg chg="add mod">
          <ac:chgData name="Fourati, Omar" userId="S::oz48ohuv@fauad.fau.de::543b926d-baf3-4e4d-861e-19746c37446c" providerId="AD" clId="Web-{D56CD655-6438-4027-917F-5483610AED0A}" dt="2023-03-12T21:03:14.077" v="4" actId="14100"/>
          <ac:picMkLst>
            <pc:docMk/>
            <pc:sldMk cId="1358568689" sldId="483"/>
            <ac:picMk id="2" creationId="{1320C3A6-D727-888E-2C0B-2CD0D0B69E90}"/>
          </ac:picMkLst>
        </pc:picChg>
      </pc:sldChg>
    </pc:docChg>
  </pc:docChgLst>
  <pc:docChgLst>
    <pc:chgData name="Völkel, Tobias" userId="S::ru22boda@fauad.fau.de::9c02bf22-18bb-468a-b263-c51c2dc523eb" providerId="AD" clId="Web-{ADC40BAE-5298-4D1C-BF2F-2A2B5EF7E615}"/>
    <pc:docChg chg="delSld">
      <pc:chgData name="Völkel, Tobias" userId="S::ru22boda@fauad.fau.de::9c02bf22-18bb-468a-b263-c51c2dc523eb" providerId="AD" clId="Web-{ADC40BAE-5298-4D1C-BF2F-2A2B5EF7E615}" dt="2023-01-07T14:59:59.149" v="24"/>
      <pc:docMkLst>
        <pc:docMk/>
      </pc:docMkLst>
      <pc:sldChg chg="del">
        <pc:chgData name="Völkel, Tobias" userId="S::ru22boda@fauad.fau.de::9c02bf22-18bb-468a-b263-c51c2dc523eb" providerId="AD" clId="Web-{ADC40BAE-5298-4D1C-BF2F-2A2B5EF7E615}" dt="2023-01-07T14:59:59.149" v="24"/>
        <pc:sldMkLst>
          <pc:docMk/>
          <pc:sldMk cId="3776860882" sldId="309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49" v="23"/>
        <pc:sldMkLst>
          <pc:docMk/>
          <pc:sldMk cId="4215951273" sldId="310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49" v="22"/>
        <pc:sldMkLst>
          <pc:docMk/>
          <pc:sldMk cId="2829534537" sldId="311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49" v="21"/>
        <pc:sldMkLst>
          <pc:docMk/>
          <pc:sldMk cId="1570850788" sldId="312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49" v="20"/>
        <pc:sldMkLst>
          <pc:docMk/>
          <pc:sldMk cId="3693858306" sldId="313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49" v="19"/>
        <pc:sldMkLst>
          <pc:docMk/>
          <pc:sldMk cId="3996438151" sldId="314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49" v="18"/>
        <pc:sldMkLst>
          <pc:docMk/>
          <pc:sldMk cId="979951990" sldId="315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49" v="17"/>
        <pc:sldMkLst>
          <pc:docMk/>
          <pc:sldMk cId="4069997181" sldId="316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33" v="16"/>
        <pc:sldMkLst>
          <pc:docMk/>
          <pc:sldMk cId="982204624" sldId="317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33" v="15"/>
        <pc:sldMkLst>
          <pc:docMk/>
          <pc:sldMk cId="1556552873" sldId="318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33" v="14"/>
        <pc:sldMkLst>
          <pc:docMk/>
          <pc:sldMk cId="726391852" sldId="319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33" v="13"/>
        <pc:sldMkLst>
          <pc:docMk/>
          <pc:sldMk cId="2551423690" sldId="320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18" v="7"/>
        <pc:sldMkLst>
          <pc:docMk/>
          <pc:sldMk cId="472386373" sldId="326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18" v="6"/>
        <pc:sldMkLst>
          <pc:docMk/>
          <pc:sldMk cId="4029140815" sldId="327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18" v="5"/>
        <pc:sldMkLst>
          <pc:docMk/>
          <pc:sldMk cId="3639779054" sldId="328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18" v="4"/>
        <pc:sldMkLst>
          <pc:docMk/>
          <pc:sldMk cId="2441193991" sldId="329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18" v="3"/>
        <pc:sldMkLst>
          <pc:docMk/>
          <pc:sldMk cId="2627996174" sldId="330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02" v="2"/>
        <pc:sldMkLst>
          <pc:docMk/>
          <pc:sldMk cId="4088744540" sldId="331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02" v="1"/>
        <pc:sldMkLst>
          <pc:docMk/>
          <pc:sldMk cId="1729641638" sldId="332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02" v="0"/>
        <pc:sldMkLst>
          <pc:docMk/>
          <pc:sldMk cId="1901641961" sldId="333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33" v="12"/>
        <pc:sldMkLst>
          <pc:docMk/>
          <pc:sldMk cId="3286284069" sldId="418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33" v="11"/>
        <pc:sldMkLst>
          <pc:docMk/>
          <pc:sldMk cId="2971057596" sldId="419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33" v="10"/>
        <pc:sldMkLst>
          <pc:docMk/>
          <pc:sldMk cId="2372546067" sldId="420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33" v="9"/>
        <pc:sldMkLst>
          <pc:docMk/>
          <pc:sldMk cId="3843146358" sldId="421"/>
        </pc:sldMkLst>
      </pc:sldChg>
      <pc:sldChg chg="del">
        <pc:chgData name="Völkel, Tobias" userId="S::ru22boda@fauad.fau.de::9c02bf22-18bb-468a-b263-c51c2dc523eb" providerId="AD" clId="Web-{ADC40BAE-5298-4D1C-BF2F-2A2B5EF7E615}" dt="2023-01-07T14:59:59.118" v="8"/>
        <pc:sldMkLst>
          <pc:docMk/>
          <pc:sldMk cId="3620578764" sldId="422"/>
        </pc:sldMkLst>
      </pc:sldChg>
    </pc:docChg>
  </pc:docChgLst>
  <pc:docChgLst>
    <pc:chgData name="Fourati, Omar" userId="S::oz48ohuv@fauad.fau.de::543b926d-baf3-4e4d-861e-19746c37446c" providerId="AD" clId="Web-{11C45F7F-59B8-4B89-9B77-B024D56903EF}"/>
    <pc:docChg chg="modSld">
      <pc:chgData name="Fourati, Omar" userId="S::oz48ohuv@fauad.fau.de::543b926d-baf3-4e4d-861e-19746c37446c" providerId="AD" clId="Web-{11C45F7F-59B8-4B89-9B77-B024D56903EF}" dt="2023-03-12T21:16:21.066" v="45" actId="20577"/>
      <pc:docMkLst>
        <pc:docMk/>
      </pc:docMkLst>
      <pc:sldChg chg="modSp modCm">
        <pc:chgData name="Fourati, Omar" userId="S::oz48ohuv@fauad.fau.de::543b926d-baf3-4e4d-861e-19746c37446c" providerId="AD" clId="Web-{11C45F7F-59B8-4B89-9B77-B024D56903EF}" dt="2023-03-12T21:16:21.066" v="45" actId="20577"/>
        <pc:sldMkLst>
          <pc:docMk/>
          <pc:sldMk cId="634732272" sldId="458"/>
        </pc:sldMkLst>
        <pc:spChg chg="mod">
          <ac:chgData name="Fourati, Omar" userId="S::oz48ohuv@fauad.fau.de::543b926d-baf3-4e4d-861e-19746c37446c" providerId="AD" clId="Web-{11C45F7F-59B8-4B89-9B77-B024D56903EF}" dt="2023-03-12T21:16:21.066" v="45" actId="20577"/>
          <ac:spMkLst>
            <pc:docMk/>
            <pc:sldMk cId="634732272" sldId="458"/>
            <ac:spMk id="7" creationId="{A2FADCE3-E850-4784-8F2E-D7BF01E4852E}"/>
          </ac:spMkLst>
        </pc:spChg>
        <pc:spChg chg="mod">
          <ac:chgData name="Fourati, Omar" userId="S::oz48ohuv@fauad.fau.de::543b926d-baf3-4e4d-861e-19746c37446c" providerId="AD" clId="Web-{11C45F7F-59B8-4B89-9B77-B024D56903EF}" dt="2023-03-12T21:16:12.097" v="32" actId="1076"/>
          <ac:spMkLst>
            <pc:docMk/>
            <pc:sldMk cId="634732272" sldId="458"/>
            <ac:spMk id="8" creationId="{D77BA092-77CE-A6B8-F8C8-B4C49350BFA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Fourati, Omar" userId="S::oz48ohuv@fauad.fau.de::543b926d-baf3-4e4d-861e-19746c37446c" providerId="AD" clId="Web-{11C45F7F-59B8-4B89-9B77-B024D56903EF}" dt="2023-03-12T21:16:21.066" v="45" actId="20577"/>
              <pc2:cmMkLst xmlns:pc2="http://schemas.microsoft.com/office/powerpoint/2019/9/main/command">
                <pc:docMk/>
                <pc:sldMk cId="634732272" sldId="458"/>
                <pc2:cmMk id="{DBEAE10B-61D3-4363-9172-86A46C20023A}"/>
              </pc2:cmMkLst>
            </pc226:cmChg>
          </p:ext>
        </pc:extLst>
      </pc:sldChg>
    </pc:docChg>
  </pc:docChgLst>
  <pc:docChgLst>
    <pc:chgData name="Fourati, Omar" userId="S::oz48ohuv@fauad.fau.de::543b926d-baf3-4e4d-861e-19746c37446c" providerId="AD" clId="Web-{15EA2C27-6F48-492D-B88E-9D6DC3C2E5F0}"/>
    <pc:docChg chg="addSld delSld modSld">
      <pc:chgData name="Fourati, Omar" userId="S::oz48ohuv@fauad.fau.de::543b926d-baf3-4e4d-861e-19746c37446c" providerId="AD" clId="Web-{15EA2C27-6F48-492D-B88E-9D6DC3C2E5F0}" dt="2023-03-12T08:41:17.136" v="1093" actId="1076"/>
      <pc:docMkLst>
        <pc:docMk/>
      </pc:docMkLst>
      <pc:sldChg chg="addSp delSp modSp add replId">
        <pc:chgData name="Fourati, Omar" userId="S::oz48ohuv@fauad.fau.de::543b926d-baf3-4e4d-861e-19746c37446c" providerId="AD" clId="Web-{15EA2C27-6F48-492D-B88E-9D6DC3C2E5F0}" dt="2023-03-12T08:34:24.148" v="1011" actId="20577"/>
        <pc:sldMkLst>
          <pc:docMk/>
          <pc:sldMk cId="3925525262" sldId="449"/>
        </pc:sldMkLst>
        <pc:spChg chg="mod">
          <ac:chgData name="Fourati, Omar" userId="S::oz48ohuv@fauad.fau.de::543b926d-baf3-4e4d-861e-19746c37446c" providerId="AD" clId="Web-{15EA2C27-6F48-492D-B88E-9D6DC3C2E5F0}" dt="2023-03-12T07:58:30.192" v="473" actId="1076"/>
          <ac:spMkLst>
            <pc:docMk/>
            <pc:sldMk cId="3925525262" sldId="449"/>
            <ac:spMk id="4" creationId="{620F3424-E32B-4DE8-BF4D-4918B7628D43}"/>
          </ac:spMkLst>
        </pc:spChg>
        <pc:spChg chg="add del mod">
          <ac:chgData name="Fourati, Omar" userId="S::oz48ohuv@fauad.fau.de::543b926d-baf3-4e4d-861e-19746c37446c" providerId="AD" clId="Web-{15EA2C27-6F48-492D-B88E-9D6DC3C2E5F0}" dt="2023-03-12T07:58:30.207" v="474" actId="1076"/>
          <ac:spMkLst>
            <pc:docMk/>
            <pc:sldMk cId="3925525262" sldId="449"/>
            <ac:spMk id="6" creationId="{1CC6A956-A954-4940-A619-381D56C1A856}"/>
          </ac:spMkLst>
        </pc:spChg>
        <pc:spChg chg="mod">
          <ac:chgData name="Fourati, Omar" userId="S::oz48ohuv@fauad.fau.de::543b926d-baf3-4e4d-861e-19746c37446c" providerId="AD" clId="Web-{15EA2C27-6F48-492D-B88E-9D6DC3C2E5F0}" dt="2023-03-12T07:58:30.223" v="475" actId="1076"/>
          <ac:spMkLst>
            <pc:docMk/>
            <pc:sldMk cId="3925525262" sldId="449"/>
            <ac:spMk id="7" creationId="{A2FADCE3-E850-4784-8F2E-D7BF01E4852E}"/>
          </ac:spMkLst>
        </pc:spChg>
        <pc:spChg chg="mod">
          <ac:chgData name="Fourati, Omar" userId="S::oz48ohuv@fauad.fau.de::543b926d-baf3-4e4d-861e-19746c37446c" providerId="AD" clId="Web-{15EA2C27-6F48-492D-B88E-9D6DC3C2E5F0}" dt="2023-03-12T08:34:24.148" v="1011" actId="20577"/>
          <ac:spMkLst>
            <pc:docMk/>
            <pc:sldMk cId="3925525262" sldId="449"/>
            <ac:spMk id="9" creationId="{06E69EF6-5F75-EF00-A656-2EF79BFF6CB7}"/>
          </ac:spMkLst>
        </pc:spChg>
        <pc:spChg chg="mod">
          <ac:chgData name="Fourati, Omar" userId="S::oz48ohuv@fauad.fau.de::543b926d-baf3-4e4d-861e-19746c37446c" providerId="AD" clId="Web-{15EA2C27-6F48-492D-B88E-9D6DC3C2E5F0}" dt="2023-03-12T07:54:53.353" v="342" actId="20577"/>
          <ac:spMkLst>
            <pc:docMk/>
            <pc:sldMk cId="3925525262" sldId="449"/>
            <ac:spMk id="14" creationId="{B600814F-C5FB-A5A6-C7E7-672B5C1EA70C}"/>
          </ac:spMkLst>
        </pc:spChg>
        <pc:spChg chg="del">
          <ac:chgData name="Fourati, Omar" userId="S::oz48ohuv@fauad.fau.de::543b926d-baf3-4e4d-861e-19746c37446c" providerId="AD" clId="Web-{15EA2C27-6F48-492D-B88E-9D6DC3C2E5F0}" dt="2023-03-12T07:57:59.175" v="467"/>
          <ac:spMkLst>
            <pc:docMk/>
            <pc:sldMk cId="3925525262" sldId="449"/>
            <ac:spMk id="15" creationId="{4413BBC4-36E1-345F-4E9F-B08C48E06413}"/>
          </ac:spMkLst>
        </pc:spChg>
        <pc:spChg chg="del">
          <ac:chgData name="Fourati, Omar" userId="S::oz48ohuv@fauad.fau.de::543b926d-baf3-4e4d-861e-19746c37446c" providerId="AD" clId="Web-{15EA2C27-6F48-492D-B88E-9D6DC3C2E5F0}" dt="2023-03-12T07:57:58.268" v="466"/>
          <ac:spMkLst>
            <pc:docMk/>
            <pc:sldMk cId="3925525262" sldId="449"/>
            <ac:spMk id="17" creationId="{2F6BB11F-96D2-6E33-35CD-8FB3AF725A8C}"/>
          </ac:spMkLst>
        </pc:spChg>
        <pc:spChg chg="mod">
          <ac:chgData name="Fourati, Omar" userId="S::oz48ohuv@fauad.fau.de::543b926d-baf3-4e4d-861e-19746c37446c" providerId="AD" clId="Web-{15EA2C27-6F48-492D-B88E-9D6DC3C2E5F0}" dt="2023-03-12T07:58:43.645" v="480" actId="14100"/>
          <ac:spMkLst>
            <pc:docMk/>
            <pc:sldMk cId="3925525262" sldId="449"/>
            <ac:spMk id="19" creationId="{9C574363-8D56-4907-88DB-F19E396AEB20}"/>
          </ac:spMkLst>
        </pc:spChg>
        <pc:spChg chg="mod">
          <ac:chgData name="Fourati, Omar" userId="S::oz48ohuv@fauad.fau.de::543b926d-baf3-4e4d-861e-19746c37446c" providerId="AD" clId="Web-{15EA2C27-6F48-492D-B88E-9D6DC3C2E5F0}" dt="2023-03-12T07:58:43.677" v="481" actId="14100"/>
          <ac:spMkLst>
            <pc:docMk/>
            <pc:sldMk cId="3925525262" sldId="449"/>
            <ac:spMk id="20" creationId="{2AD08722-C387-44A0-8955-313CD959C971}"/>
          </ac:spMkLst>
        </pc:spChg>
        <pc:spChg chg="mod">
          <ac:chgData name="Fourati, Omar" userId="S::oz48ohuv@fauad.fau.de::543b926d-baf3-4e4d-861e-19746c37446c" providerId="AD" clId="Web-{15EA2C27-6F48-492D-B88E-9D6DC3C2E5F0}" dt="2023-03-12T07:58:43.630" v="479" actId="14100"/>
          <ac:spMkLst>
            <pc:docMk/>
            <pc:sldMk cId="3925525262" sldId="449"/>
            <ac:spMk id="21" creationId="{03AEB1A7-4A22-4EA3-B891-8CE774B86F7E}"/>
          </ac:spMkLst>
        </pc:spChg>
        <pc:graphicFrameChg chg="del">
          <ac:chgData name="Fourati, Omar" userId="S::oz48ohuv@fauad.fau.de::543b926d-baf3-4e4d-861e-19746c37446c" providerId="AD" clId="Web-{15EA2C27-6F48-492D-B88E-9D6DC3C2E5F0}" dt="2023-03-12T07:57:55.549" v="465"/>
          <ac:graphicFrameMkLst>
            <pc:docMk/>
            <pc:sldMk cId="3925525262" sldId="449"/>
            <ac:graphicFrameMk id="11" creationId="{166F07D9-B84C-554A-EC9E-1374AEFECDF4}"/>
          </ac:graphicFrameMkLst>
        </pc:graphicFrameChg>
        <pc:picChg chg="del">
          <ac:chgData name="Fourati, Omar" userId="S::oz48ohuv@fauad.fau.de::543b926d-baf3-4e4d-861e-19746c37446c" providerId="AD" clId="Web-{15EA2C27-6F48-492D-B88E-9D6DC3C2E5F0}" dt="2023-03-12T07:52:52.847" v="214"/>
          <ac:picMkLst>
            <pc:docMk/>
            <pc:sldMk cId="3925525262" sldId="449"/>
            <ac:picMk id="10" creationId="{9A8BCB35-777E-BB1C-41A0-2555CC450568}"/>
          </ac:picMkLst>
        </pc:picChg>
        <pc:picChg chg="del">
          <ac:chgData name="Fourati, Omar" userId="S::oz48ohuv@fauad.fau.de::543b926d-baf3-4e4d-861e-19746c37446c" providerId="AD" clId="Web-{15EA2C27-6F48-492D-B88E-9D6DC3C2E5F0}" dt="2023-03-12T07:53:37.631" v="298"/>
          <ac:picMkLst>
            <pc:docMk/>
            <pc:sldMk cId="3925525262" sldId="449"/>
            <ac:picMk id="12" creationId="{9F0971D8-CEDD-56C6-D5A5-E9C9B351E636}"/>
          </ac:picMkLst>
        </pc:picChg>
      </pc:sldChg>
      <pc:sldChg chg="new del">
        <pc:chgData name="Fourati, Omar" userId="S::oz48ohuv@fauad.fau.de::543b926d-baf3-4e4d-861e-19746c37446c" providerId="AD" clId="Web-{15EA2C27-6F48-492D-B88E-9D6DC3C2E5F0}" dt="2023-03-12T07:45:06.262" v="1"/>
        <pc:sldMkLst>
          <pc:docMk/>
          <pc:sldMk cId="4044616660" sldId="449"/>
        </pc:sldMkLst>
      </pc:sldChg>
      <pc:sldChg chg="new del">
        <pc:chgData name="Fourati, Omar" userId="S::oz48ohuv@fauad.fau.de::543b926d-baf3-4e4d-861e-19746c37446c" providerId="AD" clId="Web-{15EA2C27-6F48-492D-B88E-9D6DC3C2E5F0}" dt="2023-03-12T07:58:56.834" v="483"/>
        <pc:sldMkLst>
          <pc:docMk/>
          <pc:sldMk cId="167290274" sldId="450"/>
        </pc:sldMkLst>
      </pc:sldChg>
      <pc:sldChg chg="addSp delSp modSp add replId">
        <pc:chgData name="Fourati, Omar" userId="S::oz48ohuv@fauad.fau.de::543b926d-baf3-4e4d-861e-19746c37446c" providerId="AD" clId="Web-{15EA2C27-6F48-492D-B88E-9D6DC3C2E5F0}" dt="2023-03-12T08:34:20.663" v="1010" actId="20577"/>
        <pc:sldMkLst>
          <pc:docMk/>
          <pc:sldMk cId="2367796705" sldId="450"/>
        </pc:sldMkLst>
        <pc:spChg chg="mod">
          <ac:chgData name="Fourati, Omar" userId="S::oz48ohuv@fauad.fau.de::543b926d-baf3-4e4d-861e-19746c37446c" providerId="AD" clId="Web-{15EA2C27-6F48-492D-B88E-9D6DC3C2E5F0}" dt="2023-03-12T08:02:18.517" v="520" actId="1076"/>
          <ac:spMkLst>
            <pc:docMk/>
            <pc:sldMk cId="2367796705" sldId="450"/>
            <ac:spMk id="4" creationId="{620F3424-E32B-4DE8-BF4D-4918B7628D43}"/>
          </ac:spMkLst>
        </pc:spChg>
        <pc:spChg chg="add mod">
          <ac:chgData name="Fourati, Omar" userId="S::oz48ohuv@fauad.fau.de::543b926d-baf3-4e4d-861e-19746c37446c" providerId="AD" clId="Web-{15EA2C27-6F48-492D-B88E-9D6DC3C2E5F0}" dt="2023-03-12T08:02:28.987" v="525" actId="1076"/>
          <ac:spMkLst>
            <pc:docMk/>
            <pc:sldMk cId="2367796705" sldId="450"/>
            <ac:spMk id="5" creationId="{E0D9E0D1-54AF-D04D-48EB-68DC511B45FC}"/>
          </ac:spMkLst>
        </pc:spChg>
        <pc:spChg chg="mod">
          <ac:chgData name="Fourati, Omar" userId="S::oz48ohuv@fauad.fau.de::543b926d-baf3-4e4d-861e-19746c37446c" providerId="AD" clId="Web-{15EA2C27-6F48-492D-B88E-9D6DC3C2E5F0}" dt="2023-03-12T08:02:18.533" v="521" actId="1076"/>
          <ac:spMkLst>
            <pc:docMk/>
            <pc:sldMk cId="2367796705" sldId="450"/>
            <ac:spMk id="6" creationId="{1CC6A956-A954-4940-A619-381D56C1A856}"/>
          </ac:spMkLst>
        </pc:spChg>
        <pc:spChg chg="del mod">
          <ac:chgData name="Fourati, Omar" userId="S::oz48ohuv@fauad.fau.de::543b926d-baf3-4e4d-861e-19746c37446c" providerId="AD" clId="Web-{15EA2C27-6F48-492D-B88E-9D6DC3C2E5F0}" dt="2023-03-12T08:02:09.361" v="518"/>
          <ac:spMkLst>
            <pc:docMk/>
            <pc:sldMk cId="2367796705" sldId="450"/>
            <ac:spMk id="7" creationId="{A2FADCE3-E850-4784-8F2E-D7BF01E4852E}"/>
          </ac:spMkLst>
        </pc:spChg>
        <pc:spChg chg="mod">
          <ac:chgData name="Fourati, Omar" userId="S::oz48ohuv@fauad.fau.de::543b926d-baf3-4e4d-861e-19746c37446c" providerId="AD" clId="Web-{15EA2C27-6F48-492D-B88E-9D6DC3C2E5F0}" dt="2023-03-12T08:34:20.663" v="1010" actId="20577"/>
          <ac:spMkLst>
            <pc:docMk/>
            <pc:sldMk cId="2367796705" sldId="450"/>
            <ac:spMk id="9" creationId="{06E69EF6-5F75-EF00-A656-2EF79BFF6CB7}"/>
          </ac:spMkLst>
        </pc:spChg>
        <pc:spChg chg="del">
          <ac:chgData name="Fourati, Omar" userId="S::oz48ohuv@fauad.fau.de::543b926d-baf3-4e4d-861e-19746c37446c" providerId="AD" clId="Web-{15EA2C27-6F48-492D-B88E-9D6DC3C2E5F0}" dt="2023-03-12T07:59:38.351" v="485"/>
          <ac:spMkLst>
            <pc:docMk/>
            <pc:sldMk cId="2367796705" sldId="450"/>
            <ac:spMk id="14" creationId="{B600814F-C5FB-A5A6-C7E7-672B5C1EA70C}"/>
          </ac:spMkLst>
        </pc:spChg>
        <pc:spChg chg="del mod">
          <ac:chgData name="Fourati, Omar" userId="S::oz48ohuv@fauad.fau.de::543b926d-baf3-4e4d-861e-19746c37446c" providerId="AD" clId="Web-{15EA2C27-6F48-492D-B88E-9D6DC3C2E5F0}" dt="2023-03-12T08:01:12.824" v="505"/>
          <ac:spMkLst>
            <pc:docMk/>
            <pc:sldMk cId="2367796705" sldId="450"/>
            <ac:spMk id="19" creationId="{9C574363-8D56-4907-88DB-F19E396AEB20}"/>
          </ac:spMkLst>
        </pc:spChg>
        <pc:spChg chg="del mod">
          <ac:chgData name="Fourati, Omar" userId="S::oz48ohuv@fauad.fau.de::543b926d-baf3-4e4d-861e-19746c37446c" providerId="AD" clId="Web-{15EA2C27-6F48-492D-B88E-9D6DC3C2E5F0}" dt="2023-03-12T08:01:12.153" v="504"/>
          <ac:spMkLst>
            <pc:docMk/>
            <pc:sldMk cId="2367796705" sldId="450"/>
            <ac:spMk id="20" creationId="{2AD08722-C387-44A0-8955-313CD959C971}"/>
          </ac:spMkLst>
        </pc:spChg>
        <pc:spChg chg="mod">
          <ac:chgData name="Fourati, Omar" userId="S::oz48ohuv@fauad.fau.de::543b926d-baf3-4e4d-861e-19746c37446c" providerId="AD" clId="Web-{15EA2C27-6F48-492D-B88E-9D6DC3C2E5F0}" dt="2023-03-12T08:02:28.940" v="522" actId="1076"/>
          <ac:spMkLst>
            <pc:docMk/>
            <pc:sldMk cId="2367796705" sldId="450"/>
            <ac:spMk id="21" creationId="{03AEB1A7-4A22-4EA3-B891-8CE774B86F7E}"/>
          </ac:spMkLst>
        </pc:spChg>
        <pc:picChg chg="add mod">
          <ac:chgData name="Fourati, Omar" userId="S::oz48ohuv@fauad.fau.de::543b926d-baf3-4e4d-861e-19746c37446c" providerId="AD" clId="Web-{15EA2C27-6F48-492D-B88E-9D6DC3C2E5F0}" dt="2023-03-12T08:02:28.955" v="523" actId="1076"/>
          <ac:picMkLst>
            <pc:docMk/>
            <pc:sldMk cId="2367796705" sldId="450"/>
            <ac:picMk id="2" creationId="{77CC2142-FC2C-FC1D-4AC0-F7979B935E5E}"/>
          </ac:picMkLst>
        </pc:picChg>
        <pc:picChg chg="add mod">
          <ac:chgData name="Fourati, Omar" userId="S::oz48ohuv@fauad.fau.de::543b926d-baf3-4e4d-861e-19746c37446c" providerId="AD" clId="Web-{15EA2C27-6F48-492D-B88E-9D6DC3C2E5F0}" dt="2023-03-12T08:02:28.971" v="524" actId="1076"/>
          <ac:picMkLst>
            <pc:docMk/>
            <pc:sldMk cId="2367796705" sldId="450"/>
            <ac:picMk id="3" creationId="{D5682F70-56DC-6B3E-F074-95832D04B457}"/>
          </ac:picMkLst>
        </pc:picChg>
      </pc:sldChg>
      <pc:sldChg chg="addSp delSp modSp add replId">
        <pc:chgData name="Fourati, Omar" userId="S::oz48ohuv@fauad.fau.de::543b926d-baf3-4e4d-861e-19746c37446c" providerId="AD" clId="Web-{15EA2C27-6F48-492D-B88E-9D6DC3C2E5F0}" dt="2023-03-12T08:34:19.023" v="1009" actId="20577"/>
        <pc:sldMkLst>
          <pc:docMk/>
          <pc:sldMk cId="2948339296" sldId="451"/>
        </pc:sldMkLst>
        <pc:spChg chg="mod">
          <ac:chgData name="Fourati, Omar" userId="S::oz48ohuv@fauad.fau.de::543b926d-baf3-4e4d-861e-19746c37446c" providerId="AD" clId="Web-{15EA2C27-6F48-492D-B88E-9D6DC3C2E5F0}" dt="2023-03-12T08:08:38.098" v="633" actId="1076"/>
          <ac:spMkLst>
            <pc:docMk/>
            <pc:sldMk cId="2948339296" sldId="451"/>
            <ac:spMk id="4" creationId="{620F3424-E32B-4DE8-BF4D-4918B7628D43}"/>
          </ac:spMkLst>
        </pc:spChg>
        <pc:spChg chg="del">
          <ac:chgData name="Fourati, Omar" userId="S::oz48ohuv@fauad.fau.de::543b926d-baf3-4e4d-861e-19746c37446c" providerId="AD" clId="Web-{15EA2C27-6F48-492D-B88E-9D6DC3C2E5F0}" dt="2023-03-12T08:05:02.541" v="544"/>
          <ac:spMkLst>
            <pc:docMk/>
            <pc:sldMk cId="2948339296" sldId="451"/>
            <ac:spMk id="5" creationId="{E0D9E0D1-54AF-D04D-48EB-68DC511B45FC}"/>
          </ac:spMkLst>
        </pc:spChg>
        <pc:spChg chg="del mod">
          <ac:chgData name="Fourati, Omar" userId="S::oz48ohuv@fauad.fau.de::543b926d-baf3-4e4d-861e-19746c37446c" providerId="AD" clId="Web-{15EA2C27-6F48-492D-B88E-9D6DC3C2E5F0}" dt="2023-03-12T08:04:47.915" v="539"/>
          <ac:spMkLst>
            <pc:docMk/>
            <pc:sldMk cId="2948339296" sldId="451"/>
            <ac:spMk id="6" creationId="{1CC6A956-A954-4940-A619-381D56C1A856}"/>
          </ac:spMkLst>
        </pc:spChg>
        <pc:spChg chg="add del">
          <ac:chgData name="Fourati, Omar" userId="S::oz48ohuv@fauad.fau.de::543b926d-baf3-4e4d-861e-19746c37446c" providerId="AD" clId="Web-{15EA2C27-6F48-492D-B88E-9D6DC3C2E5F0}" dt="2023-03-12T08:05:33.245" v="553"/>
          <ac:spMkLst>
            <pc:docMk/>
            <pc:sldMk cId="2948339296" sldId="451"/>
            <ac:spMk id="8" creationId="{BA0F06C0-A75A-42FB-CA25-37D14EA7B916}"/>
          </ac:spMkLst>
        </pc:spChg>
        <pc:spChg chg="mod">
          <ac:chgData name="Fourati, Omar" userId="S::oz48ohuv@fauad.fau.de::543b926d-baf3-4e4d-861e-19746c37446c" providerId="AD" clId="Web-{15EA2C27-6F48-492D-B88E-9D6DC3C2E5F0}" dt="2023-03-12T08:34:19.023" v="1009" actId="20577"/>
          <ac:spMkLst>
            <pc:docMk/>
            <pc:sldMk cId="2948339296" sldId="451"/>
            <ac:spMk id="9" creationId="{06E69EF6-5F75-EF00-A656-2EF79BFF6CB7}"/>
          </ac:spMkLst>
        </pc:spChg>
        <pc:spChg chg="add del">
          <ac:chgData name="Fourati, Omar" userId="S::oz48ohuv@fauad.fau.de::543b926d-baf3-4e4d-861e-19746c37446c" providerId="AD" clId="Web-{15EA2C27-6F48-492D-B88E-9D6DC3C2E5F0}" dt="2023-03-12T08:06:28.967" v="573"/>
          <ac:spMkLst>
            <pc:docMk/>
            <pc:sldMk cId="2948339296" sldId="451"/>
            <ac:spMk id="11" creationId="{E49C7D20-34BA-AC13-3B53-F879DEA69BC2}"/>
          </ac:spMkLst>
        </pc:spChg>
        <pc:spChg chg="add del">
          <ac:chgData name="Fourati, Omar" userId="S::oz48ohuv@fauad.fau.de::543b926d-baf3-4e4d-861e-19746c37446c" providerId="AD" clId="Web-{15EA2C27-6F48-492D-B88E-9D6DC3C2E5F0}" dt="2023-03-12T08:06:27.920" v="572"/>
          <ac:spMkLst>
            <pc:docMk/>
            <pc:sldMk cId="2948339296" sldId="451"/>
            <ac:spMk id="13" creationId="{9EEE8549-7FA8-4B96-498A-D92A682CC3D6}"/>
          </ac:spMkLst>
        </pc:spChg>
        <pc:spChg chg="add del">
          <ac:chgData name="Fourati, Omar" userId="S::oz48ohuv@fauad.fau.de::543b926d-baf3-4e4d-861e-19746c37446c" providerId="AD" clId="Web-{15EA2C27-6F48-492D-B88E-9D6DC3C2E5F0}" dt="2023-03-12T08:06:26.607" v="571"/>
          <ac:spMkLst>
            <pc:docMk/>
            <pc:sldMk cId="2948339296" sldId="451"/>
            <ac:spMk id="15" creationId="{9B46188E-31B2-A3A3-0C84-6EFAD7DCDA8C}"/>
          </ac:spMkLst>
        </pc:spChg>
        <pc:spChg chg="add mod">
          <ac:chgData name="Fourati, Omar" userId="S::oz48ohuv@fauad.fau.de::543b926d-baf3-4e4d-861e-19746c37446c" providerId="AD" clId="Web-{15EA2C27-6F48-492D-B88E-9D6DC3C2E5F0}" dt="2023-03-12T08:08:38.161" v="635" actId="1076"/>
          <ac:spMkLst>
            <pc:docMk/>
            <pc:sldMk cId="2948339296" sldId="451"/>
            <ac:spMk id="17" creationId="{CBEBDCED-160C-6764-A734-CE0BC681A657}"/>
          </ac:spMkLst>
        </pc:spChg>
        <pc:spChg chg="add mod">
          <ac:chgData name="Fourati, Omar" userId="S::oz48ohuv@fauad.fau.de::543b926d-baf3-4e4d-861e-19746c37446c" providerId="AD" clId="Web-{15EA2C27-6F48-492D-B88E-9D6DC3C2E5F0}" dt="2023-03-12T08:08:55.661" v="643" actId="14100"/>
          <ac:spMkLst>
            <pc:docMk/>
            <pc:sldMk cId="2948339296" sldId="451"/>
            <ac:spMk id="18" creationId="{D08526C1-4DC4-7D21-8945-9DB79ECCF726}"/>
          </ac:spMkLst>
        </pc:spChg>
        <pc:spChg chg="add mod">
          <ac:chgData name="Fourati, Omar" userId="S::oz48ohuv@fauad.fau.de::543b926d-baf3-4e4d-861e-19746c37446c" providerId="AD" clId="Web-{15EA2C27-6F48-492D-B88E-9D6DC3C2E5F0}" dt="2023-03-12T08:08:47.333" v="641" actId="14100"/>
          <ac:spMkLst>
            <pc:docMk/>
            <pc:sldMk cId="2948339296" sldId="451"/>
            <ac:spMk id="19" creationId="{CD2A4861-A038-DDAB-6BD4-982887D46406}"/>
          </ac:spMkLst>
        </pc:spChg>
        <pc:spChg chg="add mod">
          <ac:chgData name="Fourati, Omar" userId="S::oz48ohuv@fauad.fau.de::543b926d-baf3-4e4d-861e-19746c37446c" providerId="AD" clId="Web-{15EA2C27-6F48-492D-B88E-9D6DC3C2E5F0}" dt="2023-03-12T08:09:00.068" v="644" actId="1076"/>
          <ac:spMkLst>
            <pc:docMk/>
            <pc:sldMk cId="2948339296" sldId="451"/>
            <ac:spMk id="20" creationId="{F57F5F39-F62A-E927-A20A-A374A7790920}"/>
          </ac:spMkLst>
        </pc:spChg>
        <pc:spChg chg="del">
          <ac:chgData name="Fourati, Omar" userId="S::oz48ohuv@fauad.fau.de::543b926d-baf3-4e4d-861e-19746c37446c" providerId="AD" clId="Web-{15EA2C27-6F48-492D-B88E-9D6DC3C2E5F0}" dt="2023-03-12T08:05:01.275" v="543"/>
          <ac:spMkLst>
            <pc:docMk/>
            <pc:sldMk cId="2948339296" sldId="451"/>
            <ac:spMk id="21" creationId="{03AEB1A7-4A22-4EA3-B891-8CE774B86F7E}"/>
          </ac:spMkLst>
        </pc:spChg>
        <pc:spChg chg="add mod">
          <ac:chgData name="Fourati, Omar" userId="S::oz48ohuv@fauad.fau.de::543b926d-baf3-4e4d-861e-19746c37446c" providerId="AD" clId="Web-{15EA2C27-6F48-492D-B88E-9D6DC3C2E5F0}" dt="2023-03-12T08:09:02.255" v="645" actId="1076"/>
          <ac:spMkLst>
            <pc:docMk/>
            <pc:sldMk cId="2948339296" sldId="451"/>
            <ac:spMk id="22" creationId="{79DB46A5-A713-0488-01CC-3784547F001F}"/>
          </ac:spMkLst>
        </pc:spChg>
        <pc:picChg chg="mod">
          <ac:chgData name="Fourati, Omar" userId="S::oz48ohuv@fauad.fau.de::543b926d-baf3-4e4d-861e-19746c37446c" providerId="AD" clId="Web-{15EA2C27-6F48-492D-B88E-9D6DC3C2E5F0}" dt="2023-03-12T08:07:35.064" v="594" actId="1076"/>
          <ac:picMkLst>
            <pc:docMk/>
            <pc:sldMk cId="2948339296" sldId="451"/>
            <ac:picMk id="2" creationId="{77CC2142-FC2C-FC1D-4AC0-F7979B935E5E}"/>
          </ac:picMkLst>
        </pc:picChg>
        <pc:picChg chg="del">
          <ac:chgData name="Fourati, Omar" userId="S::oz48ohuv@fauad.fau.de::543b926d-baf3-4e4d-861e-19746c37446c" providerId="AD" clId="Web-{15EA2C27-6F48-492D-B88E-9D6DC3C2E5F0}" dt="2023-03-12T08:04:52.884" v="542"/>
          <ac:picMkLst>
            <pc:docMk/>
            <pc:sldMk cId="2948339296" sldId="451"/>
            <ac:picMk id="3" creationId="{D5682F70-56DC-6B3E-F074-95832D04B457}"/>
          </ac:picMkLst>
        </pc:picChg>
        <pc:picChg chg="add mod">
          <ac:chgData name="Fourati, Omar" userId="S::oz48ohuv@fauad.fau.de::543b926d-baf3-4e4d-861e-19746c37446c" providerId="AD" clId="Web-{15EA2C27-6F48-492D-B88E-9D6DC3C2E5F0}" dt="2023-03-12T08:08:38.145" v="634" actId="1076"/>
          <ac:picMkLst>
            <pc:docMk/>
            <pc:sldMk cId="2948339296" sldId="451"/>
            <ac:picMk id="7" creationId="{EE30FE4F-16B7-76CA-10FD-4F7C53E72ACC}"/>
          </ac:picMkLst>
        </pc:picChg>
        <pc:picChg chg="add mod">
          <ac:chgData name="Fourati, Omar" userId="S::oz48ohuv@fauad.fau.de::543b926d-baf3-4e4d-861e-19746c37446c" providerId="AD" clId="Web-{15EA2C27-6F48-492D-B88E-9D6DC3C2E5F0}" dt="2023-03-12T08:09:06.803" v="647" actId="14100"/>
          <ac:picMkLst>
            <pc:docMk/>
            <pc:sldMk cId="2948339296" sldId="451"/>
            <ac:picMk id="23" creationId="{D3A044FB-9280-8E68-A1B7-CF8B8488CC77}"/>
          </ac:picMkLst>
        </pc:picChg>
      </pc:sldChg>
      <pc:sldChg chg="new del">
        <pc:chgData name="Fourati, Omar" userId="S::oz48ohuv@fauad.fau.de::543b926d-baf3-4e4d-861e-19746c37446c" providerId="AD" clId="Web-{15EA2C27-6F48-492D-B88E-9D6DC3C2E5F0}" dt="2023-03-12T08:10:57.620" v="665"/>
        <pc:sldMkLst>
          <pc:docMk/>
          <pc:sldMk cId="3856240853" sldId="452"/>
        </pc:sldMkLst>
      </pc:sldChg>
      <pc:sldChg chg="addSp delSp modSp add replId">
        <pc:chgData name="Fourati, Omar" userId="S::oz48ohuv@fauad.fau.de::543b926d-baf3-4e4d-861e-19746c37446c" providerId="AD" clId="Web-{15EA2C27-6F48-492D-B88E-9D6DC3C2E5F0}" dt="2023-03-12T08:34:52.509" v="1016" actId="20577"/>
        <pc:sldMkLst>
          <pc:docMk/>
          <pc:sldMk cId="2655198833" sldId="453"/>
        </pc:sldMkLst>
        <pc:spChg chg="mod">
          <ac:chgData name="Fourati, Omar" userId="S::oz48ohuv@fauad.fau.de::543b926d-baf3-4e4d-861e-19746c37446c" providerId="AD" clId="Web-{15EA2C27-6F48-492D-B88E-9D6DC3C2E5F0}" dt="2023-03-12T08:18:35.925" v="789" actId="1076"/>
          <ac:spMkLst>
            <pc:docMk/>
            <pc:sldMk cId="2655198833" sldId="453"/>
            <ac:spMk id="4" creationId="{620F3424-E32B-4DE8-BF4D-4918B7628D43}"/>
          </ac:spMkLst>
        </pc:spChg>
        <pc:spChg chg="del">
          <ac:chgData name="Fourati, Omar" userId="S::oz48ohuv@fauad.fau.de::543b926d-baf3-4e4d-861e-19746c37446c" providerId="AD" clId="Web-{15EA2C27-6F48-492D-B88E-9D6DC3C2E5F0}" dt="2023-03-12T08:09:46.320" v="662"/>
          <ac:spMkLst>
            <pc:docMk/>
            <pc:sldMk cId="2655198833" sldId="453"/>
            <ac:spMk id="5" creationId="{E0D9E0D1-54AF-D04D-48EB-68DC511B45FC}"/>
          </ac:spMkLst>
        </pc:spChg>
        <pc:spChg chg="mod">
          <ac:chgData name="Fourati, Omar" userId="S::oz48ohuv@fauad.fau.de::543b926d-baf3-4e4d-861e-19746c37446c" providerId="AD" clId="Web-{15EA2C27-6F48-492D-B88E-9D6DC3C2E5F0}" dt="2023-03-12T08:18:35.940" v="790" actId="1076"/>
          <ac:spMkLst>
            <pc:docMk/>
            <pc:sldMk cId="2655198833" sldId="453"/>
            <ac:spMk id="6" creationId="{1CC6A956-A954-4940-A619-381D56C1A856}"/>
          </ac:spMkLst>
        </pc:spChg>
        <pc:spChg chg="add mod">
          <ac:chgData name="Fourati, Omar" userId="S::oz48ohuv@fauad.fau.de::543b926d-baf3-4e4d-861e-19746c37446c" providerId="AD" clId="Web-{15EA2C27-6F48-492D-B88E-9D6DC3C2E5F0}" dt="2023-03-12T08:34:52.509" v="1016" actId="20577"/>
          <ac:spMkLst>
            <pc:docMk/>
            <pc:sldMk cId="2655198833" sldId="453"/>
            <ac:spMk id="8" creationId="{5B21E990-A9C2-D829-9CA9-19830AD45666}"/>
          </ac:spMkLst>
        </pc:spChg>
        <pc:spChg chg="mod">
          <ac:chgData name="Fourati, Omar" userId="S::oz48ohuv@fauad.fau.de::543b926d-baf3-4e4d-861e-19746c37446c" providerId="AD" clId="Web-{15EA2C27-6F48-492D-B88E-9D6DC3C2E5F0}" dt="2023-03-12T08:34:16.663" v="1007" actId="20577"/>
          <ac:spMkLst>
            <pc:docMk/>
            <pc:sldMk cId="2655198833" sldId="453"/>
            <ac:spMk id="9" creationId="{06E69EF6-5F75-EF00-A656-2EF79BFF6CB7}"/>
          </ac:spMkLst>
        </pc:spChg>
        <pc:spChg chg="add mod">
          <ac:chgData name="Fourati, Omar" userId="S::oz48ohuv@fauad.fau.de::543b926d-baf3-4e4d-861e-19746c37446c" providerId="AD" clId="Web-{15EA2C27-6F48-492D-B88E-9D6DC3C2E5F0}" dt="2023-03-12T08:25:56.886" v="994" actId="20577"/>
          <ac:spMkLst>
            <pc:docMk/>
            <pc:sldMk cId="2655198833" sldId="453"/>
            <ac:spMk id="10" creationId="{2EAF70E9-9520-C359-3F14-F7FA04BB93BF}"/>
          </ac:spMkLst>
        </pc:spChg>
        <pc:spChg chg="add mod">
          <ac:chgData name="Fourati, Omar" userId="S::oz48ohuv@fauad.fau.de::543b926d-baf3-4e4d-861e-19746c37446c" providerId="AD" clId="Web-{15EA2C27-6F48-492D-B88E-9D6DC3C2E5F0}" dt="2023-03-12T08:25:56.527" v="993" actId="20577"/>
          <ac:spMkLst>
            <pc:docMk/>
            <pc:sldMk cId="2655198833" sldId="453"/>
            <ac:spMk id="11" creationId="{EC364AED-479C-F7DA-9EF9-4B90512195B1}"/>
          </ac:spMkLst>
        </pc:spChg>
        <pc:spChg chg="add mod">
          <ac:chgData name="Fourati, Omar" userId="S::oz48ohuv@fauad.fau.de::543b926d-baf3-4e4d-861e-19746c37446c" providerId="AD" clId="Web-{15EA2C27-6F48-492D-B88E-9D6DC3C2E5F0}" dt="2023-03-12T08:25:53.714" v="989" actId="20577"/>
          <ac:spMkLst>
            <pc:docMk/>
            <pc:sldMk cId="2655198833" sldId="453"/>
            <ac:spMk id="12" creationId="{84012948-F49E-52CB-1B35-38C5377A581C}"/>
          </ac:spMkLst>
        </pc:spChg>
        <pc:spChg chg="add mod">
          <ac:chgData name="Fourati, Omar" userId="S::oz48ohuv@fauad.fau.de::543b926d-baf3-4e4d-861e-19746c37446c" providerId="AD" clId="Web-{15EA2C27-6F48-492D-B88E-9D6DC3C2E5F0}" dt="2023-03-12T08:25:53.027" v="988" actId="20577"/>
          <ac:spMkLst>
            <pc:docMk/>
            <pc:sldMk cId="2655198833" sldId="453"/>
            <ac:spMk id="13" creationId="{5A6F146E-E2F5-F43C-C605-758F11CDD892}"/>
          </ac:spMkLst>
        </pc:spChg>
        <pc:spChg chg="mod">
          <ac:chgData name="Fourati, Omar" userId="S::oz48ohuv@fauad.fau.de::543b926d-baf3-4e4d-861e-19746c37446c" providerId="AD" clId="Web-{15EA2C27-6F48-492D-B88E-9D6DC3C2E5F0}" dt="2023-03-12T08:18:35.909" v="788" actId="1076"/>
          <ac:spMkLst>
            <pc:docMk/>
            <pc:sldMk cId="2655198833" sldId="453"/>
            <ac:spMk id="21" creationId="{03AEB1A7-4A22-4EA3-B891-8CE774B86F7E}"/>
          </ac:spMkLst>
        </pc:spChg>
        <pc:picChg chg="del">
          <ac:chgData name="Fourati, Omar" userId="S::oz48ohuv@fauad.fau.de::543b926d-baf3-4e4d-861e-19746c37446c" providerId="AD" clId="Web-{15EA2C27-6F48-492D-B88E-9D6DC3C2E5F0}" dt="2023-03-12T08:09:44.554" v="661"/>
          <ac:picMkLst>
            <pc:docMk/>
            <pc:sldMk cId="2655198833" sldId="453"/>
            <ac:picMk id="2" creationId="{77CC2142-FC2C-FC1D-4AC0-F7979B935E5E}"/>
          </ac:picMkLst>
        </pc:picChg>
        <pc:picChg chg="del">
          <ac:chgData name="Fourati, Omar" userId="S::oz48ohuv@fauad.fau.de::543b926d-baf3-4e4d-861e-19746c37446c" providerId="AD" clId="Web-{15EA2C27-6F48-492D-B88E-9D6DC3C2E5F0}" dt="2023-03-12T08:09:43.882" v="660"/>
          <ac:picMkLst>
            <pc:docMk/>
            <pc:sldMk cId="2655198833" sldId="453"/>
            <ac:picMk id="3" creationId="{D5682F70-56DC-6B3E-F074-95832D04B457}"/>
          </ac:picMkLst>
        </pc:picChg>
        <pc:cxnChg chg="add mod">
          <ac:chgData name="Fourati, Omar" userId="S::oz48ohuv@fauad.fau.de::543b926d-baf3-4e4d-861e-19746c37446c" providerId="AD" clId="Web-{15EA2C27-6F48-492D-B88E-9D6DC3C2E5F0}" dt="2023-03-12T08:26:02.277" v="995" actId="1076"/>
          <ac:cxnSpMkLst>
            <pc:docMk/>
            <pc:sldMk cId="2655198833" sldId="453"/>
            <ac:cxnSpMk id="14" creationId="{6BECFF38-CF1E-59B7-9376-85C8A4A69B4E}"/>
          </ac:cxnSpMkLst>
        </pc:cxnChg>
        <pc:cxnChg chg="add mod">
          <ac:chgData name="Fourati, Omar" userId="S::oz48ohuv@fauad.fau.de::543b926d-baf3-4e4d-861e-19746c37446c" providerId="AD" clId="Web-{15EA2C27-6F48-492D-B88E-9D6DC3C2E5F0}" dt="2023-03-12T08:26:02.293" v="996" actId="1076"/>
          <ac:cxnSpMkLst>
            <pc:docMk/>
            <pc:sldMk cId="2655198833" sldId="453"/>
            <ac:cxnSpMk id="15" creationId="{F6CF47A3-2A9A-0BE0-21AD-330CBE5AFC6F}"/>
          </ac:cxnSpMkLst>
        </pc:cxnChg>
        <pc:cxnChg chg="add mod">
          <ac:chgData name="Fourati, Omar" userId="S::oz48ohuv@fauad.fau.de::543b926d-baf3-4e4d-861e-19746c37446c" providerId="AD" clId="Web-{15EA2C27-6F48-492D-B88E-9D6DC3C2E5F0}" dt="2023-03-12T08:26:02.309" v="997" actId="1076"/>
          <ac:cxnSpMkLst>
            <pc:docMk/>
            <pc:sldMk cId="2655198833" sldId="453"/>
            <ac:cxnSpMk id="16" creationId="{F2ACEC68-6370-A589-54AA-AACBA02286C0}"/>
          </ac:cxnSpMkLst>
        </pc:cxnChg>
      </pc:sldChg>
      <pc:sldChg chg="new del">
        <pc:chgData name="Fourati, Omar" userId="S::oz48ohuv@fauad.fau.de::543b926d-baf3-4e4d-861e-19746c37446c" providerId="AD" clId="Web-{15EA2C27-6F48-492D-B88E-9D6DC3C2E5F0}" dt="2023-03-12T08:26:14.934" v="999"/>
        <pc:sldMkLst>
          <pc:docMk/>
          <pc:sldMk cId="1626777395" sldId="454"/>
        </pc:sldMkLst>
      </pc:sldChg>
      <pc:sldChg chg="new del">
        <pc:chgData name="Fourati, Omar" userId="S::oz48ohuv@fauad.fau.de::543b926d-baf3-4e4d-861e-19746c37446c" providerId="AD" clId="Web-{15EA2C27-6F48-492D-B88E-9D6DC3C2E5F0}" dt="2023-03-12T08:26:32.482" v="1001"/>
        <pc:sldMkLst>
          <pc:docMk/>
          <pc:sldMk cId="1769750153" sldId="454"/>
        </pc:sldMkLst>
      </pc:sldChg>
      <pc:sldChg chg="addSp delSp modSp add replId">
        <pc:chgData name="Fourati, Omar" userId="S::oz48ohuv@fauad.fau.de::543b926d-baf3-4e4d-861e-19746c37446c" providerId="AD" clId="Web-{15EA2C27-6F48-492D-B88E-9D6DC3C2E5F0}" dt="2023-03-12T08:39:42.569" v="1085" actId="14100"/>
        <pc:sldMkLst>
          <pc:docMk/>
          <pc:sldMk cId="4251489337" sldId="454"/>
        </pc:sldMkLst>
        <pc:spChg chg="mod">
          <ac:chgData name="Fourati, Omar" userId="S::oz48ohuv@fauad.fau.de::543b926d-baf3-4e4d-861e-19746c37446c" providerId="AD" clId="Web-{15EA2C27-6F48-492D-B88E-9D6DC3C2E5F0}" dt="2023-03-12T08:35:03.118" v="1020" actId="20577"/>
          <ac:spMkLst>
            <pc:docMk/>
            <pc:sldMk cId="4251489337" sldId="454"/>
            <ac:spMk id="4" creationId="{620F3424-E32B-4DE8-BF4D-4918B7628D43}"/>
          </ac:spMkLst>
        </pc:spChg>
        <pc:spChg chg="mod">
          <ac:chgData name="Fourati, Omar" userId="S::oz48ohuv@fauad.fau.de::543b926d-baf3-4e4d-861e-19746c37446c" providerId="AD" clId="Web-{15EA2C27-6F48-492D-B88E-9D6DC3C2E5F0}" dt="2023-03-12T08:35:15.838" v="1024" actId="1076"/>
          <ac:spMkLst>
            <pc:docMk/>
            <pc:sldMk cId="4251489337" sldId="454"/>
            <ac:spMk id="6" creationId="{1CC6A956-A954-4940-A619-381D56C1A856}"/>
          </ac:spMkLst>
        </pc:spChg>
        <pc:spChg chg="add mod">
          <ac:chgData name="Fourati, Omar" userId="S::oz48ohuv@fauad.fau.de::543b926d-baf3-4e4d-861e-19746c37446c" providerId="AD" clId="Web-{15EA2C27-6F48-492D-B88E-9D6DC3C2E5F0}" dt="2023-03-12T08:39:06.193" v="1077" actId="1076"/>
          <ac:spMkLst>
            <pc:docMk/>
            <pc:sldMk cId="4251489337" sldId="454"/>
            <ac:spMk id="7" creationId="{64A58B96-061C-2491-A7AD-2A24958DA2CB}"/>
          </ac:spMkLst>
        </pc:spChg>
        <pc:spChg chg="del mod">
          <ac:chgData name="Fourati, Omar" userId="S::oz48ohuv@fauad.fau.de::543b926d-baf3-4e4d-861e-19746c37446c" providerId="AD" clId="Web-{15EA2C27-6F48-492D-B88E-9D6DC3C2E5F0}" dt="2023-03-12T08:35:58.293" v="1028"/>
          <ac:spMkLst>
            <pc:docMk/>
            <pc:sldMk cId="4251489337" sldId="454"/>
            <ac:spMk id="8" creationId="{5B21E990-A9C2-D829-9CA9-19830AD45666}"/>
          </ac:spMkLst>
        </pc:spChg>
        <pc:spChg chg="mod">
          <ac:chgData name="Fourati, Omar" userId="S::oz48ohuv@fauad.fau.de::543b926d-baf3-4e4d-861e-19746c37446c" providerId="AD" clId="Web-{15EA2C27-6F48-492D-B88E-9D6DC3C2E5F0}" dt="2023-03-12T08:34:12.241" v="1005" actId="20577"/>
          <ac:spMkLst>
            <pc:docMk/>
            <pc:sldMk cId="4251489337" sldId="454"/>
            <ac:spMk id="9" creationId="{06E69EF6-5F75-EF00-A656-2EF79BFF6CB7}"/>
          </ac:spMkLst>
        </pc:spChg>
        <pc:spChg chg="del">
          <ac:chgData name="Fourati, Omar" userId="S::oz48ohuv@fauad.fau.de::543b926d-baf3-4e4d-861e-19746c37446c" providerId="AD" clId="Web-{15EA2C27-6F48-492D-B88E-9D6DC3C2E5F0}" dt="2023-03-12T08:36:06.543" v="1037"/>
          <ac:spMkLst>
            <pc:docMk/>
            <pc:sldMk cId="4251489337" sldId="454"/>
            <ac:spMk id="10" creationId="{2EAF70E9-9520-C359-3F14-F7FA04BB93BF}"/>
          </ac:spMkLst>
        </pc:spChg>
        <pc:spChg chg="del">
          <ac:chgData name="Fourati, Omar" userId="S::oz48ohuv@fauad.fau.de::543b926d-baf3-4e4d-861e-19746c37446c" providerId="AD" clId="Web-{15EA2C27-6F48-492D-B88E-9D6DC3C2E5F0}" dt="2023-03-12T08:36:06.543" v="1036"/>
          <ac:spMkLst>
            <pc:docMk/>
            <pc:sldMk cId="4251489337" sldId="454"/>
            <ac:spMk id="11" creationId="{EC364AED-479C-F7DA-9EF9-4B90512195B1}"/>
          </ac:spMkLst>
        </pc:spChg>
        <pc:spChg chg="del">
          <ac:chgData name="Fourati, Omar" userId="S::oz48ohuv@fauad.fau.de::543b926d-baf3-4e4d-861e-19746c37446c" providerId="AD" clId="Web-{15EA2C27-6F48-492D-B88E-9D6DC3C2E5F0}" dt="2023-03-12T08:36:06.543" v="1035"/>
          <ac:spMkLst>
            <pc:docMk/>
            <pc:sldMk cId="4251489337" sldId="454"/>
            <ac:spMk id="12" creationId="{84012948-F49E-52CB-1B35-38C5377A581C}"/>
          </ac:spMkLst>
        </pc:spChg>
        <pc:spChg chg="del">
          <ac:chgData name="Fourati, Omar" userId="S::oz48ohuv@fauad.fau.de::543b926d-baf3-4e4d-861e-19746c37446c" providerId="AD" clId="Web-{15EA2C27-6F48-492D-B88E-9D6DC3C2E5F0}" dt="2023-03-12T08:36:06.543" v="1034"/>
          <ac:spMkLst>
            <pc:docMk/>
            <pc:sldMk cId="4251489337" sldId="454"/>
            <ac:spMk id="13" creationId="{5A6F146E-E2F5-F43C-C605-758F11CDD892}"/>
          </ac:spMkLst>
        </pc:spChg>
        <pc:spChg chg="add mod">
          <ac:chgData name="Fourati, Omar" userId="S::oz48ohuv@fauad.fau.de::543b926d-baf3-4e4d-861e-19746c37446c" providerId="AD" clId="Web-{15EA2C27-6F48-492D-B88E-9D6DC3C2E5F0}" dt="2023-03-12T08:39:42.569" v="1085" actId="14100"/>
          <ac:spMkLst>
            <pc:docMk/>
            <pc:sldMk cId="4251489337" sldId="454"/>
            <ac:spMk id="18" creationId="{17C21921-7DC3-B935-A669-8198BCEACC21}"/>
          </ac:spMkLst>
        </pc:spChg>
        <pc:spChg chg="del">
          <ac:chgData name="Fourati, Omar" userId="S::oz48ohuv@fauad.fau.de::543b926d-baf3-4e4d-861e-19746c37446c" providerId="AD" clId="Web-{15EA2C27-6F48-492D-B88E-9D6DC3C2E5F0}" dt="2023-03-12T08:35:59.012" v="1029"/>
          <ac:spMkLst>
            <pc:docMk/>
            <pc:sldMk cId="4251489337" sldId="454"/>
            <ac:spMk id="21" creationId="{03AEB1A7-4A22-4EA3-B891-8CE774B86F7E}"/>
          </ac:spMkLst>
        </pc:spChg>
        <pc:picChg chg="add mod">
          <ac:chgData name="Fourati, Omar" userId="S::oz48ohuv@fauad.fau.de::543b926d-baf3-4e4d-861e-19746c37446c" providerId="AD" clId="Web-{15EA2C27-6F48-492D-B88E-9D6DC3C2E5F0}" dt="2023-03-12T08:39:08.802" v="1078" actId="1076"/>
          <ac:picMkLst>
            <pc:docMk/>
            <pc:sldMk cId="4251489337" sldId="454"/>
            <ac:picMk id="2" creationId="{8E1E77F3-A832-68E6-1E2E-52797DD65C76}"/>
          </ac:picMkLst>
        </pc:picChg>
        <pc:picChg chg="add mod">
          <ac:chgData name="Fourati, Omar" userId="S::oz48ohuv@fauad.fau.de::543b926d-baf3-4e4d-861e-19746c37446c" providerId="AD" clId="Web-{15EA2C27-6F48-492D-B88E-9D6DC3C2E5F0}" dt="2023-03-12T08:39:11.271" v="1079" actId="1076"/>
          <ac:picMkLst>
            <pc:docMk/>
            <pc:sldMk cId="4251489337" sldId="454"/>
            <ac:picMk id="3" creationId="{1F00BB43-CD59-842D-79D9-920324157E46}"/>
          </ac:picMkLst>
        </pc:picChg>
        <pc:picChg chg="add del mod">
          <ac:chgData name="Fourati, Omar" userId="S::oz48ohuv@fauad.fau.de::543b926d-baf3-4e4d-861e-19746c37446c" providerId="AD" clId="Web-{15EA2C27-6F48-492D-B88E-9D6DC3C2E5F0}" dt="2023-03-12T08:38:22.972" v="1063"/>
          <ac:picMkLst>
            <pc:docMk/>
            <pc:sldMk cId="4251489337" sldId="454"/>
            <ac:picMk id="5" creationId="{EAFB9C37-778E-E65D-82D4-0A71CF876D81}"/>
          </ac:picMkLst>
        </pc:picChg>
        <pc:cxnChg chg="del">
          <ac:chgData name="Fourati, Omar" userId="S::oz48ohuv@fauad.fau.de::543b926d-baf3-4e4d-861e-19746c37446c" providerId="AD" clId="Web-{15EA2C27-6F48-492D-B88E-9D6DC3C2E5F0}" dt="2023-03-12T08:36:06.543" v="1033"/>
          <ac:cxnSpMkLst>
            <pc:docMk/>
            <pc:sldMk cId="4251489337" sldId="454"/>
            <ac:cxnSpMk id="14" creationId="{6BECFF38-CF1E-59B7-9376-85C8A4A69B4E}"/>
          </ac:cxnSpMkLst>
        </pc:cxnChg>
        <pc:cxnChg chg="del">
          <ac:chgData name="Fourati, Omar" userId="S::oz48ohuv@fauad.fau.de::543b926d-baf3-4e4d-861e-19746c37446c" providerId="AD" clId="Web-{15EA2C27-6F48-492D-B88E-9D6DC3C2E5F0}" dt="2023-03-12T08:36:06.543" v="1032"/>
          <ac:cxnSpMkLst>
            <pc:docMk/>
            <pc:sldMk cId="4251489337" sldId="454"/>
            <ac:cxnSpMk id="15" creationId="{F6CF47A3-2A9A-0BE0-21AD-330CBE5AFC6F}"/>
          </ac:cxnSpMkLst>
        </pc:cxnChg>
        <pc:cxnChg chg="del">
          <ac:chgData name="Fourati, Omar" userId="S::oz48ohuv@fauad.fau.de::543b926d-baf3-4e4d-861e-19746c37446c" providerId="AD" clId="Web-{15EA2C27-6F48-492D-B88E-9D6DC3C2E5F0}" dt="2023-03-12T08:36:06.543" v="1031"/>
          <ac:cxnSpMkLst>
            <pc:docMk/>
            <pc:sldMk cId="4251489337" sldId="454"/>
            <ac:cxnSpMk id="16" creationId="{F2ACEC68-6370-A589-54AA-AACBA02286C0}"/>
          </ac:cxnSpMkLst>
        </pc:cxnChg>
      </pc:sldChg>
      <pc:sldChg chg="addSp delSp modSp add replId">
        <pc:chgData name="Fourati, Omar" userId="S::oz48ohuv@fauad.fau.de::543b926d-baf3-4e4d-861e-19746c37446c" providerId="AD" clId="Web-{15EA2C27-6F48-492D-B88E-9D6DC3C2E5F0}" dt="2023-03-12T08:41:17.136" v="1093" actId="1076"/>
        <pc:sldMkLst>
          <pc:docMk/>
          <pc:sldMk cId="3634877119" sldId="455"/>
        </pc:sldMkLst>
        <pc:spChg chg="mod">
          <ac:chgData name="Fourati, Omar" userId="S::oz48ohuv@fauad.fau.de::543b926d-baf3-4e4d-861e-19746c37446c" providerId="AD" clId="Web-{15EA2C27-6F48-492D-B88E-9D6DC3C2E5F0}" dt="2023-03-12T08:40:09.430" v="1088" actId="20577"/>
          <ac:spMkLst>
            <pc:docMk/>
            <pc:sldMk cId="3634877119" sldId="455"/>
            <ac:spMk id="6" creationId="{1CC6A956-A954-4940-A619-381D56C1A856}"/>
          </ac:spMkLst>
        </pc:spChg>
        <pc:picChg chg="del">
          <ac:chgData name="Fourati, Omar" userId="S::oz48ohuv@fauad.fau.de::543b926d-baf3-4e4d-861e-19746c37446c" providerId="AD" clId="Web-{15EA2C27-6F48-492D-B88E-9D6DC3C2E5F0}" dt="2023-03-12T08:40:10.836" v="1090"/>
          <ac:picMkLst>
            <pc:docMk/>
            <pc:sldMk cId="3634877119" sldId="455"/>
            <ac:picMk id="2" creationId="{8E1E77F3-A832-68E6-1E2E-52797DD65C76}"/>
          </ac:picMkLst>
        </pc:picChg>
        <pc:picChg chg="del">
          <ac:chgData name="Fourati, Omar" userId="S::oz48ohuv@fauad.fau.de::543b926d-baf3-4e4d-861e-19746c37446c" providerId="AD" clId="Web-{15EA2C27-6F48-492D-B88E-9D6DC3C2E5F0}" dt="2023-03-12T08:40:10.836" v="1089"/>
          <ac:picMkLst>
            <pc:docMk/>
            <pc:sldMk cId="3634877119" sldId="455"/>
            <ac:picMk id="3" creationId="{1F00BB43-CD59-842D-79D9-920324157E46}"/>
          </ac:picMkLst>
        </pc:picChg>
        <pc:picChg chg="add mod">
          <ac:chgData name="Fourati, Omar" userId="S::oz48ohuv@fauad.fau.de::543b926d-baf3-4e4d-861e-19746c37446c" providerId="AD" clId="Web-{15EA2C27-6F48-492D-B88E-9D6DC3C2E5F0}" dt="2023-03-12T08:41:17.136" v="1093" actId="1076"/>
          <ac:picMkLst>
            <pc:docMk/>
            <pc:sldMk cId="3634877119" sldId="455"/>
            <ac:picMk id="5" creationId="{29275D55-84A7-9A26-2BB2-2A45CAF33C01}"/>
          </ac:picMkLst>
        </pc:picChg>
      </pc:sldChg>
    </pc:docChg>
  </pc:docChgLst>
  <pc:docChgLst>
    <pc:chgData name="Fourati, Omar" userId="S::oz48ohuv@fauad.fau.de::543b926d-baf3-4e4d-861e-19746c37446c" providerId="AD" clId="Web-{7ED6B54F-03DA-4E5A-AE8C-EB2A9D8D441A}"/>
    <pc:docChg chg="delSld modSld sldOrd">
      <pc:chgData name="Fourati, Omar" userId="S::oz48ohuv@fauad.fau.de::543b926d-baf3-4e4d-861e-19746c37446c" providerId="AD" clId="Web-{7ED6B54F-03DA-4E5A-AE8C-EB2A9D8D441A}" dt="2023-01-16T08:30:31.974" v="67" actId="20577"/>
      <pc:docMkLst>
        <pc:docMk/>
      </pc:docMkLst>
      <pc:sldChg chg="addSp delSp modSp">
        <pc:chgData name="Fourati, Omar" userId="S::oz48ohuv@fauad.fau.de::543b926d-baf3-4e4d-861e-19746c37446c" providerId="AD" clId="Web-{7ED6B54F-03DA-4E5A-AE8C-EB2A9D8D441A}" dt="2023-01-16T08:30:31.974" v="67" actId="20577"/>
        <pc:sldMkLst>
          <pc:docMk/>
          <pc:sldMk cId="1105244631" sldId="309"/>
        </pc:sldMkLst>
        <pc:spChg chg="mod">
          <ac:chgData name="Fourati, Omar" userId="S::oz48ohuv@fauad.fau.de::543b926d-baf3-4e4d-861e-19746c37446c" providerId="AD" clId="Web-{7ED6B54F-03DA-4E5A-AE8C-EB2A9D8D441A}" dt="2023-01-16T08:29:51.457" v="52" actId="1076"/>
          <ac:spMkLst>
            <pc:docMk/>
            <pc:sldMk cId="1105244631" sldId="309"/>
            <ac:spMk id="5" creationId="{D72A2961-34FB-E12D-E8F3-6E546353D453}"/>
          </ac:spMkLst>
        </pc:spChg>
        <pc:spChg chg="add mod">
          <ac:chgData name="Fourati, Omar" userId="S::oz48ohuv@fauad.fau.de::543b926d-baf3-4e4d-861e-19746c37446c" providerId="AD" clId="Web-{7ED6B54F-03DA-4E5A-AE8C-EB2A9D8D441A}" dt="2023-01-16T08:30:31.974" v="67" actId="20577"/>
          <ac:spMkLst>
            <pc:docMk/>
            <pc:sldMk cId="1105244631" sldId="309"/>
            <ac:spMk id="8" creationId="{375D7C77-046C-543B-2CBD-82CB7E717FBC}"/>
          </ac:spMkLst>
        </pc:spChg>
        <pc:spChg chg="del">
          <ac:chgData name="Fourati, Omar" userId="S::oz48ohuv@fauad.fau.de::543b926d-baf3-4e4d-861e-19746c37446c" providerId="AD" clId="Web-{7ED6B54F-03DA-4E5A-AE8C-EB2A9D8D441A}" dt="2023-01-16T08:29:44.191" v="49"/>
          <ac:spMkLst>
            <pc:docMk/>
            <pc:sldMk cId="1105244631" sldId="309"/>
            <ac:spMk id="9" creationId="{33E94CDB-D766-DC89-60AE-36C16CE935AF}"/>
          </ac:spMkLst>
        </pc:spChg>
        <pc:spChg chg="add del mod">
          <ac:chgData name="Fourati, Omar" userId="S::oz48ohuv@fauad.fau.de::543b926d-baf3-4e4d-861e-19746c37446c" providerId="AD" clId="Web-{7ED6B54F-03DA-4E5A-AE8C-EB2A9D8D441A}" dt="2023-01-16T08:29:47.066" v="51"/>
          <ac:spMkLst>
            <pc:docMk/>
            <pc:sldMk cId="1105244631" sldId="309"/>
            <ac:spMk id="14" creationId="{13DC2A4D-0014-CB57-67DD-0EED687A2ED9}"/>
          </ac:spMkLst>
        </pc:spChg>
        <pc:spChg chg="mod">
          <ac:chgData name="Fourati, Omar" userId="S::oz48ohuv@fauad.fau.de::543b926d-baf3-4e4d-861e-19746c37446c" providerId="AD" clId="Web-{7ED6B54F-03DA-4E5A-AE8C-EB2A9D8D441A}" dt="2023-01-16T08:29:54.473" v="53" actId="1076"/>
          <ac:spMkLst>
            <pc:docMk/>
            <pc:sldMk cId="1105244631" sldId="309"/>
            <ac:spMk id="29" creationId="{6661A591-9035-1BE9-0290-5D1460701517}"/>
          </ac:spMkLst>
        </pc:spChg>
      </pc:sldChg>
      <pc:sldChg chg="modSp ord">
        <pc:chgData name="Fourati, Omar" userId="S::oz48ohuv@fauad.fau.de::543b926d-baf3-4e4d-861e-19746c37446c" providerId="AD" clId="Web-{7ED6B54F-03DA-4E5A-AE8C-EB2A9D8D441A}" dt="2023-01-16T08:18:40.855" v="23" actId="20577"/>
        <pc:sldMkLst>
          <pc:docMk/>
          <pc:sldMk cId="2822663259" sldId="310"/>
        </pc:sldMkLst>
        <pc:spChg chg="mod">
          <ac:chgData name="Fourati, Omar" userId="S::oz48ohuv@fauad.fau.de::543b926d-baf3-4e4d-861e-19746c37446c" providerId="AD" clId="Web-{7ED6B54F-03DA-4E5A-AE8C-EB2A9D8D441A}" dt="2023-01-16T08:18:40.855" v="23" actId="20577"/>
          <ac:spMkLst>
            <pc:docMk/>
            <pc:sldMk cId="2822663259" sldId="310"/>
            <ac:spMk id="27" creationId="{3E42329F-F9FA-34EA-70BC-4571D1E23889}"/>
          </ac:spMkLst>
        </pc:spChg>
        <pc:spChg chg="mod">
          <ac:chgData name="Fourati, Omar" userId="S::oz48ohuv@fauad.fau.de::543b926d-baf3-4e4d-861e-19746c37446c" providerId="AD" clId="Web-{7ED6B54F-03DA-4E5A-AE8C-EB2A9D8D441A}" dt="2023-01-16T08:04:06.870" v="1" actId="20577"/>
          <ac:spMkLst>
            <pc:docMk/>
            <pc:sldMk cId="2822663259" sldId="310"/>
            <ac:spMk id="29" creationId="{22E2A163-C4FA-1F8B-18FE-0C8C53976A74}"/>
          </ac:spMkLst>
        </pc:spChg>
        <pc:picChg chg="mod">
          <ac:chgData name="Fourati, Omar" userId="S::oz48ohuv@fauad.fau.de::543b926d-baf3-4e4d-861e-19746c37446c" providerId="AD" clId="Web-{7ED6B54F-03DA-4E5A-AE8C-EB2A9D8D441A}" dt="2023-01-16T08:12:57.780" v="4" actId="1076"/>
          <ac:picMkLst>
            <pc:docMk/>
            <pc:sldMk cId="2822663259" sldId="310"/>
            <ac:picMk id="16" creationId="{FAEDFB44-1CBF-0F29-B51C-433491D70783}"/>
          </ac:picMkLst>
        </pc:picChg>
      </pc:sldChg>
      <pc:sldChg chg="modSp">
        <pc:chgData name="Fourati, Omar" userId="S::oz48ohuv@fauad.fau.de::543b926d-baf3-4e4d-861e-19746c37446c" providerId="AD" clId="Web-{7ED6B54F-03DA-4E5A-AE8C-EB2A9D8D441A}" dt="2023-01-16T08:18:44.152" v="26" actId="20577"/>
        <pc:sldMkLst>
          <pc:docMk/>
          <pc:sldMk cId="3820454270" sldId="324"/>
        </pc:sldMkLst>
        <pc:spChg chg="mod">
          <ac:chgData name="Fourati, Omar" userId="S::oz48ohuv@fauad.fau.de::543b926d-baf3-4e4d-861e-19746c37446c" providerId="AD" clId="Web-{7ED6B54F-03DA-4E5A-AE8C-EB2A9D8D441A}" dt="2023-01-16T08:18:44.152" v="26" actId="20577"/>
          <ac:spMkLst>
            <pc:docMk/>
            <pc:sldMk cId="3820454270" sldId="324"/>
            <ac:spMk id="10" creationId="{C0D7F605-34FF-A05A-2E6B-18955BE27D16}"/>
          </ac:spMkLst>
        </pc:spChg>
      </pc:sldChg>
      <pc:sldChg chg="addSp delSp modSp ord">
        <pc:chgData name="Fourati, Omar" userId="S::oz48ohuv@fauad.fau.de::543b926d-baf3-4e4d-861e-19746c37446c" providerId="AD" clId="Web-{7ED6B54F-03DA-4E5A-AE8C-EB2A9D8D441A}" dt="2023-01-16T08:24:23.680" v="43" actId="20577"/>
        <pc:sldMkLst>
          <pc:docMk/>
          <pc:sldMk cId="786377102" sldId="326"/>
        </pc:sldMkLst>
        <pc:spChg chg="add del mod">
          <ac:chgData name="Fourati, Omar" userId="S::oz48ohuv@fauad.fau.de::543b926d-baf3-4e4d-861e-19746c37446c" providerId="AD" clId="Web-{7ED6B54F-03DA-4E5A-AE8C-EB2A9D8D441A}" dt="2023-01-16T08:21:02.313" v="29"/>
          <ac:spMkLst>
            <pc:docMk/>
            <pc:sldMk cId="786377102" sldId="326"/>
            <ac:spMk id="9" creationId="{5E2DF1EE-B443-FC87-8E29-31098153C6D1}"/>
          </ac:spMkLst>
        </pc:spChg>
        <pc:spChg chg="mod">
          <ac:chgData name="Fourati, Omar" userId="S::oz48ohuv@fauad.fau.de::543b926d-baf3-4e4d-861e-19746c37446c" providerId="AD" clId="Web-{7ED6B54F-03DA-4E5A-AE8C-EB2A9D8D441A}" dt="2023-01-16T08:24:23.680" v="43" actId="20577"/>
          <ac:spMkLst>
            <pc:docMk/>
            <pc:sldMk cId="786377102" sldId="326"/>
            <ac:spMk id="10" creationId="{C0D7F605-34FF-A05A-2E6B-18955BE27D16}"/>
          </ac:spMkLst>
        </pc:spChg>
        <pc:spChg chg="add del mod">
          <ac:chgData name="Fourati, Omar" userId="S::oz48ohuv@fauad.fau.de::543b926d-baf3-4e4d-861e-19746c37446c" providerId="AD" clId="Web-{7ED6B54F-03DA-4E5A-AE8C-EB2A9D8D441A}" dt="2023-01-16T08:21:23.267" v="32"/>
          <ac:spMkLst>
            <pc:docMk/>
            <pc:sldMk cId="786377102" sldId="326"/>
            <ac:spMk id="14" creationId="{DD4FE089-36FE-0A21-9417-1C2DF1E7A551}"/>
          </ac:spMkLst>
        </pc:spChg>
        <pc:spChg chg="del">
          <ac:chgData name="Fourati, Omar" userId="S::oz48ohuv@fauad.fau.de::543b926d-baf3-4e4d-861e-19746c37446c" providerId="AD" clId="Web-{7ED6B54F-03DA-4E5A-AE8C-EB2A9D8D441A}" dt="2023-01-16T08:20:52.172" v="27"/>
          <ac:spMkLst>
            <pc:docMk/>
            <pc:sldMk cId="786377102" sldId="326"/>
            <ac:spMk id="15" creationId="{AF6079DB-FFD0-3480-598A-CECB16020114}"/>
          </ac:spMkLst>
        </pc:spChg>
        <pc:spChg chg="add mod">
          <ac:chgData name="Fourati, Omar" userId="S::oz48ohuv@fauad.fau.de::543b926d-baf3-4e4d-861e-19746c37446c" providerId="AD" clId="Web-{7ED6B54F-03DA-4E5A-AE8C-EB2A9D8D441A}" dt="2023-01-16T08:21:28.345" v="34"/>
          <ac:spMkLst>
            <pc:docMk/>
            <pc:sldMk cId="786377102" sldId="326"/>
            <ac:spMk id="19" creationId="{61C99FC8-742D-5C54-FF23-E1EB1782B6FA}"/>
          </ac:spMkLst>
        </pc:spChg>
        <pc:picChg chg="add del mod ord modCrop">
          <ac:chgData name="Fourati, Omar" userId="S::oz48ohuv@fauad.fau.de::543b926d-baf3-4e4d-861e-19746c37446c" providerId="AD" clId="Web-{7ED6B54F-03DA-4E5A-AE8C-EB2A9D8D441A}" dt="2023-01-16T08:20:54.344" v="28"/>
          <ac:picMkLst>
            <pc:docMk/>
            <pc:sldMk cId="786377102" sldId="326"/>
            <ac:picMk id="6" creationId="{3F051DB8-A36F-8AC9-555F-43C5FCC44772}"/>
          </ac:picMkLst>
        </pc:picChg>
        <pc:picChg chg="add del mod ord modCrop">
          <ac:chgData name="Fourati, Omar" userId="S::oz48ohuv@fauad.fau.de::543b926d-baf3-4e4d-861e-19746c37446c" providerId="AD" clId="Web-{7ED6B54F-03DA-4E5A-AE8C-EB2A9D8D441A}" dt="2023-01-16T08:21:06.251" v="31"/>
          <ac:picMkLst>
            <pc:docMk/>
            <pc:sldMk cId="786377102" sldId="326"/>
            <ac:picMk id="11" creationId="{BFF1F17C-5288-A56A-DE5A-011DD10A3D4B}"/>
          </ac:picMkLst>
        </pc:picChg>
        <pc:picChg chg="mod">
          <ac:chgData name="Fourati, Omar" userId="S::oz48ohuv@fauad.fau.de::543b926d-baf3-4e4d-861e-19746c37446c" providerId="AD" clId="Web-{7ED6B54F-03DA-4E5A-AE8C-EB2A9D8D441A}" dt="2023-01-16T08:18:16.260" v="8" actId="14100"/>
          <ac:picMkLst>
            <pc:docMk/>
            <pc:sldMk cId="786377102" sldId="326"/>
            <ac:picMk id="13" creationId="{FD5D7538-F410-3972-E316-4CDFA568D980}"/>
          </ac:picMkLst>
        </pc:picChg>
        <pc:picChg chg="add del mod ord modCrop">
          <ac:chgData name="Fourati, Omar" userId="S::oz48ohuv@fauad.fau.de::543b926d-baf3-4e4d-861e-19746c37446c" providerId="AD" clId="Web-{7ED6B54F-03DA-4E5A-AE8C-EB2A9D8D441A}" dt="2023-01-16T08:21:28.345" v="34"/>
          <ac:picMkLst>
            <pc:docMk/>
            <pc:sldMk cId="786377102" sldId="326"/>
            <ac:picMk id="16" creationId="{C62E5FC8-20B2-AF31-FE09-93B1D4AEBD4D}"/>
          </ac:picMkLst>
        </pc:picChg>
        <pc:picChg chg="add mod">
          <ac:chgData name="Fourati, Omar" userId="S::oz48ohuv@fauad.fau.de::543b926d-baf3-4e4d-861e-19746c37446c" providerId="AD" clId="Web-{7ED6B54F-03DA-4E5A-AE8C-EB2A9D8D441A}" dt="2023-01-16T08:21:45.299" v="40" actId="1076"/>
          <ac:picMkLst>
            <pc:docMk/>
            <pc:sldMk cId="786377102" sldId="326"/>
            <ac:picMk id="17" creationId="{AADA09E1-6AC5-F2DA-E95A-132E0248B19D}"/>
          </ac:picMkLst>
        </pc:picChg>
      </pc:sldChg>
      <pc:sldChg chg="del">
        <pc:chgData name="Fourati, Omar" userId="S::oz48ohuv@fauad.fau.de::543b926d-baf3-4e4d-861e-19746c37446c" providerId="AD" clId="Web-{7ED6B54F-03DA-4E5A-AE8C-EB2A9D8D441A}" dt="2023-01-16T08:18:04.135" v="5"/>
        <pc:sldMkLst>
          <pc:docMk/>
          <pc:sldMk cId="3747601807" sldId="327"/>
        </pc:sldMkLst>
      </pc:sldChg>
    </pc:docChg>
  </pc:docChgLst>
  <pc:docChgLst>
    <pc:chgData name="Zhizi Wen" userId="b804997a-63ad-4c7f-9308-31a917908f04" providerId="ADAL" clId="{2AC281D0-AD6B-4A2B-88FC-FF7C44EBD234}"/>
    <pc:docChg chg="undo custSel addSld delSld modSld sldOrd">
      <pc:chgData name="Zhizi Wen" userId="b804997a-63ad-4c7f-9308-31a917908f04" providerId="ADAL" clId="{2AC281D0-AD6B-4A2B-88FC-FF7C44EBD234}" dt="2023-03-10T14:16:51.229" v="3871" actId="1076"/>
      <pc:docMkLst>
        <pc:docMk/>
      </pc:docMkLst>
      <pc:sldChg chg="modSp add del mod">
        <pc:chgData name="Zhizi Wen" userId="b804997a-63ad-4c7f-9308-31a917908f04" providerId="ADAL" clId="{2AC281D0-AD6B-4A2B-88FC-FF7C44EBD234}" dt="2023-01-14T23:00:46.777" v="2695" actId="108"/>
        <pc:sldMkLst>
          <pc:docMk/>
          <pc:sldMk cId="2157076567" sldId="261"/>
        </pc:sldMkLst>
        <pc:spChg chg="mod">
          <ac:chgData name="Zhizi Wen" userId="b804997a-63ad-4c7f-9308-31a917908f04" providerId="ADAL" clId="{2AC281D0-AD6B-4A2B-88FC-FF7C44EBD234}" dt="2023-01-14T22:59:34.977" v="2669"/>
          <ac:spMkLst>
            <pc:docMk/>
            <pc:sldMk cId="2157076567" sldId="261"/>
            <ac:spMk id="10" creationId="{AB793DD3-3E89-8596-F618-FF96E456E86F}"/>
          </ac:spMkLst>
        </pc:spChg>
        <pc:spChg chg="mod">
          <ac:chgData name="Zhizi Wen" userId="b804997a-63ad-4c7f-9308-31a917908f04" providerId="ADAL" clId="{2AC281D0-AD6B-4A2B-88FC-FF7C44EBD234}" dt="2023-01-14T23:00:46.777" v="2695" actId="108"/>
          <ac:spMkLst>
            <pc:docMk/>
            <pc:sldMk cId="2157076567" sldId="261"/>
            <ac:spMk id="11" creationId="{AC03B485-56E3-6017-581E-3691083F25D4}"/>
          </ac:spMkLst>
        </pc:spChg>
      </pc:sldChg>
      <pc:sldChg chg="del">
        <pc:chgData name="Zhizi Wen" userId="b804997a-63ad-4c7f-9308-31a917908f04" providerId="ADAL" clId="{2AC281D0-AD6B-4A2B-88FC-FF7C44EBD234}" dt="2023-01-14T23:01:17.648" v="2696" actId="47"/>
        <pc:sldMkLst>
          <pc:docMk/>
          <pc:sldMk cId="3856579613" sldId="308"/>
        </pc:sldMkLst>
      </pc:sldChg>
      <pc:sldChg chg="modSp mod modNotesTx">
        <pc:chgData name="Zhizi Wen" userId="b804997a-63ad-4c7f-9308-31a917908f04" providerId="ADAL" clId="{2AC281D0-AD6B-4A2B-88FC-FF7C44EBD234}" dt="2023-01-16T19:57:32.279" v="3325"/>
        <pc:sldMkLst>
          <pc:docMk/>
          <pc:sldMk cId="1105244631" sldId="309"/>
        </pc:sldMkLst>
        <pc:spChg chg="mod">
          <ac:chgData name="Zhizi Wen" userId="b804997a-63ad-4c7f-9308-31a917908f04" providerId="ADAL" clId="{2AC281D0-AD6B-4A2B-88FC-FF7C44EBD234}" dt="2023-01-14T23:03:13.391" v="2750"/>
          <ac:spMkLst>
            <pc:docMk/>
            <pc:sldMk cId="1105244631" sldId="309"/>
            <ac:spMk id="5" creationId="{D72A2961-34FB-E12D-E8F3-6E546353D453}"/>
          </ac:spMkLst>
        </pc:spChg>
        <pc:spChg chg="mod">
          <ac:chgData name="Zhizi Wen" userId="b804997a-63ad-4c7f-9308-31a917908f04" providerId="ADAL" clId="{2AC281D0-AD6B-4A2B-88FC-FF7C44EBD234}" dt="2023-01-14T23:04:15.122" v="2817" actId="20577"/>
          <ac:spMkLst>
            <pc:docMk/>
            <pc:sldMk cId="1105244631" sldId="309"/>
            <ac:spMk id="6" creationId="{C08D6614-E8B5-FF4D-DDE6-7F68BCEC7237}"/>
          </ac:spMkLst>
        </pc:spChg>
        <pc:spChg chg="mod">
          <ac:chgData name="Zhizi Wen" userId="b804997a-63ad-4c7f-9308-31a917908f04" providerId="ADAL" clId="{2AC281D0-AD6B-4A2B-88FC-FF7C44EBD234}" dt="2023-01-16T19:57:32.279" v="3325"/>
          <ac:spMkLst>
            <pc:docMk/>
            <pc:sldMk cId="1105244631" sldId="309"/>
            <ac:spMk id="8" creationId="{375D7C77-046C-543B-2CBD-82CB7E717FBC}"/>
          </ac:spMkLst>
        </pc:spChg>
        <pc:spChg chg="mod">
          <ac:chgData name="Zhizi Wen" userId="b804997a-63ad-4c7f-9308-31a917908f04" providerId="ADAL" clId="{2AC281D0-AD6B-4A2B-88FC-FF7C44EBD234}" dt="2023-01-14T23:03:53.268" v="2813" actId="20577"/>
          <ac:spMkLst>
            <pc:docMk/>
            <pc:sldMk cId="1105244631" sldId="309"/>
            <ac:spMk id="9" creationId="{33E94CDB-D766-DC89-60AE-36C16CE935AF}"/>
          </ac:spMkLst>
        </pc:spChg>
        <pc:spChg chg="mod">
          <ac:chgData name="Zhizi Wen" userId="b804997a-63ad-4c7f-9308-31a917908f04" providerId="ADAL" clId="{2AC281D0-AD6B-4A2B-88FC-FF7C44EBD234}" dt="2023-01-14T23:04:18.387" v="2821" actId="20577"/>
          <ac:spMkLst>
            <pc:docMk/>
            <pc:sldMk cId="1105244631" sldId="309"/>
            <ac:spMk id="10" creationId="{0A00AF9B-043F-F7AE-7D51-2C8DAED74AAF}"/>
          </ac:spMkLst>
        </pc:spChg>
        <pc:spChg chg="mod">
          <ac:chgData name="Zhizi Wen" userId="b804997a-63ad-4c7f-9308-31a917908f04" providerId="ADAL" clId="{2AC281D0-AD6B-4A2B-88FC-FF7C44EBD234}" dt="2023-01-14T23:04:39.188" v="2843" actId="20577"/>
          <ac:spMkLst>
            <pc:docMk/>
            <pc:sldMk cId="1105244631" sldId="309"/>
            <ac:spMk id="11" creationId="{BD2BA23C-CD23-972A-9420-7C4AC915D4B1}"/>
          </ac:spMkLst>
        </pc:spChg>
        <pc:spChg chg="mod">
          <ac:chgData name="Zhizi Wen" userId="b804997a-63ad-4c7f-9308-31a917908f04" providerId="ADAL" clId="{2AC281D0-AD6B-4A2B-88FC-FF7C44EBD234}" dt="2023-01-14T23:04:31.794" v="2830" actId="20577"/>
          <ac:spMkLst>
            <pc:docMk/>
            <pc:sldMk cId="1105244631" sldId="309"/>
            <ac:spMk id="12" creationId="{8029BC24-A282-5614-7CB5-214AB03D9A2D}"/>
          </ac:spMkLst>
        </pc:spChg>
        <pc:spChg chg="mod">
          <ac:chgData name="Zhizi Wen" userId="b804997a-63ad-4c7f-9308-31a917908f04" providerId="ADAL" clId="{2AC281D0-AD6B-4A2B-88FC-FF7C44EBD234}" dt="2023-01-14T23:01:32.914" v="2702" actId="20577"/>
          <ac:spMkLst>
            <pc:docMk/>
            <pc:sldMk cId="1105244631" sldId="309"/>
            <ac:spMk id="27" creationId="{3657BE60-8C97-4717-0C5B-DD3805D53809}"/>
          </ac:spMkLst>
        </pc:spChg>
        <pc:spChg chg="mod">
          <ac:chgData name="Zhizi Wen" userId="b804997a-63ad-4c7f-9308-31a917908f04" providerId="ADAL" clId="{2AC281D0-AD6B-4A2B-88FC-FF7C44EBD234}" dt="2023-01-14T23:03:20.720" v="2779" actId="20577"/>
          <ac:spMkLst>
            <pc:docMk/>
            <pc:sldMk cId="1105244631" sldId="309"/>
            <ac:spMk id="29" creationId="{6661A591-9035-1BE9-0290-5D1460701517}"/>
          </ac:spMkLst>
        </pc:spChg>
        <pc:spChg chg="mod">
          <ac:chgData name="Zhizi Wen" userId="b804997a-63ad-4c7f-9308-31a917908f04" providerId="ADAL" clId="{2AC281D0-AD6B-4A2B-88FC-FF7C44EBD234}" dt="2023-01-14T23:04:11.747" v="2815" actId="20577"/>
          <ac:spMkLst>
            <pc:docMk/>
            <pc:sldMk cId="1105244631" sldId="309"/>
            <ac:spMk id="30" creationId="{B7069163-F53A-8AAB-4B95-2D425F5F9D2F}"/>
          </ac:spMkLst>
        </pc:spChg>
      </pc:sldChg>
      <pc:sldChg chg="modSp mod">
        <pc:chgData name="Zhizi Wen" userId="b804997a-63ad-4c7f-9308-31a917908f04" providerId="ADAL" clId="{2AC281D0-AD6B-4A2B-88FC-FF7C44EBD234}" dt="2023-01-16T19:57:41.941" v="3327" actId="20577"/>
        <pc:sldMkLst>
          <pc:docMk/>
          <pc:sldMk cId="2822663259" sldId="310"/>
        </pc:sldMkLst>
        <pc:spChg chg="mod">
          <ac:chgData name="Zhizi Wen" userId="b804997a-63ad-4c7f-9308-31a917908f04" providerId="ADAL" clId="{2AC281D0-AD6B-4A2B-88FC-FF7C44EBD234}" dt="2023-01-16T19:57:41.941" v="3327" actId="20577"/>
          <ac:spMkLst>
            <pc:docMk/>
            <pc:sldMk cId="2822663259" sldId="310"/>
            <ac:spMk id="27" creationId="{3E42329F-F9FA-34EA-70BC-4571D1E23889}"/>
          </ac:spMkLst>
        </pc:spChg>
      </pc:sldChg>
      <pc:sldChg chg="mod modShow">
        <pc:chgData name="Zhizi Wen" userId="b804997a-63ad-4c7f-9308-31a917908f04" providerId="ADAL" clId="{2AC281D0-AD6B-4A2B-88FC-FF7C44EBD234}" dt="2023-01-16T09:55:08.473" v="3116" actId="729"/>
        <pc:sldMkLst>
          <pc:docMk/>
          <pc:sldMk cId="1510801200" sldId="311"/>
        </pc:sldMkLst>
      </pc:sldChg>
      <pc:sldChg chg="mod modShow">
        <pc:chgData name="Zhizi Wen" userId="b804997a-63ad-4c7f-9308-31a917908f04" providerId="ADAL" clId="{2AC281D0-AD6B-4A2B-88FC-FF7C44EBD234}" dt="2023-01-16T09:55:10.231" v="3117" actId="729"/>
        <pc:sldMkLst>
          <pc:docMk/>
          <pc:sldMk cId="2990817436" sldId="312"/>
        </pc:sldMkLst>
      </pc:sldChg>
      <pc:sldChg chg="modSp new mod ord modShow">
        <pc:chgData name="Zhizi Wen" userId="b804997a-63ad-4c7f-9308-31a917908f04" providerId="ADAL" clId="{2AC281D0-AD6B-4A2B-88FC-FF7C44EBD234}" dt="2023-01-15T19:02:49.193" v="2946"/>
        <pc:sldMkLst>
          <pc:docMk/>
          <pc:sldMk cId="3365579940" sldId="313"/>
        </pc:sldMkLst>
        <pc:spChg chg="mod">
          <ac:chgData name="Zhizi Wen" userId="b804997a-63ad-4c7f-9308-31a917908f04" providerId="ADAL" clId="{2AC281D0-AD6B-4A2B-88FC-FF7C44EBD234}" dt="2023-01-14T13:50:00.760" v="231" actId="20577"/>
          <ac:spMkLst>
            <pc:docMk/>
            <pc:sldMk cId="3365579940" sldId="313"/>
            <ac:spMk id="5" creationId="{0B153BA7-ECB5-ABBE-08DA-6C95A9A6080E}"/>
          </ac:spMkLst>
        </pc:spChg>
        <pc:spChg chg="mod">
          <ac:chgData name="Zhizi Wen" userId="b804997a-63ad-4c7f-9308-31a917908f04" providerId="ADAL" clId="{2AC281D0-AD6B-4A2B-88FC-FF7C44EBD234}" dt="2023-01-14T13:50:21.464" v="241" actId="20577"/>
          <ac:spMkLst>
            <pc:docMk/>
            <pc:sldMk cId="3365579940" sldId="313"/>
            <ac:spMk id="6" creationId="{E450DA48-F0EF-A832-A7E0-8A17473B3711}"/>
          </ac:spMkLst>
        </pc:spChg>
      </pc:sldChg>
      <pc:sldChg chg="modSp new del mod">
        <pc:chgData name="Zhizi Wen" userId="b804997a-63ad-4c7f-9308-31a917908f04" providerId="ADAL" clId="{2AC281D0-AD6B-4A2B-88FC-FF7C44EBD234}" dt="2023-01-14T21:35:54.025" v="1002" actId="47"/>
        <pc:sldMkLst>
          <pc:docMk/>
          <pc:sldMk cId="1267190514" sldId="314"/>
        </pc:sldMkLst>
        <pc:spChg chg="mod">
          <ac:chgData name="Zhizi Wen" userId="b804997a-63ad-4c7f-9308-31a917908f04" providerId="ADAL" clId="{2AC281D0-AD6B-4A2B-88FC-FF7C44EBD234}" dt="2023-01-14T13:54:49.530" v="552" actId="5793"/>
          <ac:spMkLst>
            <pc:docMk/>
            <pc:sldMk cId="1267190514" sldId="314"/>
            <ac:spMk id="5" creationId="{3DBE9A3A-B89F-CFFD-851F-8978433A6734}"/>
          </ac:spMkLst>
        </pc:spChg>
        <pc:spChg chg="mod">
          <ac:chgData name="Zhizi Wen" userId="b804997a-63ad-4c7f-9308-31a917908f04" providerId="ADAL" clId="{2AC281D0-AD6B-4A2B-88FC-FF7C44EBD234}" dt="2023-01-14T13:50:36.604" v="263" actId="20577"/>
          <ac:spMkLst>
            <pc:docMk/>
            <pc:sldMk cId="1267190514" sldId="314"/>
            <ac:spMk id="6" creationId="{995E72BF-3509-C5EA-D7CC-C33A879D54BE}"/>
          </ac:spMkLst>
        </pc:spChg>
      </pc:sldChg>
      <pc:sldChg chg="addSp delSp modSp new mod ord">
        <pc:chgData name="Zhizi Wen" userId="b804997a-63ad-4c7f-9308-31a917908f04" providerId="ADAL" clId="{2AC281D0-AD6B-4A2B-88FC-FF7C44EBD234}" dt="2023-01-16T19:58:36.375" v="3335" actId="20577"/>
        <pc:sldMkLst>
          <pc:docMk/>
          <pc:sldMk cId="4227834559" sldId="315"/>
        </pc:sldMkLst>
        <pc:spChg chg="mod">
          <ac:chgData name="Zhizi Wen" userId="b804997a-63ad-4c7f-9308-31a917908f04" providerId="ADAL" clId="{2AC281D0-AD6B-4A2B-88FC-FF7C44EBD234}" dt="2023-01-16T19:58:36.375" v="3335" actId="20577"/>
          <ac:spMkLst>
            <pc:docMk/>
            <pc:sldMk cId="4227834559" sldId="315"/>
            <ac:spMk id="5" creationId="{8EA7A4D4-9AD7-8D9C-9812-AA8B76F9AC69}"/>
          </ac:spMkLst>
        </pc:spChg>
        <pc:spChg chg="mod">
          <ac:chgData name="Zhizi Wen" userId="b804997a-63ad-4c7f-9308-31a917908f04" providerId="ADAL" clId="{2AC281D0-AD6B-4A2B-88FC-FF7C44EBD234}" dt="2023-01-14T13:55:16.051" v="581" actId="20577"/>
          <ac:spMkLst>
            <pc:docMk/>
            <pc:sldMk cId="4227834559" sldId="315"/>
            <ac:spMk id="6" creationId="{502432B2-8ACE-4305-563F-28E26C5C43FC}"/>
          </ac:spMkLst>
        </pc:spChg>
        <pc:spChg chg="del">
          <ac:chgData name="Zhizi Wen" userId="b804997a-63ad-4c7f-9308-31a917908f04" providerId="ADAL" clId="{2AC281D0-AD6B-4A2B-88FC-FF7C44EBD234}" dt="2023-01-14T22:10:19.417" v="1169"/>
          <ac:spMkLst>
            <pc:docMk/>
            <pc:sldMk cId="4227834559" sldId="315"/>
            <ac:spMk id="7" creationId="{8BFAE3A0-B933-B856-DC6C-97BD901E405E}"/>
          </ac:spMkLst>
        </pc:spChg>
        <pc:spChg chg="add del mod">
          <ac:chgData name="Zhizi Wen" userId="b804997a-63ad-4c7f-9308-31a917908f04" providerId="ADAL" clId="{2AC281D0-AD6B-4A2B-88FC-FF7C44EBD234}" dt="2023-01-14T22:15:32.649" v="1277"/>
          <ac:spMkLst>
            <pc:docMk/>
            <pc:sldMk cId="4227834559" sldId="315"/>
            <ac:spMk id="12" creationId="{8A4D7675-AF5A-5D10-DC81-FAE590DCEC09}"/>
          </ac:spMkLst>
        </pc:spChg>
        <pc:spChg chg="add mod">
          <ac:chgData name="Zhizi Wen" userId="b804997a-63ad-4c7f-9308-31a917908f04" providerId="ADAL" clId="{2AC281D0-AD6B-4A2B-88FC-FF7C44EBD234}" dt="2023-01-14T22:24:57.860" v="1495" actId="1076"/>
          <ac:spMkLst>
            <pc:docMk/>
            <pc:sldMk cId="4227834559" sldId="315"/>
            <ac:spMk id="17" creationId="{F3E97662-EFE8-BE2A-09E1-FDEB58C3200E}"/>
          </ac:spMkLst>
        </pc:spChg>
        <pc:spChg chg="add mod">
          <ac:chgData name="Zhizi Wen" userId="b804997a-63ad-4c7f-9308-31a917908f04" providerId="ADAL" clId="{2AC281D0-AD6B-4A2B-88FC-FF7C44EBD234}" dt="2023-01-14T22:24:57.860" v="1495" actId="1076"/>
          <ac:spMkLst>
            <pc:docMk/>
            <pc:sldMk cId="4227834559" sldId="315"/>
            <ac:spMk id="20" creationId="{B6E23F95-CCF8-33FF-31AC-25C42257FCD9}"/>
          </ac:spMkLst>
        </pc:spChg>
        <pc:spChg chg="add del mod">
          <ac:chgData name="Zhizi Wen" userId="b804997a-63ad-4c7f-9308-31a917908f04" providerId="ADAL" clId="{2AC281D0-AD6B-4A2B-88FC-FF7C44EBD234}" dt="2023-01-14T22:17:43.627" v="1323"/>
          <ac:spMkLst>
            <pc:docMk/>
            <pc:sldMk cId="4227834559" sldId="315"/>
            <ac:spMk id="24" creationId="{6DA6B970-CD4F-BE54-0994-70255A1D9CAC}"/>
          </ac:spMkLst>
        </pc:spChg>
        <pc:spChg chg="add mod">
          <ac:chgData name="Zhizi Wen" userId="b804997a-63ad-4c7f-9308-31a917908f04" providerId="ADAL" clId="{2AC281D0-AD6B-4A2B-88FC-FF7C44EBD234}" dt="2023-01-14T22:24:57.860" v="1495" actId="1076"/>
          <ac:spMkLst>
            <pc:docMk/>
            <pc:sldMk cId="4227834559" sldId="315"/>
            <ac:spMk id="26" creationId="{839493FC-5D7D-9641-3008-DCC7B8B03E49}"/>
          </ac:spMkLst>
        </pc:spChg>
        <pc:spChg chg="add del mod">
          <ac:chgData name="Zhizi Wen" userId="b804997a-63ad-4c7f-9308-31a917908f04" providerId="ADAL" clId="{2AC281D0-AD6B-4A2B-88FC-FF7C44EBD234}" dt="2023-01-14T22:23:08.676" v="1447" actId="478"/>
          <ac:spMkLst>
            <pc:docMk/>
            <pc:sldMk cId="4227834559" sldId="315"/>
            <ac:spMk id="29" creationId="{1F94E543-BB5D-1F2C-8272-4FF4E9DE2DFD}"/>
          </ac:spMkLst>
        </pc:spChg>
        <pc:spChg chg="add mod">
          <ac:chgData name="Zhizi Wen" userId="b804997a-63ad-4c7f-9308-31a917908f04" providerId="ADAL" clId="{2AC281D0-AD6B-4A2B-88FC-FF7C44EBD234}" dt="2023-01-14T22:24:57.860" v="1495" actId="1076"/>
          <ac:spMkLst>
            <pc:docMk/>
            <pc:sldMk cId="4227834559" sldId="315"/>
            <ac:spMk id="32" creationId="{EA7EB676-1142-A9C4-8A21-A0D0EF8AA287}"/>
          </ac:spMkLst>
        </pc:spChg>
        <pc:spChg chg="add mod">
          <ac:chgData name="Zhizi Wen" userId="b804997a-63ad-4c7f-9308-31a917908f04" providerId="ADAL" clId="{2AC281D0-AD6B-4A2B-88FC-FF7C44EBD234}" dt="2023-01-14T22:24:57.860" v="1495" actId="1076"/>
          <ac:spMkLst>
            <pc:docMk/>
            <pc:sldMk cId="4227834559" sldId="315"/>
            <ac:spMk id="36" creationId="{23C65F91-C8A0-965B-812E-545CF94E1F21}"/>
          </ac:spMkLst>
        </pc:spChg>
        <pc:spChg chg="add mod">
          <ac:chgData name="Zhizi Wen" userId="b804997a-63ad-4c7f-9308-31a917908f04" providerId="ADAL" clId="{2AC281D0-AD6B-4A2B-88FC-FF7C44EBD234}" dt="2023-01-14T22:24:57.860" v="1495" actId="1076"/>
          <ac:spMkLst>
            <pc:docMk/>
            <pc:sldMk cId="4227834559" sldId="315"/>
            <ac:spMk id="41" creationId="{C5430DDF-2136-2DF9-053F-05177210B5AD}"/>
          </ac:spMkLst>
        </pc:spChg>
        <pc:spChg chg="add mod">
          <ac:chgData name="Zhizi Wen" userId="b804997a-63ad-4c7f-9308-31a917908f04" providerId="ADAL" clId="{2AC281D0-AD6B-4A2B-88FC-FF7C44EBD234}" dt="2023-01-14T22:23:05.409" v="1445" actId="478"/>
          <ac:spMkLst>
            <pc:docMk/>
            <pc:sldMk cId="4227834559" sldId="315"/>
            <ac:spMk id="43" creationId="{7A3FD859-9650-06B1-1D0F-7B3C396DF0E9}"/>
          </ac:spMkLst>
        </pc:spChg>
        <pc:spChg chg="add mod">
          <ac:chgData name="Zhizi Wen" userId="b804997a-63ad-4c7f-9308-31a917908f04" providerId="ADAL" clId="{2AC281D0-AD6B-4A2B-88FC-FF7C44EBD234}" dt="2023-01-14T22:30:35.644" v="1744" actId="1076"/>
          <ac:spMkLst>
            <pc:docMk/>
            <pc:sldMk cId="4227834559" sldId="315"/>
            <ac:spMk id="44" creationId="{1CF71BCF-4AB6-F1AF-80EA-FB05461D8EC9}"/>
          </ac:spMkLst>
        </pc:spChg>
        <pc:picChg chg="add del mod">
          <ac:chgData name="Zhizi Wen" userId="b804997a-63ad-4c7f-9308-31a917908f04" providerId="ADAL" clId="{2AC281D0-AD6B-4A2B-88FC-FF7C44EBD234}" dt="2023-01-14T22:10:21.300" v="1172" actId="478"/>
          <ac:picMkLst>
            <pc:docMk/>
            <pc:sldMk cId="4227834559" sldId="315"/>
            <ac:picMk id="10" creationId="{3D5D08A4-9C23-9621-339D-E22F1BE76596}"/>
          </ac:picMkLst>
        </pc:picChg>
        <pc:picChg chg="add mod">
          <ac:chgData name="Zhizi Wen" userId="b804997a-63ad-4c7f-9308-31a917908f04" providerId="ADAL" clId="{2AC281D0-AD6B-4A2B-88FC-FF7C44EBD234}" dt="2023-01-14T22:24:57.860" v="1495" actId="1076"/>
          <ac:picMkLst>
            <pc:docMk/>
            <pc:sldMk cId="4227834559" sldId="315"/>
            <ac:picMk id="13" creationId="{558BB3C5-B22A-BE07-B839-51FBBEA5AF9F}"/>
          </ac:picMkLst>
        </pc:picChg>
        <pc:picChg chg="add del mod">
          <ac:chgData name="Zhizi Wen" userId="b804997a-63ad-4c7f-9308-31a917908f04" providerId="ADAL" clId="{2AC281D0-AD6B-4A2B-88FC-FF7C44EBD234}" dt="2023-01-14T22:15:34.639" v="1280" actId="478"/>
          <ac:picMkLst>
            <pc:docMk/>
            <pc:sldMk cId="4227834559" sldId="315"/>
            <ac:picMk id="22" creationId="{FEE37B41-FEC4-A429-FC57-540094780910}"/>
          </ac:picMkLst>
        </pc:picChg>
        <pc:picChg chg="add mod">
          <ac:chgData name="Zhizi Wen" userId="b804997a-63ad-4c7f-9308-31a917908f04" providerId="ADAL" clId="{2AC281D0-AD6B-4A2B-88FC-FF7C44EBD234}" dt="2023-01-14T22:24:57.860" v="1495" actId="1076"/>
          <ac:picMkLst>
            <pc:docMk/>
            <pc:sldMk cId="4227834559" sldId="315"/>
            <ac:picMk id="25" creationId="{D0EBCAE5-B407-4656-6009-0FB611F44933}"/>
          </ac:picMkLst>
        </pc:picChg>
        <pc:picChg chg="add del mod">
          <ac:chgData name="Zhizi Wen" userId="b804997a-63ad-4c7f-9308-31a917908f04" providerId="ADAL" clId="{2AC281D0-AD6B-4A2B-88FC-FF7C44EBD234}" dt="2023-01-14T22:23:05.409" v="1445" actId="478"/>
          <ac:picMkLst>
            <pc:docMk/>
            <pc:sldMk cId="4227834559" sldId="315"/>
            <ac:picMk id="28" creationId="{EE50355F-15D7-EACF-8A89-25EE01B72120}"/>
          </ac:picMkLst>
        </pc:picChg>
        <pc:picChg chg="add mod">
          <ac:chgData name="Zhizi Wen" userId="b804997a-63ad-4c7f-9308-31a917908f04" providerId="ADAL" clId="{2AC281D0-AD6B-4A2B-88FC-FF7C44EBD234}" dt="2023-01-14T22:24:57.860" v="1495" actId="1076"/>
          <ac:picMkLst>
            <pc:docMk/>
            <pc:sldMk cId="4227834559" sldId="315"/>
            <ac:picMk id="31" creationId="{61A17B61-7127-DC8D-A171-05A3127DD2F5}"/>
          </ac:picMkLst>
        </pc:picChg>
        <pc:cxnChg chg="add mod">
          <ac:chgData name="Zhizi Wen" userId="b804997a-63ad-4c7f-9308-31a917908f04" providerId="ADAL" clId="{2AC281D0-AD6B-4A2B-88FC-FF7C44EBD234}" dt="2023-01-14T22:24:57.860" v="1495" actId="1076"/>
          <ac:cxnSpMkLst>
            <pc:docMk/>
            <pc:sldMk cId="4227834559" sldId="315"/>
            <ac:cxnSpMk id="15" creationId="{CAF21C5D-889C-EE7A-8DC5-2289E8D13C35}"/>
          </ac:cxnSpMkLst>
        </pc:cxnChg>
        <pc:cxnChg chg="add mod">
          <ac:chgData name="Zhizi Wen" userId="b804997a-63ad-4c7f-9308-31a917908f04" providerId="ADAL" clId="{2AC281D0-AD6B-4A2B-88FC-FF7C44EBD234}" dt="2023-01-14T22:24:57.860" v="1495" actId="1076"/>
          <ac:cxnSpMkLst>
            <pc:docMk/>
            <pc:sldMk cId="4227834559" sldId="315"/>
            <ac:cxnSpMk id="34" creationId="{3DBA3DB6-3EBF-6B1B-AA19-384F1BCC3F79}"/>
          </ac:cxnSpMkLst>
        </pc:cxnChg>
        <pc:cxnChg chg="add mod">
          <ac:chgData name="Zhizi Wen" userId="b804997a-63ad-4c7f-9308-31a917908f04" providerId="ADAL" clId="{2AC281D0-AD6B-4A2B-88FC-FF7C44EBD234}" dt="2023-01-14T22:24:57.860" v="1495" actId="1076"/>
          <ac:cxnSpMkLst>
            <pc:docMk/>
            <pc:sldMk cId="4227834559" sldId="315"/>
            <ac:cxnSpMk id="40" creationId="{2E2C7514-54CB-833A-CD7C-E1AE6171EF8D}"/>
          </ac:cxnSpMkLst>
        </pc:cxnChg>
      </pc:sldChg>
      <pc:sldChg chg="addSp delSp modSp new mod ord">
        <pc:chgData name="Zhizi Wen" userId="b804997a-63ad-4c7f-9308-31a917908f04" providerId="ADAL" clId="{2AC281D0-AD6B-4A2B-88FC-FF7C44EBD234}" dt="2023-01-16T08:05:56.567" v="2999"/>
        <pc:sldMkLst>
          <pc:docMk/>
          <pc:sldMk cId="3599740964" sldId="316"/>
        </pc:sldMkLst>
        <pc:spChg chg="del">
          <ac:chgData name="Zhizi Wen" userId="b804997a-63ad-4c7f-9308-31a917908f04" providerId="ADAL" clId="{2AC281D0-AD6B-4A2B-88FC-FF7C44EBD234}" dt="2023-01-14T21:17:17.553" v="625"/>
          <ac:spMkLst>
            <pc:docMk/>
            <pc:sldMk cId="3599740964" sldId="316"/>
            <ac:spMk id="5" creationId="{89FC3685-441D-B340-1230-DD713DC7C1A7}"/>
          </ac:spMkLst>
        </pc:spChg>
        <pc:spChg chg="mod">
          <ac:chgData name="Zhizi Wen" userId="b804997a-63ad-4c7f-9308-31a917908f04" providerId="ADAL" clId="{2AC281D0-AD6B-4A2B-88FC-FF7C44EBD234}" dt="2023-01-14T21:16:20.513" v="623"/>
          <ac:spMkLst>
            <pc:docMk/>
            <pc:sldMk cId="3599740964" sldId="316"/>
            <ac:spMk id="6" creationId="{E2B43BFF-E5B4-A84E-D4CD-EBD8A2FACA0A}"/>
          </ac:spMkLst>
        </pc:spChg>
        <pc:spChg chg="del">
          <ac:chgData name="Zhizi Wen" userId="b804997a-63ad-4c7f-9308-31a917908f04" providerId="ADAL" clId="{2AC281D0-AD6B-4A2B-88FC-FF7C44EBD234}" dt="2023-01-14T21:29:00.837" v="912"/>
          <ac:spMkLst>
            <pc:docMk/>
            <pc:sldMk cId="3599740964" sldId="316"/>
            <ac:spMk id="7" creationId="{CE4055B1-C401-C357-CED8-62A7B199AF54}"/>
          </ac:spMkLst>
        </pc:spChg>
        <pc:spChg chg="mod">
          <ac:chgData name="Zhizi Wen" userId="b804997a-63ad-4c7f-9308-31a917908f04" providerId="ADAL" clId="{2AC281D0-AD6B-4A2B-88FC-FF7C44EBD234}" dt="2023-01-14T21:17:39.600" v="631"/>
          <ac:spMkLst>
            <pc:docMk/>
            <pc:sldMk cId="3599740964" sldId="316"/>
            <ac:spMk id="8" creationId="{54569BF7-B2A4-2765-7347-5EA3544CE9F6}"/>
          </ac:spMkLst>
        </pc:spChg>
        <pc:spChg chg="add mod">
          <ac:chgData name="Zhizi Wen" userId="b804997a-63ad-4c7f-9308-31a917908f04" providerId="ADAL" clId="{2AC281D0-AD6B-4A2B-88FC-FF7C44EBD234}" dt="2023-01-14T22:13:25.019" v="1264" actId="207"/>
          <ac:spMkLst>
            <pc:docMk/>
            <pc:sldMk cId="3599740964" sldId="316"/>
            <ac:spMk id="11" creationId="{2BD7B133-824B-5BFE-6806-3DC48A874EAC}"/>
          </ac:spMkLst>
        </pc:spChg>
        <pc:spChg chg="add mod">
          <ac:chgData name="Zhizi Wen" userId="b804997a-63ad-4c7f-9308-31a917908f04" providerId="ADAL" clId="{2AC281D0-AD6B-4A2B-88FC-FF7C44EBD234}" dt="2023-01-14T22:13:31.131" v="1268" actId="207"/>
          <ac:spMkLst>
            <pc:docMk/>
            <pc:sldMk cId="3599740964" sldId="316"/>
            <ac:spMk id="12" creationId="{B660C368-53D8-C73D-2AF5-78AB29CA8283}"/>
          </ac:spMkLst>
        </pc:spChg>
        <pc:spChg chg="add del mod">
          <ac:chgData name="Zhizi Wen" userId="b804997a-63ad-4c7f-9308-31a917908f04" providerId="ADAL" clId="{2AC281D0-AD6B-4A2B-88FC-FF7C44EBD234}" dt="2023-01-14T21:29:48.748" v="920"/>
          <ac:spMkLst>
            <pc:docMk/>
            <pc:sldMk cId="3599740964" sldId="316"/>
            <ac:spMk id="16" creationId="{1F98FB46-298C-BC74-8175-20953A29114B}"/>
          </ac:spMkLst>
        </pc:spChg>
        <pc:spChg chg="add del mod">
          <ac:chgData name="Zhizi Wen" userId="b804997a-63ad-4c7f-9308-31a917908f04" providerId="ADAL" clId="{2AC281D0-AD6B-4A2B-88FC-FF7C44EBD234}" dt="2023-01-14T21:29:55.157" v="926"/>
          <ac:spMkLst>
            <pc:docMk/>
            <pc:sldMk cId="3599740964" sldId="316"/>
            <ac:spMk id="20" creationId="{CF952322-AACE-2A93-F678-7CB36E1AAE4C}"/>
          </ac:spMkLst>
        </pc:spChg>
        <pc:spChg chg="add del mod">
          <ac:chgData name="Zhizi Wen" userId="b804997a-63ad-4c7f-9308-31a917908f04" providerId="ADAL" clId="{2AC281D0-AD6B-4A2B-88FC-FF7C44EBD234}" dt="2023-01-14T21:33:12.223" v="958"/>
          <ac:spMkLst>
            <pc:docMk/>
            <pc:sldMk cId="3599740964" sldId="316"/>
            <ac:spMk id="25" creationId="{CDF95254-3712-3476-D5E1-4E1D460C2457}"/>
          </ac:spMkLst>
        </pc:spChg>
        <pc:spChg chg="add mod">
          <ac:chgData name="Zhizi Wen" userId="b804997a-63ad-4c7f-9308-31a917908f04" providerId="ADAL" clId="{2AC281D0-AD6B-4A2B-88FC-FF7C44EBD234}" dt="2023-01-15T19:03:04.225" v="2947" actId="1076"/>
          <ac:spMkLst>
            <pc:docMk/>
            <pc:sldMk cId="3599740964" sldId="316"/>
            <ac:spMk id="27" creationId="{671C8D88-5216-599D-12CE-60A41D2613EA}"/>
          </ac:spMkLst>
        </pc:spChg>
        <pc:spChg chg="add mod">
          <ac:chgData name="Zhizi Wen" userId="b804997a-63ad-4c7f-9308-31a917908f04" providerId="ADAL" clId="{2AC281D0-AD6B-4A2B-88FC-FF7C44EBD234}" dt="2023-01-14T22:13:34.920" v="1270" actId="113"/>
          <ac:spMkLst>
            <pc:docMk/>
            <pc:sldMk cId="3599740964" sldId="316"/>
            <ac:spMk id="29" creationId="{9720110C-64E7-BDB3-3412-A5B1FB614E6D}"/>
          </ac:spMkLst>
        </pc:spChg>
        <pc:spChg chg="add del mod">
          <ac:chgData name="Zhizi Wen" userId="b804997a-63ad-4c7f-9308-31a917908f04" providerId="ADAL" clId="{2AC281D0-AD6B-4A2B-88FC-FF7C44EBD234}" dt="2023-01-14T21:35:05.652" v="976"/>
          <ac:spMkLst>
            <pc:docMk/>
            <pc:sldMk cId="3599740964" sldId="316"/>
            <ac:spMk id="33" creationId="{C3809638-76F6-46CE-0D7E-D18A6386A629}"/>
          </ac:spMkLst>
        </pc:spChg>
        <pc:spChg chg="add mod">
          <ac:chgData name="Zhizi Wen" userId="b804997a-63ad-4c7f-9308-31a917908f04" providerId="ADAL" clId="{2AC281D0-AD6B-4A2B-88FC-FF7C44EBD234}" dt="2023-01-14T21:35:07.332" v="979" actId="478"/>
          <ac:spMkLst>
            <pc:docMk/>
            <pc:sldMk cId="3599740964" sldId="316"/>
            <ac:spMk id="39" creationId="{BDBEA263-328B-6858-932F-487F3F54F1F3}"/>
          </ac:spMkLst>
        </pc:spChg>
        <pc:picChg chg="add mod">
          <ac:chgData name="Zhizi Wen" userId="b804997a-63ad-4c7f-9308-31a917908f04" providerId="ADAL" clId="{2AC281D0-AD6B-4A2B-88FC-FF7C44EBD234}" dt="2023-01-14T21:36:13.847" v="1005" actId="1076"/>
          <ac:picMkLst>
            <pc:docMk/>
            <pc:sldMk cId="3599740964" sldId="316"/>
            <ac:picMk id="10" creationId="{EE5A334A-776A-17F9-841F-1CABD7EE0F6F}"/>
          </ac:picMkLst>
        </pc:picChg>
        <pc:picChg chg="add del mod">
          <ac:chgData name="Zhizi Wen" userId="b804997a-63ad-4c7f-9308-31a917908f04" providerId="ADAL" clId="{2AC281D0-AD6B-4A2B-88FC-FF7C44EBD234}" dt="2023-01-14T21:29:07.006" v="918" actId="478"/>
          <ac:picMkLst>
            <pc:docMk/>
            <pc:sldMk cId="3599740964" sldId="316"/>
            <ac:picMk id="14" creationId="{9056BD8A-9DF4-D0B5-0DDB-42FC14B6C773}"/>
          </ac:picMkLst>
        </pc:picChg>
        <pc:picChg chg="add del mod">
          <ac:chgData name="Zhizi Wen" userId="b804997a-63ad-4c7f-9308-31a917908f04" providerId="ADAL" clId="{2AC281D0-AD6B-4A2B-88FC-FF7C44EBD234}" dt="2023-01-14T21:29:54.054" v="925" actId="478"/>
          <ac:picMkLst>
            <pc:docMk/>
            <pc:sldMk cId="3599740964" sldId="316"/>
            <ac:picMk id="18" creationId="{CDF7C885-DAF7-F82D-0E64-A92F644745D6}"/>
          </ac:picMkLst>
        </pc:picChg>
        <pc:picChg chg="add del mod">
          <ac:chgData name="Zhizi Wen" userId="b804997a-63ad-4c7f-9308-31a917908f04" providerId="ADAL" clId="{2AC281D0-AD6B-4A2B-88FC-FF7C44EBD234}" dt="2023-01-14T21:29:59.914" v="930" actId="478"/>
          <ac:picMkLst>
            <pc:docMk/>
            <pc:sldMk cId="3599740964" sldId="316"/>
            <ac:picMk id="22" creationId="{0132BCA3-06D7-7667-CC69-965464250188}"/>
          </ac:picMkLst>
        </pc:picChg>
        <pc:picChg chg="add mod">
          <ac:chgData name="Zhizi Wen" userId="b804997a-63ad-4c7f-9308-31a917908f04" providerId="ADAL" clId="{2AC281D0-AD6B-4A2B-88FC-FF7C44EBD234}" dt="2023-01-15T18:39:09.712" v="2850" actId="1076"/>
          <ac:picMkLst>
            <pc:docMk/>
            <pc:sldMk cId="3599740964" sldId="316"/>
            <ac:picMk id="23" creationId="{C00DAA9E-A1B9-230F-21DD-E03E13DABEDD}"/>
          </ac:picMkLst>
        </pc:picChg>
        <pc:picChg chg="add del mod">
          <ac:chgData name="Zhizi Wen" userId="b804997a-63ad-4c7f-9308-31a917908f04" providerId="ADAL" clId="{2AC281D0-AD6B-4A2B-88FC-FF7C44EBD234}" dt="2023-01-14T21:33:14.072" v="961" actId="478"/>
          <ac:picMkLst>
            <pc:docMk/>
            <pc:sldMk cId="3599740964" sldId="316"/>
            <ac:picMk id="31" creationId="{5E981DC5-54B4-0178-D1D6-1E52EF0E95BE}"/>
          </ac:picMkLst>
        </pc:picChg>
        <pc:picChg chg="add del mod">
          <ac:chgData name="Zhizi Wen" userId="b804997a-63ad-4c7f-9308-31a917908f04" providerId="ADAL" clId="{2AC281D0-AD6B-4A2B-88FC-FF7C44EBD234}" dt="2023-01-14T21:33:22.768" v="965" actId="478"/>
          <ac:picMkLst>
            <pc:docMk/>
            <pc:sldMk cId="3599740964" sldId="316"/>
            <ac:picMk id="34" creationId="{7A3F02CB-8C37-7D03-D8C6-4ABA9D2430EC}"/>
          </ac:picMkLst>
        </pc:picChg>
        <pc:picChg chg="add mod">
          <ac:chgData name="Zhizi Wen" userId="b804997a-63ad-4c7f-9308-31a917908f04" providerId="ADAL" clId="{2AC281D0-AD6B-4A2B-88FC-FF7C44EBD234}" dt="2023-01-15T18:39:11.884" v="2851" actId="1076"/>
          <ac:picMkLst>
            <pc:docMk/>
            <pc:sldMk cId="3599740964" sldId="316"/>
            <ac:picMk id="35" creationId="{400AC0FC-FCE8-F081-29E2-ECF493053189}"/>
          </ac:picMkLst>
        </pc:picChg>
        <pc:picChg chg="add del mod">
          <ac:chgData name="Zhizi Wen" userId="b804997a-63ad-4c7f-9308-31a917908f04" providerId="ADAL" clId="{2AC281D0-AD6B-4A2B-88FC-FF7C44EBD234}" dt="2023-01-14T21:35:07.332" v="979" actId="478"/>
          <ac:picMkLst>
            <pc:docMk/>
            <pc:sldMk cId="3599740964" sldId="316"/>
            <ac:picMk id="37" creationId="{E2ED65BD-AD97-E54F-E0B6-DAA63ADFE9D0}"/>
          </ac:picMkLst>
        </pc:picChg>
        <pc:picChg chg="add mod modCrop">
          <ac:chgData name="Zhizi Wen" userId="b804997a-63ad-4c7f-9308-31a917908f04" providerId="ADAL" clId="{2AC281D0-AD6B-4A2B-88FC-FF7C44EBD234}" dt="2023-01-14T21:36:11.412" v="1004" actId="1076"/>
          <ac:picMkLst>
            <pc:docMk/>
            <pc:sldMk cId="3599740964" sldId="316"/>
            <ac:picMk id="40" creationId="{4D9CB000-72E8-1DA2-DF12-3ED1A3D9BE05}"/>
          </ac:picMkLst>
        </pc:picChg>
      </pc:sldChg>
      <pc:sldChg chg="addSp delSp modSp new mod ord">
        <pc:chgData name="Zhizi Wen" userId="b804997a-63ad-4c7f-9308-31a917908f04" providerId="ADAL" clId="{2AC281D0-AD6B-4A2B-88FC-FF7C44EBD234}" dt="2023-01-16T19:58:47.560" v="3339" actId="20577"/>
        <pc:sldMkLst>
          <pc:docMk/>
          <pc:sldMk cId="3442776100" sldId="317"/>
        </pc:sldMkLst>
        <pc:spChg chg="add mod">
          <ac:chgData name="Zhizi Wen" userId="b804997a-63ad-4c7f-9308-31a917908f04" providerId="ADAL" clId="{2AC281D0-AD6B-4A2B-88FC-FF7C44EBD234}" dt="2023-01-15T18:56:32.969" v="2889" actId="1076"/>
          <ac:spMkLst>
            <pc:docMk/>
            <pc:sldMk cId="3442776100" sldId="317"/>
            <ac:spMk id="5" creationId="{2BE92EFB-5BDB-CA6F-B713-151F1EF286EC}"/>
          </ac:spMkLst>
        </pc:spChg>
        <pc:spChg chg="del mod">
          <ac:chgData name="Zhizi Wen" userId="b804997a-63ad-4c7f-9308-31a917908f04" providerId="ADAL" clId="{2AC281D0-AD6B-4A2B-88FC-FF7C44EBD234}" dt="2023-01-14T22:34:56.083" v="1867"/>
          <ac:spMkLst>
            <pc:docMk/>
            <pc:sldMk cId="3442776100" sldId="317"/>
            <ac:spMk id="5" creationId="{B5A0C611-B6F4-CE0D-9CD8-230399EECF3F}"/>
          </ac:spMkLst>
        </pc:spChg>
        <pc:spChg chg="mod">
          <ac:chgData name="Zhizi Wen" userId="b804997a-63ad-4c7f-9308-31a917908f04" providerId="ADAL" clId="{2AC281D0-AD6B-4A2B-88FC-FF7C44EBD234}" dt="2023-01-14T22:31:59.588" v="1841" actId="20577"/>
          <ac:spMkLst>
            <pc:docMk/>
            <pc:sldMk cId="3442776100" sldId="317"/>
            <ac:spMk id="6" creationId="{0FE1CBFF-ADA4-A96B-2D2D-DD8328F3021A}"/>
          </ac:spMkLst>
        </pc:spChg>
        <pc:spChg chg="add mod ord">
          <ac:chgData name="Zhizi Wen" userId="b804997a-63ad-4c7f-9308-31a917908f04" providerId="ADAL" clId="{2AC281D0-AD6B-4A2B-88FC-FF7C44EBD234}" dt="2023-01-15T18:56:32.969" v="2889" actId="1076"/>
          <ac:spMkLst>
            <pc:docMk/>
            <pc:sldMk cId="3442776100" sldId="317"/>
            <ac:spMk id="7" creationId="{03DC0936-F3A8-EFD9-0202-06160C546BBA}"/>
          </ac:spMkLst>
        </pc:spChg>
        <pc:spChg chg="del">
          <ac:chgData name="Zhizi Wen" userId="b804997a-63ad-4c7f-9308-31a917908f04" providerId="ADAL" clId="{2AC281D0-AD6B-4A2B-88FC-FF7C44EBD234}" dt="2023-01-14T22:42:10.447" v="1879"/>
          <ac:spMkLst>
            <pc:docMk/>
            <pc:sldMk cId="3442776100" sldId="317"/>
            <ac:spMk id="7" creationId="{5D1FB8FA-6A2E-02B1-830D-DCA0213AD967}"/>
          </ac:spMkLst>
        </pc:spChg>
        <pc:spChg chg="add mod">
          <ac:chgData name="Zhizi Wen" userId="b804997a-63ad-4c7f-9308-31a917908f04" providerId="ADAL" clId="{2AC281D0-AD6B-4A2B-88FC-FF7C44EBD234}" dt="2023-01-16T19:58:47.560" v="3339" actId="20577"/>
          <ac:spMkLst>
            <pc:docMk/>
            <pc:sldMk cId="3442776100" sldId="317"/>
            <ac:spMk id="10" creationId="{0C88860A-7A54-C559-50EE-11E1365243E5}"/>
          </ac:spMkLst>
        </pc:spChg>
        <pc:spChg chg="add mod">
          <ac:chgData name="Zhizi Wen" userId="b804997a-63ad-4c7f-9308-31a917908f04" providerId="ADAL" clId="{2AC281D0-AD6B-4A2B-88FC-FF7C44EBD234}" dt="2023-01-15T18:56:44.042" v="2891" actId="1076"/>
          <ac:spMkLst>
            <pc:docMk/>
            <pc:sldMk cId="3442776100" sldId="317"/>
            <ac:spMk id="13" creationId="{C913276A-37D5-4A64-8D0C-270805F803F5}"/>
          </ac:spMkLst>
        </pc:spChg>
        <pc:spChg chg="add del mod">
          <ac:chgData name="Zhizi Wen" userId="b804997a-63ad-4c7f-9308-31a917908f04" providerId="ADAL" clId="{2AC281D0-AD6B-4A2B-88FC-FF7C44EBD234}" dt="2023-01-15T18:57:05.489" v="2896"/>
          <ac:spMkLst>
            <pc:docMk/>
            <pc:sldMk cId="3442776100" sldId="317"/>
            <ac:spMk id="15" creationId="{C31D7084-CD5F-19D5-0397-17CD026CE594}"/>
          </ac:spMkLst>
        </pc:spChg>
        <pc:spChg chg="add del mod">
          <ac:chgData name="Zhizi Wen" userId="b804997a-63ad-4c7f-9308-31a917908f04" providerId="ADAL" clId="{2AC281D0-AD6B-4A2B-88FC-FF7C44EBD234}" dt="2023-01-15T18:55:57.639" v="2878"/>
          <ac:spMkLst>
            <pc:docMk/>
            <pc:sldMk cId="3442776100" sldId="317"/>
            <ac:spMk id="17" creationId="{07E94439-ABA3-F8A3-197C-7EA5C10F1DD0}"/>
          </ac:spMkLst>
        </pc:spChg>
        <pc:spChg chg="add mod">
          <ac:chgData name="Zhizi Wen" userId="b804997a-63ad-4c7f-9308-31a917908f04" providerId="ADAL" clId="{2AC281D0-AD6B-4A2B-88FC-FF7C44EBD234}" dt="2023-01-15T18:56:55.798" v="2894" actId="1076"/>
          <ac:spMkLst>
            <pc:docMk/>
            <pc:sldMk cId="3442776100" sldId="317"/>
            <ac:spMk id="19" creationId="{17F213CC-72E5-E979-543C-41B590E53F74}"/>
          </ac:spMkLst>
        </pc:spChg>
        <pc:spChg chg="add mod">
          <ac:chgData name="Zhizi Wen" userId="b804997a-63ad-4c7f-9308-31a917908f04" providerId="ADAL" clId="{2AC281D0-AD6B-4A2B-88FC-FF7C44EBD234}" dt="2023-01-15T18:59:44.337" v="2937" actId="1038"/>
          <ac:spMkLst>
            <pc:docMk/>
            <pc:sldMk cId="3442776100" sldId="317"/>
            <ac:spMk id="20" creationId="{D34E9B7E-19F2-2878-EDF0-898826666D23}"/>
          </ac:spMkLst>
        </pc:spChg>
        <pc:spChg chg="add mod">
          <ac:chgData name="Zhizi Wen" userId="b804997a-63ad-4c7f-9308-31a917908f04" providerId="ADAL" clId="{2AC281D0-AD6B-4A2B-88FC-FF7C44EBD234}" dt="2023-01-15T18:56:55.798" v="2894" actId="1076"/>
          <ac:spMkLst>
            <pc:docMk/>
            <pc:sldMk cId="3442776100" sldId="317"/>
            <ac:spMk id="21" creationId="{8CB51FDE-4F29-598E-5E10-D35ED866E7AC}"/>
          </ac:spMkLst>
        </pc:spChg>
        <pc:spChg chg="add mod">
          <ac:chgData name="Zhizi Wen" userId="b804997a-63ad-4c7f-9308-31a917908f04" providerId="ADAL" clId="{2AC281D0-AD6B-4A2B-88FC-FF7C44EBD234}" dt="2023-01-15T22:44:11.555" v="2997" actId="20577"/>
          <ac:spMkLst>
            <pc:docMk/>
            <pc:sldMk cId="3442776100" sldId="317"/>
            <ac:spMk id="22" creationId="{62AFF400-4FC5-DC09-2C9D-213AF0E91E94}"/>
          </ac:spMkLst>
        </pc:spChg>
        <pc:spChg chg="add mod">
          <ac:chgData name="Zhizi Wen" userId="b804997a-63ad-4c7f-9308-31a917908f04" providerId="ADAL" clId="{2AC281D0-AD6B-4A2B-88FC-FF7C44EBD234}" dt="2023-01-15T19:00:25.626" v="2944" actId="1076"/>
          <ac:spMkLst>
            <pc:docMk/>
            <pc:sldMk cId="3442776100" sldId="317"/>
            <ac:spMk id="23" creationId="{8386DFF6-EBE9-3CB1-B6D6-BAF4C1041419}"/>
          </ac:spMkLst>
        </pc:spChg>
        <pc:spChg chg="add mod">
          <ac:chgData name="Zhizi Wen" userId="b804997a-63ad-4c7f-9308-31a917908f04" providerId="ADAL" clId="{2AC281D0-AD6B-4A2B-88FC-FF7C44EBD234}" dt="2023-01-15T18:59:56.525" v="2939" actId="1076"/>
          <ac:spMkLst>
            <pc:docMk/>
            <pc:sldMk cId="3442776100" sldId="317"/>
            <ac:spMk id="24" creationId="{A6F88F7F-BF10-1C62-4F54-F25D147A5DB1}"/>
          </ac:spMkLst>
        </pc:spChg>
        <pc:spChg chg="add mod">
          <ac:chgData name="Zhizi Wen" userId="b804997a-63ad-4c7f-9308-31a917908f04" providerId="ADAL" clId="{2AC281D0-AD6B-4A2B-88FC-FF7C44EBD234}" dt="2023-01-15T18:57:07.244" v="2897" actId="478"/>
          <ac:spMkLst>
            <pc:docMk/>
            <pc:sldMk cId="3442776100" sldId="317"/>
            <ac:spMk id="28" creationId="{CC374BCA-FB69-304F-59F6-8166D4CF22D0}"/>
          </ac:spMkLst>
        </pc:spChg>
        <pc:spChg chg="add mod">
          <ac:chgData name="Zhizi Wen" userId="b804997a-63ad-4c7f-9308-31a917908f04" providerId="ADAL" clId="{2AC281D0-AD6B-4A2B-88FC-FF7C44EBD234}" dt="2023-01-15T18:58:26.834" v="2919" actId="1076"/>
          <ac:spMkLst>
            <pc:docMk/>
            <pc:sldMk cId="3442776100" sldId="317"/>
            <ac:spMk id="31" creationId="{752313E4-5DA7-F9C3-41E2-CFCB479B6228}"/>
          </ac:spMkLst>
        </pc:spChg>
        <pc:spChg chg="add mod">
          <ac:chgData name="Zhizi Wen" userId="b804997a-63ad-4c7f-9308-31a917908f04" providerId="ADAL" clId="{2AC281D0-AD6B-4A2B-88FC-FF7C44EBD234}" dt="2023-01-15T19:00:03.689" v="2941" actId="1076"/>
          <ac:spMkLst>
            <pc:docMk/>
            <pc:sldMk cId="3442776100" sldId="317"/>
            <ac:spMk id="32" creationId="{0FB407AA-347A-83AA-3AF5-0577E6E27228}"/>
          </ac:spMkLst>
        </pc:spChg>
        <pc:picChg chg="add del mod">
          <ac:chgData name="Zhizi Wen" userId="b804997a-63ad-4c7f-9308-31a917908f04" providerId="ADAL" clId="{2AC281D0-AD6B-4A2B-88FC-FF7C44EBD234}" dt="2023-01-15T18:55:59.504" v="2881" actId="478"/>
          <ac:picMkLst>
            <pc:docMk/>
            <pc:sldMk cId="3442776100" sldId="317"/>
            <ac:picMk id="11" creationId="{5B96D561-B301-3593-A220-E30BB0107F22}"/>
          </ac:picMkLst>
        </pc:picChg>
        <pc:picChg chg="add mod">
          <ac:chgData name="Zhizi Wen" userId="b804997a-63ad-4c7f-9308-31a917908f04" providerId="ADAL" clId="{2AC281D0-AD6B-4A2B-88FC-FF7C44EBD234}" dt="2023-01-15T18:56:55.798" v="2894" actId="1076"/>
          <ac:picMkLst>
            <pc:docMk/>
            <pc:sldMk cId="3442776100" sldId="317"/>
            <ac:picMk id="12" creationId="{02172A12-7F16-7923-425C-FE7757E75163}"/>
          </ac:picMkLst>
        </pc:picChg>
        <pc:picChg chg="add del mod">
          <ac:chgData name="Zhizi Wen" userId="b804997a-63ad-4c7f-9308-31a917908f04" providerId="ADAL" clId="{2AC281D0-AD6B-4A2B-88FC-FF7C44EBD234}" dt="2023-01-14T22:42:12.337" v="1882" actId="478"/>
          <ac:picMkLst>
            <pc:docMk/>
            <pc:sldMk cId="3442776100" sldId="317"/>
            <ac:picMk id="15" creationId="{500F9E71-4BE5-FB3E-B23A-E54F227ECA2D}"/>
          </ac:picMkLst>
        </pc:picChg>
        <pc:picChg chg="add mod">
          <ac:chgData name="Zhizi Wen" userId="b804997a-63ad-4c7f-9308-31a917908f04" providerId="ADAL" clId="{2AC281D0-AD6B-4A2B-88FC-FF7C44EBD234}" dt="2023-01-15T18:59:51.435" v="2938" actId="1076"/>
          <ac:picMkLst>
            <pc:docMk/>
            <pc:sldMk cId="3442776100" sldId="317"/>
            <ac:picMk id="16" creationId="{5F56E6EC-7870-3E44-CF86-69D32DC71B45}"/>
          </ac:picMkLst>
        </pc:picChg>
        <pc:picChg chg="add mod">
          <ac:chgData name="Zhizi Wen" userId="b804997a-63ad-4c7f-9308-31a917908f04" providerId="ADAL" clId="{2AC281D0-AD6B-4A2B-88FC-FF7C44EBD234}" dt="2023-01-15T18:59:35.342" v="2929" actId="1076"/>
          <ac:picMkLst>
            <pc:docMk/>
            <pc:sldMk cId="3442776100" sldId="317"/>
            <ac:picMk id="18" creationId="{8B054D0F-D12C-0618-4AF2-1F03AE4C3993}"/>
          </ac:picMkLst>
        </pc:picChg>
        <pc:picChg chg="add del mod">
          <ac:chgData name="Zhizi Wen" userId="b804997a-63ad-4c7f-9308-31a917908f04" providerId="ADAL" clId="{2AC281D0-AD6B-4A2B-88FC-FF7C44EBD234}" dt="2023-01-15T18:57:07.244" v="2897" actId="478"/>
          <ac:picMkLst>
            <pc:docMk/>
            <pc:sldMk cId="3442776100" sldId="317"/>
            <ac:picMk id="26" creationId="{A77EA11B-02B4-CAC8-9500-E09231EA41D6}"/>
          </ac:picMkLst>
        </pc:picChg>
        <pc:picChg chg="add mod">
          <ac:chgData name="Zhizi Wen" userId="b804997a-63ad-4c7f-9308-31a917908f04" providerId="ADAL" clId="{2AC281D0-AD6B-4A2B-88FC-FF7C44EBD234}" dt="2023-01-15T19:00:00.369" v="2940" actId="1076"/>
          <ac:picMkLst>
            <pc:docMk/>
            <pc:sldMk cId="3442776100" sldId="317"/>
            <ac:picMk id="29" creationId="{5976CB5D-2A09-F527-54D1-9A1084C71D93}"/>
          </ac:picMkLst>
        </pc:picChg>
      </pc:sldChg>
      <pc:sldChg chg="addSp delSp modSp add mod ord">
        <pc:chgData name="Zhizi Wen" userId="b804997a-63ad-4c7f-9308-31a917908f04" providerId="ADAL" clId="{2AC281D0-AD6B-4A2B-88FC-FF7C44EBD234}" dt="2023-01-15T18:34:07.059" v="2846"/>
        <pc:sldMkLst>
          <pc:docMk/>
          <pc:sldMk cId="410112999" sldId="318"/>
        </pc:sldMkLst>
        <pc:spChg chg="mod">
          <ac:chgData name="Zhizi Wen" userId="b804997a-63ad-4c7f-9308-31a917908f04" providerId="ADAL" clId="{2AC281D0-AD6B-4A2B-88FC-FF7C44EBD234}" dt="2023-01-14T22:31:41.832" v="1829" actId="20577"/>
          <ac:spMkLst>
            <pc:docMk/>
            <pc:sldMk cId="410112999" sldId="318"/>
            <ac:spMk id="5" creationId="{8EA7A4D4-9AD7-8D9C-9812-AA8B76F9AC69}"/>
          </ac:spMkLst>
        </pc:spChg>
        <pc:spChg chg="add del mod">
          <ac:chgData name="Zhizi Wen" userId="b804997a-63ad-4c7f-9308-31a917908f04" providerId="ADAL" clId="{2AC281D0-AD6B-4A2B-88FC-FF7C44EBD234}" dt="2023-01-14T22:28:39.711" v="1649"/>
          <ac:spMkLst>
            <pc:docMk/>
            <pc:sldMk cId="410112999" sldId="318"/>
            <ac:spMk id="11" creationId="{16692409-9AF5-1F47-68DE-41FF8DFA7290}"/>
          </ac:spMkLst>
        </pc:spChg>
        <pc:spChg chg="mod">
          <ac:chgData name="Zhizi Wen" userId="b804997a-63ad-4c7f-9308-31a917908f04" providerId="ADAL" clId="{2AC281D0-AD6B-4A2B-88FC-FF7C44EBD234}" dt="2023-01-14T22:26:27.266" v="1639" actId="1076"/>
          <ac:spMkLst>
            <pc:docMk/>
            <pc:sldMk cId="410112999" sldId="318"/>
            <ac:spMk id="17" creationId="{F3E97662-EFE8-BE2A-09E1-FDEB58C3200E}"/>
          </ac:spMkLst>
        </pc:spChg>
        <pc:spChg chg="add mod">
          <ac:chgData name="Zhizi Wen" userId="b804997a-63ad-4c7f-9308-31a917908f04" providerId="ADAL" clId="{2AC281D0-AD6B-4A2B-88FC-FF7C44EBD234}" dt="2023-01-14T22:28:42.213" v="1652" actId="478"/>
          <ac:spMkLst>
            <pc:docMk/>
            <pc:sldMk cId="410112999" sldId="318"/>
            <ac:spMk id="19" creationId="{B9372E94-ED0F-18DE-2BC9-562B6C8676B7}"/>
          </ac:spMkLst>
        </pc:spChg>
        <pc:spChg chg="mod">
          <ac:chgData name="Zhizi Wen" userId="b804997a-63ad-4c7f-9308-31a917908f04" providerId="ADAL" clId="{2AC281D0-AD6B-4A2B-88FC-FF7C44EBD234}" dt="2023-01-14T22:26:27.266" v="1639" actId="1076"/>
          <ac:spMkLst>
            <pc:docMk/>
            <pc:sldMk cId="410112999" sldId="318"/>
            <ac:spMk id="20" creationId="{B6E23F95-CCF8-33FF-31AC-25C42257FCD9}"/>
          </ac:spMkLst>
        </pc:spChg>
        <pc:spChg chg="add mod">
          <ac:chgData name="Zhizi Wen" userId="b804997a-63ad-4c7f-9308-31a917908f04" providerId="ADAL" clId="{2AC281D0-AD6B-4A2B-88FC-FF7C44EBD234}" dt="2023-01-14T22:34:07.224" v="1866" actId="14100"/>
          <ac:spMkLst>
            <pc:docMk/>
            <pc:sldMk cId="410112999" sldId="318"/>
            <ac:spMk id="22" creationId="{3C32AB94-A151-F917-F19C-E5050D5FE8F0}"/>
          </ac:spMkLst>
        </pc:spChg>
        <pc:spChg chg="mod">
          <ac:chgData name="Zhizi Wen" userId="b804997a-63ad-4c7f-9308-31a917908f04" providerId="ADAL" clId="{2AC281D0-AD6B-4A2B-88FC-FF7C44EBD234}" dt="2023-01-14T22:26:27.266" v="1639" actId="1076"/>
          <ac:spMkLst>
            <pc:docMk/>
            <pc:sldMk cId="410112999" sldId="318"/>
            <ac:spMk id="26" creationId="{839493FC-5D7D-9641-3008-DCC7B8B03E49}"/>
          </ac:spMkLst>
        </pc:spChg>
        <pc:spChg chg="mod">
          <ac:chgData name="Zhizi Wen" userId="b804997a-63ad-4c7f-9308-31a917908f04" providerId="ADAL" clId="{2AC281D0-AD6B-4A2B-88FC-FF7C44EBD234}" dt="2023-01-14T22:29:03.448" v="1658" actId="1076"/>
          <ac:spMkLst>
            <pc:docMk/>
            <pc:sldMk cId="410112999" sldId="318"/>
            <ac:spMk id="32" creationId="{EA7EB676-1142-A9C4-8A21-A0D0EF8AA287}"/>
          </ac:spMkLst>
        </pc:spChg>
        <pc:spChg chg="mod">
          <ac:chgData name="Zhizi Wen" userId="b804997a-63ad-4c7f-9308-31a917908f04" providerId="ADAL" clId="{2AC281D0-AD6B-4A2B-88FC-FF7C44EBD234}" dt="2023-01-14T22:26:27.266" v="1639" actId="1076"/>
          <ac:spMkLst>
            <pc:docMk/>
            <pc:sldMk cId="410112999" sldId="318"/>
            <ac:spMk id="36" creationId="{23C65F91-C8A0-965B-812E-545CF94E1F21}"/>
          </ac:spMkLst>
        </pc:spChg>
        <pc:spChg chg="mod">
          <ac:chgData name="Zhizi Wen" userId="b804997a-63ad-4c7f-9308-31a917908f04" providerId="ADAL" clId="{2AC281D0-AD6B-4A2B-88FC-FF7C44EBD234}" dt="2023-01-14T22:26:27.266" v="1639" actId="1076"/>
          <ac:spMkLst>
            <pc:docMk/>
            <pc:sldMk cId="410112999" sldId="318"/>
            <ac:spMk id="41" creationId="{C5430DDF-2136-2DF9-053F-05177210B5AD}"/>
          </ac:spMkLst>
        </pc:spChg>
        <pc:spChg chg="del">
          <ac:chgData name="Zhizi Wen" userId="b804997a-63ad-4c7f-9308-31a917908f04" providerId="ADAL" clId="{2AC281D0-AD6B-4A2B-88FC-FF7C44EBD234}" dt="2023-01-14T22:28:23.068" v="1641"/>
          <ac:spMkLst>
            <pc:docMk/>
            <pc:sldMk cId="410112999" sldId="318"/>
            <ac:spMk id="43" creationId="{7A3FD859-9650-06B1-1D0F-7B3C396DF0E9}"/>
          </ac:spMkLst>
        </pc:spChg>
        <pc:spChg chg="del mod">
          <ac:chgData name="Zhizi Wen" userId="b804997a-63ad-4c7f-9308-31a917908f04" providerId="ADAL" clId="{2AC281D0-AD6B-4A2B-88FC-FF7C44EBD234}" dt="2023-01-14T22:30:44.740" v="1745" actId="478"/>
          <ac:spMkLst>
            <pc:docMk/>
            <pc:sldMk cId="410112999" sldId="318"/>
            <ac:spMk id="44" creationId="{1CF71BCF-4AB6-F1AF-80EA-FB05461D8EC9}"/>
          </ac:spMkLst>
        </pc:spChg>
        <pc:picChg chg="add del mod">
          <ac:chgData name="Zhizi Wen" userId="b804997a-63ad-4c7f-9308-31a917908f04" providerId="ADAL" clId="{2AC281D0-AD6B-4A2B-88FC-FF7C44EBD234}" dt="2023-01-14T22:28:24.701" v="1644" actId="478"/>
          <ac:picMkLst>
            <pc:docMk/>
            <pc:sldMk cId="410112999" sldId="318"/>
            <ac:picMk id="9" creationId="{27E9D4DB-6FB9-7E36-71D4-D7DEBA59E524}"/>
          </ac:picMkLst>
        </pc:picChg>
        <pc:picChg chg="add mod modCrop">
          <ac:chgData name="Zhizi Wen" userId="b804997a-63ad-4c7f-9308-31a917908f04" providerId="ADAL" clId="{2AC281D0-AD6B-4A2B-88FC-FF7C44EBD234}" dt="2023-01-14T22:28:36.253" v="1648" actId="1076"/>
          <ac:picMkLst>
            <pc:docMk/>
            <pc:sldMk cId="410112999" sldId="318"/>
            <ac:picMk id="12" creationId="{4FCB8450-B333-59B6-90D6-15261D8917B8}"/>
          </ac:picMkLst>
        </pc:picChg>
        <pc:picChg chg="del mod">
          <ac:chgData name="Zhizi Wen" userId="b804997a-63ad-4c7f-9308-31a917908f04" providerId="ADAL" clId="{2AC281D0-AD6B-4A2B-88FC-FF7C44EBD234}" dt="2023-01-14T22:28:22.570" v="1640" actId="478"/>
          <ac:picMkLst>
            <pc:docMk/>
            <pc:sldMk cId="410112999" sldId="318"/>
            <ac:picMk id="13" creationId="{558BB3C5-B22A-BE07-B839-51FBBEA5AF9F}"/>
          </ac:picMkLst>
        </pc:picChg>
        <pc:picChg chg="add del mod">
          <ac:chgData name="Zhizi Wen" userId="b804997a-63ad-4c7f-9308-31a917908f04" providerId="ADAL" clId="{2AC281D0-AD6B-4A2B-88FC-FF7C44EBD234}" dt="2023-01-14T22:28:42.213" v="1652" actId="478"/>
          <ac:picMkLst>
            <pc:docMk/>
            <pc:sldMk cId="410112999" sldId="318"/>
            <ac:picMk id="16" creationId="{3CC6200B-455F-820C-EB38-19580D51155E}"/>
          </ac:picMkLst>
        </pc:picChg>
        <pc:picChg chg="add mod modCrop">
          <ac:chgData name="Zhizi Wen" userId="b804997a-63ad-4c7f-9308-31a917908f04" providerId="ADAL" clId="{2AC281D0-AD6B-4A2B-88FC-FF7C44EBD234}" dt="2023-01-14T22:28:58.371" v="1657" actId="1076"/>
          <ac:picMkLst>
            <pc:docMk/>
            <pc:sldMk cId="410112999" sldId="318"/>
            <ac:picMk id="21" creationId="{E0738EF1-A613-1A4C-DEDA-6EA5E91F6722}"/>
          </ac:picMkLst>
        </pc:picChg>
        <pc:picChg chg="mod">
          <ac:chgData name="Zhizi Wen" userId="b804997a-63ad-4c7f-9308-31a917908f04" providerId="ADAL" clId="{2AC281D0-AD6B-4A2B-88FC-FF7C44EBD234}" dt="2023-01-14T22:26:27.266" v="1639" actId="1076"/>
          <ac:picMkLst>
            <pc:docMk/>
            <pc:sldMk cId="410112999" sldId="318"/>
            <ac:picMk id="25" creationId="{D0EBCAE5-B407-4656-6009-0FB611F44933}"/>
          </ac:picMkLst>
        </pc:picChg>
        <pc:picChg chg="del mod">
          <ac:chgData name="Zhizi Wen" userId="b804997a-63ad-4c7f-9308-31a917908f04" providerId="ADAL" clId="{2AC281D0-AD6B-4A2B-88FC-FF7C44EBD234}" dt="2023-01-14T22:28:53.353" v="1656" actId="478"/>
          <ac:picMkLst>
            <pc:docMk/>
            <pc:sldMk cId="410112999" sldId="318"/>
            <ac:picMk id="31" creationId="{61A17B61-7127-DC8D-A171-05A3127DD2F5}"/>
          </ac:picMkLst>
        </pc:picChg>
        <pc:cxnChg chg="mod">
          <ac:chgData name="Zhizi Wen" userId="b804997a-63ad-4c7f-9308-31a917908f04" providerId="ADAL" clId="{2AC281D0-AD6B-4A2B-88FC-FF7C44EBD234}" dt="2023-01-14T22:26:27.266" v="1639" actId="1076"/>
          <ac:cxnSpMkLst>
            <pc:docMk/>
            <pc:sldMk cId="410112999" sldId="318"/>
            <ac:cxnSpMk id="15" creationId="{CAF21C5D-889C-EE7A-8DC5-2289E8D13C35}"/>
          </ac:cxnSpMkLst>
        </pc:cxnChg>
        <pc:cxnChg chg="mod">
          <ac:chgData name="Zhizi Wen" userId="b804997a-63ad-4c7f-9308-31a917908f04" providerId="ADAL" clId="{2AC281D0-AD6B-4A2B-88FC-FF7C44EBD234}" dt="2023-01-14T22:26:27.266" v="1639" actId="1076"/>
          <ac:cxnSpMkLst>
            <pc:docMk/>
            <pc:sldMk cId="410112999" sldId="318"/>
            <ac:cxnSpMk id="34" creationId="{3DBA3DB6-3EBF-6B1B-AA19-384F1BCC3F79}"/>
          </ac:cxnSpMkLst>
        </pc:cxnChg>
        <pc:cxnChg chg="mod">
          <ac:chgData name="Zhizi Wen" userId="b804997a-63ad-4c7f-9308-31a917908f04" providerId="ADAL" clId="{2AC281D0-AD6B-4A2B-88FC-FF7C44EBD234}" dt="2023-01-14T22:26:27.266" v="1639" actId="1076"/>
          <ac:cxnSpMkLst>
            <pc:docMk/>
            <pc:sldMk cId="410112999" sldId="318"/>
            <ac:cxnSpMk id="40" creationId="{2E2C7514-54CB-833A-CD7C-E1AE6171EF8D}"/>
          </ac:cxnSpMkLst>
        </pc:cxnChg>
      </pc:sldChg>
      <pc:sldChg chg="addSp delSp modSp add mod ord">
        <pc:chgData name="Zhizi Wen" userId="b804997a-63ad-4c7f-9308-31a917908f04" providerId="ADAL" clId="{2AC281D0-AD6B-4A2B-88FC-FF7C44EBD234}" dt="2023-01-16T08:09:26.825" v="3013" actId="1037"/>
        <pc:sldMkLst>
          <pc:docMk/>
          <pc:sldMk cId="40328247" sldId="319"/>
        </pc:sldMkLst>
        <pc:spChg chg="mod">
          <ac:chgData name="Zhizi Wen" userId="b804997a-63ad-4c7f-9308-31a917908f04" providerId="ADAL" clId="{2AC281D0-AD6B-4A2B-88FC-FF7C44EBD234}" dt="2023-01-14T22:51:47.975" v="2441" actId="20577"/>
          <ac:spMkLst>
            <pc:docMk/>
            <pc:sldMk cId="40328247" sldId="319"/>
            <ac:spMk id="6" creationId="{0FE1CBFF-ADA4-A96B-2D2D-DD8328F3021A}"/>
          </ac:spMkLst>
        </pc:spChg>
        <pc:spChg chg="add mod">
          <ac:chgData name="Zhizi Wen" userId="b804997a-63ad-4c7f-9308-31a917908f04" providerId="ADAL" clId="{2AC281D0-AD6B-4A2B-88FC-FF7C44EBD234}" dt="2023-01-16T08:09:01.975" v="3003" actId="1076"/>
          <ac:spMkLst>
            <pc:docMk/>
            <pc:sldMk cId="40328247" sldId="319"/>
            <ac:spMk id="7" creationId="{B86D9525-7015-35A3-D8B3-CA1D67B793DF}"/>
          </ac:spMkLst>
        </pc:spChg>
        <pc:spChg chg="del">
          <ac:chgData name="Zhizi Wen" userId="b804997a-63ad-4c7f-9308-31a917908f04" providerId="ADAL" clId="{2AC281D0-AD6B-4A2B-88FC-FF7C44EBD234}" dt="2023-01-14T22:46:47.350" v="2157" actId="478"/>
          <ac:spMkLst>
            <pc:docMk/>
            <pc:sldMk cId="40328247" sldId="319"/>
            <ac:spMk id="10" creationId="{0C88860A-7A54-C559-50EE-11E1365243E5}"/>
          </ac:spMkLst>
        </pc:spChg>
        <pc:spChg chg="del">
          <ac:chgData name="Zhizi Wen" userId="b804997a-63ad-4c7f-9308-31a917908f04" providerId="ADAL" clId="{2AC281D0-AD6B-4A2B-88FC-FF7C44EBD234}" dt="2023-01-14T22:46:54.307" v="2159" actId="478"/>
          <ac:spMkLst>
            <pc:docMk/>
            <pc:sldMk cId="40328247" sldId="319"/>
            <ac:spMk id="13" creationId="{C913276A-37D5-4A64-8D0C-270805F803F5}"/>
          </ac:spMkLst>
        </pc:spChg>
        <pc:spChg chg="add del mod">
          <ac:chgData name="Zhizi Wen" userId="b804997a-63ad-4c7f-9308-31a917908f04" providerId="ADAL" clId="{2AC281D0-AD6B-4A2B-88FC-FF7C44EBD234}" dt="2023-01-14T22:49:50.756" v="2356"/>
          <ac:spMkLst>
            <pc:docMk/>
            <pc:sldMk cId="40328247" sldId="319"/>
            <ac:spMk id="15" creationId="{974227B9-E9EA-F2D5-ECA1-6AF6FD7F0687}"/>
          </ac:spMkLst>
        </pc:spChg>
        <pc:spChg chg="del">
          <ac:chgData name="Zhizi Wen" userId="b804997a-63ad-4c7f-9308-31a917908f04" providerId="ADAL" clId="{2AC281D0-AD6B-4A2B-88FC-FF7C44EBD234}" dt="2023-01-14T22:49:23.769" v="2347"/>
          <ac:spMkLst>
            <pc:docMk/>
            <pc:sldMk cId="40328247" sldId="319"/>
            <ac:spMk id="17" creationId="{07E94439-ABA3-F8A3-197C-7EA5C10F1DD0}"/>
          </ac:spMkLst>
        </pc:spChg>
        <pc:spChg chg="del">
          <ac:chgData name="Zhizi Wen" userId="b804997a-63ad-4c7f-9308-31a917908f04" providerId="ADAL" clId="{2AC281D0-AD6B-4A2B-88FC-FF7C44EBD234}" dt="2023-01-14T22:46:47.350" v="2157" actId="478"/>
          <ac:spMkLst>
            <pc:docMk/>
            <pc:sldMk cId="40328247" sldId="319"/>
            <ac:spMk id="19" creationId="{17F213CC-72E5-E979-543C-41B590E53F74}"/>
          </ac:spMkLst>
        </pc:spChg>
        <pc:spChg chg="del">
          <ac:chgData name="Zhizi Wen" userId="b804997a-63ad-4c7f-9308-31a917908f04" providerId="ADAL" clId="{2AC281D0-AD6B-4A2B-88FC-FF7C44EBD234}" dt="2023-01-14T22:46:47.350" v="2157" actId="478"/>
          <ac:spMkLst>
            <pc:docMk/>
            <pc:sldMk cId="40328247" sldId="319"/>
            <ac:spMk id="20" creationId="{D34E9B7E-19F2-2878-EDF0-898826666D23}"/>
          </ac:spMkLst>
        </pc:spChg>
        <pc:spChg chg="del">
          <ac:chgData name="Zhizi Wen" userId="b804997a-63ad-4c7f-9308-31a917908f04" providerId="ADAL" clId="{2AC281D0-AD6B-4A2B-88FC-FF7C44EBD234}" dt="2023-01-14T22:46:47.350" v="2157" actId="478"/>
          <ac:spMkLst>
            <pc:docMk/>
            <pc:sldMk cId="40328247" sldId="319"/>
            <ac:spMk id="21" creationId="{8CB51FDE-4F29-598E-5E10-D35ED866E7AC}"/>
          </ac:spMkLst>
        </pc:spChg>
        <pc:spChg chg="del">
          <ac:chgData name="Zhizi Wen" userId="b804997a-63ad-4c7f-9308-31a917908f04" providerId="ADAL" clId="{2AC281D0-AD6B-4A2B-88FC-FF7C44EBD234}" dt="2023-01-14T22:46:47.350" v="2157" actId="478"/>
          <ac:spMkLst>
            <pc:docMk/>
            <pc:sldMk cId="40328247" sldId="319"/>
            <ac:spMk id="22" creationId="{62AFF400-4FC5-DC09-2C9D-213AF0E91E94}"/>
          </ac:spMkLst>
        </pc:spChg>
        <pc:spChg chg="del">
          <ac:chgData name="Zhizi Wen" userId="b804997a-63ad-4c7f-9308-31a917908f04" providerId="ADAL" clId="{2AC281D0-AD6B-4A2B-88FC-FF7C44EBD234}" dt="2023-01-14T22:46:47.350" v="2157" actId="478"/>
          <ac:spMkLst>
            <pc:docMk/>
            <pc:sldMk cId="40328247" sldId="319"/>
            <ac:spMk id="23" creationId="{8386DFF6-EBE9-3CB1-B6D6-BAF4C1041419}"/>
          </ac:spMkLst>
        </pc:spChg>
        <pc:spChg chg="add mod">
          <ac:chgData name="Zhizi Wen" userId="b804997a-63ad-4c7f-9308-31a917908f04" providerId="ADAL" clId="{2AC281D0-AD6B-4A2B-88FC-FF7C44EBD234}" dt="2023-01-14T22:49:52.339" v="2359" actId="478"/>
          <ac:spMkLst>
            <pc:docMk/>
            <pc:sldMk cId="40328247" sldId="319"/>
            <ac:spMk id="27" creationId="{CE3474F9-DE53-B885-184D-0EFE4FF9BAFB}"/>
          </ac:spMkLst>
        </pc:spChg>
        <pc:spChg chg="add mod">
          <ac:chgData name="Zhizi Wen" userId="b804997a-63ad-4c7f-9308-31a917908f04" providerId="ADAL" clId="{2AC281D0-AD6B-4A2B-88FC-FF7C44EBD234}" dt="2023-01-16T08:09:19.549" v="3007" actId="1076"/>
          <ac:spMkLst>
            <pc:docMk/>
            <pc:sldMk cId="40328247" sldId="319"/>
            <ac:spMk id="29" creationId="{B00A21E6-9FE6-FC8A-FDDD-CAA62CFF472C}"/>
          </ac:spMkLst>
        </pc:spChg>
        <pc:spChg chg="add mod">
          <ac:chgData name="Zhizi Wen" userId="b804997a-63ad-4c7f-9308-31a917908f04" providerId="ADAL" clId="{2AC281D0-AD6B-4A2B-88FC-FF7C44EBD234}" dt="2023-01-16T08:09:26.825" v="3013" actId="1037"/>
          <ac:spMkLst>
            <pc:docMk/>
            <pc:sldMk cId="40328247" sldId="319"/>
            <ac:spMk id="30" creationId="{43D1443B-57D7-BCD8-E2F9-A54D11A0A80E}"/>
          </ac:spMkLst>
        </pc:spChg>
        <pc:picChg chg="add del mod">
          <ac:chgData name="Zhizi Wen" userId="b804997a-63ad-4c7f-9308-31a917908f04" providerId="ADAL" clId="{2AC281D0-AD6B-4A2B-88FC-FF7C44EBD234}" dt="2023-01-14T22:49:25.481" v="2350" actId="478"/>
          <ac:picMkLst>
            <pc:docMk/>
            <pc:sldMk cId="40328247" sldId="319"/>
            <ac:picMk id="11" creationId="{2AA064A7-08DC-7B36-3595-0504983F68D6}"/>
          </ac:picMkLst>
        </pc:picChg>
        <pc:picChg chg="del">
          <ac:chgData name="Zhizi Wen" userId="b804997a-63ad-4c7f-9308-31a917908f04" providerId="ADAL" clId="{2AC281D0-AD6B-4A2B-88FC-FF7C44EBD234}" dt="2023-01-14T22:46:47.350" v="2157" actId="478"/>
          <ac:picMkLst>
            <pc:docMk/>
            <pc:sldMk cId="40328247" sldId="319"/>
            <ac:picMk id="12" creationId="{02172A12-7F16-7923-425C-FE7757E75163}"/>
          </ac:picMkLst>
        </pc:picChg>
        <pc:picChg chg="add mod">
          <ac:chgData name="Zhizi Wen" userId="b804997a-63ad-4c7f-9308-31a917908f04" providerId="ADAL" clId="{2AC281D0-AD6B-4A2B-88FC-FF7C44EBD234}" dt="2023-01-16T08:09:20.466" v="3008" actId="1076"/>
          <ac:picMkLst>
            <pc:docMk/>
            <pc:sldMk cId="40328247" sldId="319"/>
            <ac:picMk id="16" creationId="{AF887C30-7B76-B0D3-B584-23707BEAFD3E}"/>
          </ac:picMkLst>
        </pc:picChg>
        <pc:picChg chg="del">
          <ac:chgData name="Zhizi Wen" userId="b804997a-63ad-4c7f-9308-31a917908f04" providerId="ADAL" clId="{2AC281D0-AD6B-4A2B-88FC-FF7C44EBD234}" dt="2023-01-14T22:46:47.350" v="2157" actId="478"/>
          <ac:picMkLst>
            <pc:docMk/>
            <pc:sldMk cId="40328247" sldId="319"/>
            <ac:picMk id="18" creationId="{8B054D0F-D12C-0618-4AF2-1F03AE4C3993}"/>
          </ac:picMkLst>
        </pc:picChg>
        <pc:picChg chg="add del mod">
          <ac:chgData name="Zhizi Wen" userId="b804997a-63ad-4c7f-9308-31a917908f04" providerId="ADAL" clId="{2AC281D0-AD6B-4A2B-88FC-FF7C44EBD234}" dt="2023-01-14T22:49:52.339" v="2359" actId="478"/>
          <ac:picMkLst>
            <pc:docMk/>
            <pc:sldMk cId="40328247" sldId="319"/>
            <ac:picMk id="25" creationId="{8B8111A8-F600-7647-54EE-28959CD5C29E}"/>
          </ac:picMkLst>
        </pc:picChg>
        <pc:picChg chg="add mod">
          <ac:chgData name="Zhizi Wen" userId="b804997a-63ad-4c7f-9308-31a917908f04" providerId="ADAL" clId="{2AC281D0-AD6B-4A2B-88FC-FF7C44EBD234}" dt="2023-01-16T08:09:15.621" v="3006" actId="1076"/>
          <ac:picMkLst>
            <pc:docMk/>
            <pc:sldMk cId="40328247" sldId="319"/>
            <ac:picMk id="28" creationId="{35F2E465-4DB6-DAD0-B05B-210293F62593}"/>
          </ac:picMkLst>
        </pc:picChg>
      </pc:sldChg>
      <pc:sldChg chg="add mod modShow">
        <pc:chgData name="Zhizi Wen" userId="b804997a-63ad-4c7f-9308-31a917908f04" providerId="ADAL" clId="{2AC281D0-AD6B-4A2B-88FC-FF7C44EBD234}" dt="2023-01-14T23:04:48.663" v="2844" actId="729"/>
        <pc:sldMkLst>
          <pc:docMk/>
          <pc:sldMk cId="3297688070" sldId="320"/>
        </pc:sldMkLst>
      </pc:sldChg>
      <pc:sldChg chg="modSp mod">
        <pc:chgData name="Zhizi Wen" userId="b804997a-63ad-4c7f-9308-31a917908f04" providerId="ADAL" clId="{2AC281D0-AD6B-4A2B-88FC-FF7C44EBD234}" dt="2023-01-16T19:57:50.432" v="3329" actId="20577"/>
        <pc:sldMkLst>
          <pc:docMk/>
          <pc:sldMk cId="3820454270" sldId="324"/>
        </pc:sldMkLst>
        <pc:spChg chg="mod">
          <ac:chgData name="Zhizi Wen" userId="b804997a-63ad-4c7f-9308-31a917908f04" providerId="ADAL" clId="{2AC281D0-AD6B-4A2B-88FC-FF7C44EBD234}" dt="2023-01-16T19:57:50.432" v="3329" actId="20577"/>
          <ac:spMkLst>
            <pc:docMk/>
            <pc:sldMk cId="3820454270" sldId="324"/>
            <ac:spMk id="10" creationId="{C0D7F605-34FF-A05A-2E6B-18955BE27D16}"/>
          </ac:spMkLst>
        </pc:spChg>
      </pc:sldChg>
      <pc:sldChg chg="modSp mod">
        <pc:chgData name="Zhizi Wen" userId="b804997a-63ad-4c7f-9308-31a917908f04" providerId="ADAL" clId="{2AC281D0-AD6B-4A2B-88FC-FF7C44EBD234}" dt="2023-01-16T19:57:56.623" v="3330"/>
        <pc:sldMkLst>
          <pc:docMk/>
          <pc:sldMk cId="786377102" sldId="326"/>
        </pc:sldMkLst>
        <pc:spChg chg="mod">
          <ac:chgData name="Zhizi Wen" userId="b804997a-63ad-4c7f-9308-31a917908f04" providerId="ADAL" clId="{2AC281D0-AD6B-4A2B-88FC-FF7C44EBD234}" dt="2023-01-16T19:57:56.623" v="3330"/>
          <ac:spMkLst>
            <pc:docMk/>
            <pc:sldMk cId="786377102" sldId="326"/>
            <ac:spMk id="10" creationId="{C0D7F605-34FF-A05A-2E6B-18955BE27D16}"/>
          </ac:spMkLst>
        </pc:spChg>
      </pc:sldChg>
      <pc:sldChg chg="modSp mod">
        <pc:chgData name="Zhizi Wen" userId="b804997a-63ad-4c7f-9308-31a917908f04" providerId="ADAL" clId="{2AC281D0-AD6B-4A2B-88FC-FF7C44EBD234}" dt="2023-01-16T19:58:57.050" v="3342" actId="20577"/>
        <pc:sldMkLst>
          <pc:docMk/>
          <pc:sldMk cId="3673283143" sldId="329"/>
        </pc:sldMkLst>
        <pc:spChg chg="mod">
          <ac:chgData name="Zhizi Wen" userId="b804997a-63ad-4c7f-9308-31a917908f04" providerId="ADAL" clId="{2AC281D0-AD6B-4A2B-88FC-FF7C44EBD234}" dt="2023-01-16T19:58:57.050" v="3342" actId="20577"/>
          <ac:spMkLst>
            <pc:docMk/>
            <pc:sldMk cId="3673283143" sldId="329"/>
            <ac:spMk id="5" creationId="{8EA7A4D4-9AD7-8D9C-9812-AA8B76F9AC69}"/>
          </ac:spMkLst>
        </pc:spChg>
      </pc:sldChg>
      <pc:sldChg chg="modSp mod">
        <pc:chgData name="Zhizi Wen" userId="b804997a-63ad-4c7f-9308-31a917908f04" providerId="ADAL" clId="{2AC281D0-AD6B-4A2B-88FC-FF7C44EBD234}" dt="2023-01-16T19:59:04.545" v="3343"/>
        <pc:sldMkLst>
          <pc:docMk/>
          <pc:sldMk cId="4034645136" sldId="331"/>
        </pc:sldMkLst>
        <pc:spChg chg="mod">
          <ac:chgData name="Zhizi Wen" userId="b804997a-63ad-4c7f-9308-31a917908f04" providerId="ADAL" clId="{2AC281D0-AD6B-4A2B-88FC-FF7C44EBD234}" dt="2023-01-16T19:59:04.545" v="3343"/>
          <ac:spMkLst>
            <pc:docMk/>
            <pc:sldMk cId="4034645136" sldId="331"/>
            <ac:spMk id="10" creationId="{0C88860A-7A54-C559-50EE-11E1365243E5}"/>
          </ac:spMkLst>
        </pc:spChg>
      </pc:sldChg>
      <pc:sldChg chg="modSp new mod modShow">
        <pc:chgData name="Zhizi Wen" userId="b804997a-63ad-4c7f-9308-31a917908f04" providerId="ADAL" clId="{2AC281D0-AD6B-4A2B-88FC-FF7C44EBD234}" dt="2023-01-16T10:30:58.095" v="3324" actId="20577"/>
        <pc:sldMkLst>
          <pc:docMk/>
          <pc:sldMk cId="2099082833" sldId="332"/>
        </pc:sldMkLst>
        <pc:spChg chg="mod">
          <ac:chgData name="Zhizi Wen" userId="b804997a-63ad-4c7f-9308-31a917908f04" providerId="ADAL" clId="{2AC281D0-AD6B-4A2B-88FC-FF7C44EBD234}" dt="2023-01-16T10:30:58.095" v="3324" actId="20577"/>
          <ac:spMkLst>
            <pc:docMk/>
            <pc:sldMk cId="2099082833" sldId="332"/>
            <ac:spMk id="5" creationId="{4F3D4FC4-3151-744B-C540-8528844A5D62}"/>
          </ac:spMkLst>
        </pc:spChg>
      </pc:sldChg>
      <pc:sldChg chg="addSp delSp modSp new mod">
        <pc:chgData name="Zhizi Wen" userId="b804997a-63ad-4c7f-9308-31a917908f04" providerId="ADAL" clId="{2AC281D0-AD6B-4A2B-88FC-FF7C44EBD234}" dt="2023-03-10T14:16:51.229" v="3871" actId="1076"/>
        <pc:sldMkLst>
          <pc:docMk/>
          <pc:sldMk cId="4195904509" sldId="333"/>
        </pc:sldMkLst>
        <pc:spChg chg="del">
          <ac:chgData name="Zhizi Wen" userId="b804997a-63ad-4c7f-9308-31a917908f04" providerId="ADAL" clId="{2AC281D0-AD6B-4A2B-88FC-FF7C44EBD234}" dt="2023-03-10T13:46:29.039" v="3345" actId="478"/>
          <ac:spMkLst>
            <pc:docMk/>
            <pc:sldMk cId="4195904509" sldId="333"/>
            <ac:spMk id="5" creationId="{D04E51EC-C119-7E8B-C31C-B50595874F24}"/>
          </ac:spMkLst>
        </pc:spChg>
        <pc:spChg chg="mod">
          <ac:chgData name="Zhizi Wen" userId="b804997a-63ad-4c7f-9308-31a917908f04" providerId="ADAL" clId="{2AC281D0-AD6B-4A2B-88FC-FF7C44EBD234}" dt="2023-03-10T14:00:39.376" v="3833" actId="20577"/>
          <ac:spMkLst>
            <pc:docMk/>
            <pc:sldMk cId="4195904509" sldId="333"/>
            <ac:spMk id="6" creationId="{8B23EA87-5127-415E-0529-A12D7D1A1AFD}"/>
          </ac:spMkLst>
        </pc:spChg>
        <pc:spChg chg="del">
          <ac:chgData name="Zhizi Wen" userId="b804997a-63ad-4c7f-9308-31a917908f04" providerId="ADAL" clId="{2AC281D0-AD6B-4A2B-88FC-FF7C44EBD234}" dt="2023-03-10T13:46:46.129" v="3346" actId="931"/>
          <ac:spMkLst>
            <pc:docMk/>
            <pc:sldMk cId="4195904509" sldId="333"/>
            <ac:spMk id="7" creationId="{BE8ADCBA-4F26-028C-809B-5BA97955C99D}"/>
          </ac:spMkLst>
        </pc:spChg>
        <pc:spChg chg="add mod">
          <ac:chgData name="Zhizi Wen" userId="b804997a-63ad-4c7f-9308-31a917908f04" providerId="ADAL" clId="{2AC281D0-AD6B-4A2B-88FC-FF7C44EBD234}" dt="2023-03-10T13:51:28.953" v="3571" actId="14100"/>
          <ac:spMkLst>
            <pc:docMk/>
            <pc:sldMk cId="4195904509" sldId="333"/>
            <ac:spMk id="13" creationId="{053CFA18-3A35-E58A-5EB8-27A47BFA9DAE}"/>
          </ac:spMkLst>
        </pc:spChg>
        <pc:spChg chg="add mod">
          <ac:chgData name="Zhizi Wen" userId="b804997a-63ad-4c7f-9308-31a917908f04" providerId="ADAL" clId="{2AC281D0-AD6B-4A2B-88FC-FF7C44EBD234}" dt="2023-03-10T13:48:37.604" v="3410" actId="1076"/>
          <ac:spMkLst>
            <pc:docMk/>
            <pc:sldMk cId="4195904509" sldId="333"/>
            <ac:spMk id="16" creationId="{8B4B5E9F-F5CE-5891-DD0C-45AEABB37705}"/>
          </ac:spMkLst>
        </pc:spChg>
        <pc:spChg chg="add mod">
          <ac:chgData name="Zhizi Wen" userId="b804997a-63ad-4c7f-9308-31a917908f04" providerId="ADAL" clId="{2AC281D0-AD6B-4A2B-88FC-FF7C44EBD234}" dt="2023-03-10T13:49:05.560" v="3417" actId="20577"/>
          <ac:spMkLst>
            <pc:docMk/>
            <pc:sldMk cId="4195904509" sldId="333"/>
            <ac:spMk id="19" creationId="{C542B322-7CF0-2668-139F-7243E1757308}"/>
          </ac:spMkLst>
        </pc:spChg>
        <pc:spChg chg="add mod">
          <ac:chgData name="Zhizi Wen" userId="b804997a-63ad-4c7f-9308-31a917908f04" providerId="ADAL" clId="{2AC281D0-AD6B-4A2B-88FC-FF7C44EBD234}" dt="2023-03-10T14:00:52.953" v="3835" actId="14100"/>
          <ac:spMkLst>
            <pc:docMk/>
            <pc:sldMk cId="4195904509" sldId="333"/>
            <ac:spMk id="20" creationId="{703A9CE3-B306-9EF5-5541-47D6E0C4ABA7}"/>
          </ac:spMkLst>
        </pc:spChg>
        <pc:spChg chg="add mod">
          <ac:chgData name="Zhizi Wen" userId="b804997a-63ad-4c7f-9308-31a917908f04" providerId="ADAL" clId="{2AC281D0-AD6B-4A2B-88FC-FF7C44EBD234}" dt="2023-03-10T13:55:59.634" v="3612" actId="1076"/>
          <ac:spMkLst>
            <pc:docMk/>
            <pc:sldMk cId="4195904509" sldId="333"/>
            <ac:spMk id="23" creationId="{D0BEE866-85DA-465C-A9E5-A60837B68678}"/>
          </ac:spMkLst>
        </pc:spChg>
        <pc:spChg chg="add mod">
          <ac:chgData name="Zhizi Wen" userId="b804997a-63ad-4c7f-9308-31a917908f04" providerId="ADAL" clId="{2AC281D0-AD6B-4A2B-88FC-FF7C44EBD234}" dt="2023-03-10T14:01:04.961" v="3839" actId="20577"/>
          <ac:spMkLst>
            <pc:docMk/>
            <pc:sldMk cId="4195904509" sldId="333"/>
            <ac:spMk id="24" creationId="{CBCC47B7-2EA5-150A-0229-88789B3B0150}"/>
          </ac:spMkLst>
        </pc:spChg>
        <pc:spChg chg="add mod">
          <ac:chgData name="Zhizi Wen" userId="b804997a-63ad-4c7f-9308-31a917908f04" providerId="ADAL" clId="{2AC281D0-AD6B-4A2B-88FC-FF7C44EBD234}" dt="2023-03-10T13:52:50.087" v="3596" actId="14100"/>
          <ac:spMkLst>
            <pc:docMk/>
            <pc:sldMk cId="4195904509" sldId="333"/>
            <ac:spMk id="27" creationId="{F8A877DF-F650-B081-B216-5B61A70691EA}"/>
          </ac:spMkLst>
        </pc:spChg>
        <pc:spChg chg="add mod">
          <ac:chgData name="Zhizi Wen" userId="b804997a-63ad-4c7f-9308-31a917908f04" providerId="ADAL" clId="{2AC281D0-AD6B-4A2B-88FC-FF7C44EBD234}" dt="2023-03-10T14:01:21.220" v="3853" actId="1076"/>
          <ac:spMkLst>
            <pc:docMk/>
            <pc:sldMk cId="4195904509" sldId="333"/>
            <ac:spMk id="30" creationId="{28310821-C4E7-F220-3E2F-B21A4838597D}"/>
          </ac:spMkLst>
        </pc:spChg>
        <pc:spChg chg="add mod">
          <ac:chgData name="Zhizi Wen" userId="b804997a-63ad-4c7f-9308-31a917908f04" providerId="ADAL" clId="{2AC281D0-AD6B-4A2B-88FC-FF7C44EBD234}" dt="2023-03-10T13:56:21.063" v="3617" actId="1076"/>
          <ac:spMkLst>
            <pc:docMk/>
            <pc:sldMk cId="4195904509" sldId="333"/>
            <ac:spMk id="33" creationId="{C03E4BB0-7D12-23CD-2F76-58AED93984B0}"/>
          </ac:spMkLst>
        </pc:spChg>
        <pc:spChg chg="add mod">
          <ac:chgData name="Zhizi Wen" userId="b804997a-63ad-4c7f-9308-31a917908f04" providerId="ADAL" clId="{2AC281D0-AD6B-4A2B-88FC-FF7C44EBD234}" dt="2023-03-10T14:16:36.936" v="3869" actId="1076"/>
          <ac:spMkLst>
            <pc:docMk/>
            <pc:sldMk cId="4195904509" sldId="333"/>
            <ac:spMk id="36" creationId="{F396825E-26E5-6EF2-8246-692C079AB205}"/>
          </ac:spMkLst>
        </pc:spChg>
        <pc:spChg chg="add mod">
          <ac:chgData name="Zhizi Wen" userId="b804997a-63ad-4c7f-9308-31a917908f04" providerId="ADAL" clId="{2AC281D0-AD6B-4A2B-88FC-FF7C44EBD234}" dt="2023-03-10T14:00:36.630" v="3831" actId="1076"/>
          <ac:spMkLst>
            <pc:docMk/>
            <pc:sldMk cId="4195904509" sldId="333"/>
            <ac:spMk id="37" creationId="{289B44D9-796D-23B2-349A-67A54140623C}"/>
          </ac:spMkLst>
        </pc:spChg>
        <pc:spChg chg="add mod">
          <ac:chgData name="Zhizi Wen" userId="b804997a-63ad-4c7f-9308-31a917908f04" providerId="ADAL" clId="{2AC281D0-AD6B-4A2B-88FC-FF7C44EBD234}" dt="2023-03-10T14:07:23.757" v="3860" actId="20577"/>
          <ac:spMkLst>
            <pc:docMk/>
            <pc:sldMk cId="4195904509" sldId="333"/>
            <ac:spMk id="38" creationId="{2E683784-596C-9B16-2223-9AFB948CED24}"/>
          </ac:spMkLst>
        </pc:spChg>
        <pc:spChg chg="add mod">
          <ac:chgData name="Zhizi Wen" userId="b804997a-63ad-4c7f-9308-31a917908f04" providerId="ADAL" clId="{2AC281D0-AD6B-4A2B-88FC-FF7C44EBD234}" dt="2023-03-10T14:07:26.157" v="3861" actId="20577"/>
          <ac:spMkLst>
            <pc:docMk/>
            <pc:sldMk cId="4195904509" sldId="333"/>
            <ac:spMk id="39" creationId="{C34B22D0-6438-2FA9-AC9B-AC99589893BA}"/>
          </ac:spMkLst>
        </pc:spChg>
        <pc:spChg chg="add mod">
          <ac:chgData name="Zhizi Wen" userId="b804997a-63ad-4c7f-9308-31a917908f04" providerId="ADAL" clId="{2AC281D0-AD6B-4A2B-88FC-FF7C44EBD234}" dt="2023-03-10T14:07:28.145" v="3862" actId="20577"/>
          <ac:spMkLst>
            <pc:docMk/>
            <pc:sldMk cId="4195904509" sldId="333"/>
            <ac:spMk id="40" creationId="{415CDA89-8C3F-AF81-E54C-CC2B4508D57A}"/>
          </ac:spMkLst>
        </pc:spChg>
        <pc:spChg chg="add mod">
          <ac:chgData name="Zhizi Wen" userId="b804997a-63ad-4c7f-9308-31a917908f04" providerId="ADAL" clId="{2AC281D0-AD6B-4A2B-88FC-FF7C44EBD234}" dt="2023-03-10T14:01:44.097" v="3859" actId="20577"/>
          <ac:spMkLst>
            <pc:docMk/>
            <pc:sldMk cId="4195904509" sldId="333"/>
            <ac:spMk id="41" creationId="{E88284DB-5172-BECC-4EC6-43FFE2E08FC6}"/>
          </ac:spMkLst>
        </pc:spChg>
        <pc:picChg chg="add mod">
          <ac:chgData name="Zhizi Wen" userId="b804997a-63ad-4c7f-9308-31a917908f04" providerId="ADAL" clId="{2AC281D0-AD6B-4A2B-88FC-FF7C44EBD234}" dt="2023-03-10T13:46:50.259" v="3348" actId="1076"/>
          <ac:picMkLst>
            <pc:docMk/>
            <pc:sldMk cId="4195904509" sldId="333"/>
            <ac:picMk id="10" creationId="{1124E0BF-D624-8028-B460-BF3D919DF9FD}"/>
          </ac:picMkLst>
        </pc:picChg>
        <pc:picChg chg="add mod">
          <ac:chgData name="Zhizi Wen" userId="b804997a-63ad-4c7f-9308-31a917908f04" providerId="ADAL" clId="{2AC281D0-AD6B-4A2B-88FC-FF7C44EBD234}" dt="2023-03-10T13:47:04.714" v="3351" actId="14100"/>
          <ac:picMkLst>
            <pc:docMk/>
            <pc:sldMk cId="4195904509" sldId="333"/>
            <ac:picMk id="12" creationId="{5270D7C7-6403-BB6F-008F-17D0E7B1A5E9}"/>
          </ac:picMkLst>
        </pc:picChg>
        <pc:picChg chg="add del mod">
          <ac:chgData name="Zhizi Wen" userId="b804997a-63ad-4c7f-9308-31a917908f04" providerId="ADAL" clId="{2AC281D0-AD6B-4A2B-88FC-FF7C44EBD234}" dt="2023-03-10T13:48:21.681" v="3400" actId="478"/>
          <ac:picMkLst>
            <pc:docMk/>
            <pc:sldMk cId="4195904509" sldId="333"/>
            <ac:picMk id="15" creationId="{CF2E7F16-ADFF-7E04-ADDE-E0584A888987}"/>
          </ac:picMkLst>
        </pc:picChg>
        <pc:picChg chg="add mod">
          <ac:chgData name="Zhizi Wen" userId="b804997a-63ad-4c7f-9308-31a917908f04" providerId="ADAL" clId="{2AC281D0-AD6B-4A2B-88FC-FF7C44EBD234}" dt="2023-03-10T13:49:00.148" v="3414" actId="1076"/>
          <ac:picMkLst>
            <pc:docMk/>
            <pc:sldMk cId="4195904509" sldId="333"/>
            <ac:picMk id="18" creationId="{305B2784-B574-02E7-60F3-E81B8A3B8006}"/>
          </ac:picMkLst>
        </pc:picChg>
        <pc:picChg chg="add mod">
          <ac:chgData name="Zhizi Wen" userId="b804997a-63ad-4c7f-9308-31a917908f04" providerId="ADAL" clId="{2AC281D0-AD6B-4A2B-88FC-FF7C44EBD234}" dt="2023-03-10T13:56:17.508" v="3616" actId="1076"/>
          <ac:picMkLst>
            <pc:docMk/>
            <pc:sldMk cId="4195904509" sldId="333"/>
            <ac:picMk id="22" creationId="{3E6ACE57-E2D8-0406-667E-C031337E7A22}"/>
          </ac:picMkLst>
        </pc:picChg>
        <pc:picChg chg="add mod">
          <ac:chgData name="Zhizi Wen" userId="b804997a-63ad-4c7f-9308-31a917908f04" providerId="ADAL" clId="{2AC281D0-AD6B-4A2B-88FC-FF7C44EBD234}" dt="2023-03-10T13:52:22.121" v="3581" actId="1076"/>
          <ac:picMkLst>
            <pc:docMk/>
            <pc:sldMk cId="4195904509" sldId="333"/>
            <ac:picMk id="26" creationId="{7E4B110D-5855-BAF6-F89B-1C4C4952964F}"/>
          </ac:picMkLst>
        </pc:picChg>
        <pc:picChg chg="add mod">
          <ac:chgData name="Zhizi Wen" userId="b804997a-63ad-4c7f-9308-31a917908f04" providerId="ADAL" clId="{2AC281D0-AD6B-4A2B-88FC-FF7C44EBD234}" dt="2023-03-10T14:00:36.630" v="3831" actId="1076"/>
          <ac:picMkLst>
            <pc:docMk/>
            <pc:sldMk cId="4195904509" sldId="333"/>
            <ac:picMk id="29" creationId="{424D8795-14DB-DDA7-7310-AE1558CB4136}"/>
          </ac:picMkLst>
        </pc:picChg>
        <pc:picChg chg="add mod">
          <ac:chgData name="Zhizi Wen" userId="b804997a-63ad-4c7f-9308-31a917908f04" providerId="ADAL" clId="{2AC281D0-AD6B-4A2B-88FC-FF7C44EBD234}" dt="2023-03-10T14:00:36.630" v="3831" actId="1076"/>
          <ac:picMkLst>
            <pc:docMk/>
            <pc:sldMk cId="4195904509" sldId="333"/>
            <ac:picMk id="32" creationId="{6D1CB601-E832-ED97-49FC-52D2B19F54D1}"/>
          </ac:picMkLst>
        </pc:picChg>
        <pc:picChg chg="add mod">
          <ac:chgData name="Zhizi Wen" userId="b804997a-63ad-4c7f-9308-31a917908f04" providerId="ADAL" clId="{2AC281D0-AD6B-4A2B-88FC-FF7C44EBD234}" dt="2023-03-10T14:16:51.229" v="3871" actId="1076"/>
          <ac:picMkLst>
            <pc:docMk/>
            <pc:sldMk cId="4195904509" sldId="333"/>
            <ac:picMk id="35" creationId="{7AA13203-4AAC-4CA2-9E4E-93A525497AB4}"/>
          </ac:picMkLst>
        </pc:picChg>
      </pc:sldChg>
      <pc:sldMasterChg chg="delSldLayout">
        <pc:chgData name="Zhizi Wen" userId="b804997a-63ad-4c7f-9308-31a917908f04" providerId="ADAL" clId="{2AC281D0-AD6B-4A2B-88FC-FF7C44EBD234}" dt="2023-01-14T22:59:11.120" v="2668" actId="47"/>
        <pc:sldMasterMkLst>
          <pc:docMk/>
          <pc:sldMasterMk cId="159005196" sldId="2147483693"/>
        </pc:sldMasterMkLst>
        <pc:sldLayoutChg chg="del">
          <pc:chgData name="Zhizi Wen" userId="b804997a-63ad-4c7f-9308-31a917908f04" providerId="ADAL" clId="{2AC281D0-AD6B-4A2B-88FC-FF7C44EBD234}" dt="2023-01-14T22:59:11.120" v="2668" actId="47"/>
          <pc:sldLayoutMkLst>
            <pc:docMk/>
            <pc:sldMasterMk cId="159005196" sldId="2147483693"/>
            <pc:sldLayoutMk cId="781558393" sldId="2147483714"/>
          </pc:sldLayoutMkLst>
        </pc:sldLayoutChg>
      </pc:sldMasterChg>
    </pc:docChg>
  </pc:docChgLst>
  <pc:docChgLst>
    <pc:chgData name="Völkel, Tobias" userId="S::ru22boda@fauad.fau.de::9c02bf22-18bb-468a-b263-c51c2dc523eb" providerId="AD" clId="Web-{6709EE73-F80D-4DB2-9D4C-E7C27E723DD8}"/>
    <pc:docChg chg="addSld modSld modSection">
      <pc:chgData name="Völkel, Tobias" userId="S::ru22boda@fauad.fau.de::9c02bf22-18bb-468a-b263-c51c2dc523eb" providerId="AD" clId="Web-{6709EE73-F80D-4DB2-9D4C-E7C27E723DD8}" dt="2023-03-12T18:19:39.347" v="384" actId="1076"/>
      <pc:docMkLst>
        <pc:docMk/>
      </pc:docMkLst>
      <pc:sldChg chg="addSp delSp modSp">
        <pc:chgData name="Völkel, Tobias" userId="S::ru22boda@fauad.fau.de::9c02bf22-18bb-468a-b263-c51c2dc523eb" providerId="AD" clId="Web-{6709EE73-F80D-4DB2-9D4C-E7C27E723DD8}" dt="2023-03-12T15:48:43.003" v="13" actId="1076"/>
        <pc:sldMkLst>
          <pc:docMk/>
          <pc:sldMk cId="1935823479" sldId="461"/>
        </pc:sldMkLst>
        <pc:spChg chg="del">
          <ac:chgData name="Völkel, Tobias" userId="S::ru22boda@fauad.fau.de::9c02bf22-18bb-468a-b263-c51c2dc523eb" providerId="AD" clId="Web-{6709EE73-F80D-4DB2-9D4C-E7C27E723DD8}" dt="2023-03-12T15:40:32.941" v="1"/>
          <ac:spMkLst>
            <pc:docMk/>
            <pc:sldMk cId="1935823479" sldId="461"/>
            <ac:spMk id="6" creationId="{D8CF220D-4D7C-1261-5A8E-533D4566EE2E}"/>
          </ac:spMkLst>
        </pc:spChg>
        <pc:spChg chg="del">
          <ac:chgData name="Völkel, Tobias" userId="S::ru22boda@fauad.fau.de::9c02bf22-18bb-468a-b263-c51c2dc523eb" providerId="AD" clId="Web-{6709EE73-F80D-4DB2-9D4C-E7C27E723DD8}" dt="2023-03-12T15:40:30.316" v="0"/>
          <ac:spMkLst>
            <pc:docMk/>
            <pc:sldMk cId="1935823479" sldId="461"/>
            <ac:spMk id="25" creationId="{2F7FA532-CFE6-40BF-861D-09B4882EEE78}"/>
          </ac:spMkLst>
        </pc:spChg>
        <pc:picChg chg="add mod">
          <ac:chgData name="Völkel, Tobias" userId="S::ru22boda@fauad.fau.de::9c02bf22-18bb-468a-b263-c51c2dc523eb" providerId="AD" clId="Web-{6709EE73-F80D-4DB2-9D4C-E7C27E723DD8}" dt="2023-03-12T15:48:38.659" v="11" actId="1076"/>
          <ac:picMkLst>
            <pc:docMk/>
            <pc:sldMk cId="1935823479" sldId="461"/>
            <ac:picMk id="16" creationId="{9B91BFD8-BF8B-B9CA-C0EF-ED99DB7B6611}"/>
          </ac:picMkLst>
        </pc:picChg>
        <pc:picChg chg="add mod">
          <ac:chgData name="Völkel, Tobias" userId="S::ru22boda@fauad.fau.de::9c02bf22-18bb-468a-b263-c51c2dc523eb" providerId="AD" clId="Web-{6709EE73-F80D-4DB2-9D4C-E7C27E723DD8}" dt="2023-03-12T15:48:43.003" v="13" actId="1076"/>
          <ac:picMkLst>
            <pc:docMk/>
            <pc:sldMk cId="1935823479" sldId="461"/>
            <ac:picMk id="19" creationId="{BE8F2435-928E-15B3-434F-23D812F25F2D}"/>
          </ac:picMkLst>
        </pc:picChg>
      </pc:sldChg>
      <pc:sldChg chg="modSp">
        <pc:chgData name="Völkel, Tobias" userId="S::ru22boda@fauad.fau.de::9c02bf22-18bb-468a-b263-c51c2dc523eb" providerId="AD" clId="Web-{6709EE73-F80D-4DB2-9D4C-E7C27E723DD8}" dt="2023-03-12T18:08:28.135" v="151" actId="1076"/>
        <pc:sldMkLst>
          <pc:docMk/>
          <pc:sldMk cId="2255513899" sldId="462"/>
        </pc:sldMkLst>
        <pc:spChg chg="mod">
          <ac:chgData name="Völkel, Tobias" userId="S::ru22boda@fauad.fau.de::9c02bf22-18bb-468a-b263-c51c2dc523eb" providerId="AD" clId="Web-{6709EE73-F80D-4DB2-9D4C-E7C27E723DD8}" dt="2023-03-12T18:08:28.135" v="151" actId="1076"/>
          <ac:spMkLst>
            <pc:docMk/>
            <pc:sldMk cId="2255513899" sldId="462"/>
            <ac:spMk id="4" creationId="{A057EA7B-7ABC-F088-A4C8-C283BE36EA33}"/>
          </ac:spMkLst>
        </pc:spChg>
        <pc:spChg chg="mod">
          <ac:chgData name="Völkel, Tobias" userId="S::ru22boda@fauad.fau.de::9c02bf22-18bb-468a-b263-c51c2dc523eb" providerId="AD" clId="Web-{6709EE73-F80D-4DB2-9D4C-E7C27E723DD8}" dt="2023-03-12T15:51:08.726" v="18" actId="20577"/>
          <ac:spMkLst>
            <pc:docMk/>
            <pc:sldMk cId="2255513899" sldId="462"/>
            <ac:spMk id="17" creationId="{81174097-DBB7-64A7-58C9-4DB595CBE0E7}"/>
          </ac:spMkLst>
        </pc:spChg>
        <pc:spChg chg="mod">
          <ac:chgData name="Völkel, Tobias" userId="S::ru22boda@fauad.fau.de::9c02bf22-18bb-468a-b263-c51c2dc523eb" providerId="AD" clId="Web-{6709EE73-F80D-4DB2-9D4C-E7C27E723DD8}" dt="2023-03-12T15:51:05.476" v="15" actId="20577"/>
          <ac:spMkLst>
            <pc:docMk/>
            <pc:sldMk cId="2255513899" sldId="462"/>
            <ac:spMk id="20" creationId="{D4FC2B63-E7E7-12F9-1D6B-98845D1B1D2B}"/>
          </ac:spMkLst>
        </pc:spChg>
        <pc:spChg chg="mod">
          <ac:chgData name="Völkel, Tobias" userId="S::ru22boda@fauad.fau.de::9c02bf22-18bb-468a-b263-c51c2dc523eb" providerId="AD" clId="Web-{6709EE73-F80D-4DB2-9D4C-E7C27E723DD8}" dt="2023-03-12T15:51:07.679" v="17" actId="20577"/>
          <ac:spMkLst>
            <pc:docMk/>
            <pc:sldMk cId="2255513899" sldId="462"/>
            <ac:spMk id="21" creationId="{E4F597D5-8DF0-CAFD-461E-060B703D5DD2}"/>
          </ac:spMkLst>
        </pc:spChg>
      </pc:sldChg>
      <pc:sldChg chg="addSp delSp modSp">
        <pc:chgData name="Völkel, Tobias" userId="S::ru22boda@fauad.fau.de::9c02bf22-18bb-468a-b263-c51c2dc523eb" providerId="AD" clId="Web-{6709EE73-F80D-4DB2-9D4C-E7C27E723DD8}" dt="2023-03-12T18:16:14.480" v="314"/>
        <pc:sldMkLst>
          <pc:docMk/>
          <pc:sldMk cId="37830688" sldId="468"/>
        </pc:sldMkLst>
        <pc:spChg chg="mod">
          <ac:chgData name="Völkel, Tobias" userId="S::ru22boda@fauad.fau.de::9c02bf22-18bb-468a-b263-c51c2dc523eb" providerId="AD" clId="Web-{6709EE73-F80D-4DB2-9D4C-E7C27E723DD8}" dt="2023-03-12T18:16:04.605" v="311" actId="20577"/>
          <ac:spMkLst>
            <pc:docMk/>
            <pc:sldMk cId="37830688" sldId="468"/>
            <ac:spMk id="3" creationId="{75AAEFF0-7421-C140-30C7-7F433E6FDB49}"/>
          </ac:spMkLst>
        </pc:spChg>
        <pc:spChg chg="add del mod">
          <ac:chgData name="Völkel, Tobias" userId="S::ru22boda@fauad.fau.de::9c02bf22-18bb-468a-b263-c51c2dc523eb" providerId="AD" clId="Web-{6709EE73-F80D-4DB2-9D4C-E7C27E723DD8}" dt="2023-03-12T18:16:14.480" v="314"/>
          <ac:spMkLst>
            <pc:docMk/>
            <pc:sldMk cId="37830688" sldId="468"/>
            <ac:spMk id="4" creationId="{CB3F776D-9F71-8CC7-A9D8-A2D051569A35}"/>
          </ac:spMkLst>
        </pc:spChg>
      </pc:sldChg>
      <pc:sldChg chg="addSp modSp">
        <pc:chgData name="Völkel, Tobias" userId="S::ru22boda@fauad.fau.de::9c02bf22-18bb-468a-b263-c51c2dc523eb" providerId="AD" clId="Web-{6709EE73-F80D-4DB2-9D4C-E7C27E723DD8}" dt="2023-03-12T18:04:16.782" v="132" actId="1076"/>
        <pc:sldMkLst>
          <pc:docMk/>
          <pc:sldMk cId="4024365205" sldId="469"/>
        </pc:sldMkLst>
        <pc:spChg chg="add mod">
          <ac:chgData name="Völkel, Tobias" userId="S::ru22boda@fauad.fau.de::9c02bf22-18bb-468a-b263-c51c2dc523eb" providerId="AD" clId="Web-{6709EE73-F80D-4DB2-9D4C-E7C27E723DD8}" dt="2023-03-12T18:03:34.608" v="131" actId="1076"/>
          <ac:spMkLst>
            <pc:docMk/>
            <pc:sldMk cId="4024365205" sldId="469"/>
            <ac:spMk id="3" creationId="{8D59EEA6-6D0B-3DB0-6732-138CB2147178}"/>
          </ac:spMkLst>
        </pc:spChg>
        <pc:picChg chg="mod">
          <ac:chgData name="Völkel, Tobias" userId="S::ru22boda@fauad.fau.de::9c02bf22-18bb-468a-b263-c51c2dc523eb" providerId="AD" clId="Web-{6709EE73-F80D-4DB2-9D4C-E7C27E723DD8}" dt="2023-03-12T18:04:16.782" v="132" actId="1076"/>
          <ac:picMkLst>
            <pc:docMk/>
            <pc:sldMk cId="4024365205" sldId="469"/>
            <ac:picMk id="12" creationId="{706BF049-0BDD-A0D3-5AAA-7BF43667FB40}"/>
          </ac:picMkLst>
        </pc:picChg>
      </pc:sldChg>
      <pc:sldChg chg="addSp delSp modSp new mod modClrScheme chgLayout">
        <pc:chgData name="Völkel, Tobias" userId="S::ru22boda@fauad.fau.de::9c02bf22-18bb-468a-b263-c51c2dc523eb" providerId="AD" clId="Web-{6709EE73-F80D-4DB2-9D4C-E7C27E723DD8}" dt="2023-03-12T18:19:39.347" v="384" actId="1076"/>
        <pc:sldMkLst>
          <pc:docMk/>
          <pc:sldMk cId="4072428998" sldId="479"/>
        </pc:sldMkLst>
        <pc:spChg chg="mod ord">
          <ac:chgData name="Völkel, Tobias" userId="S::ru22boda@fauad.fau.de::9c02bf22-18bb-468a-b263-c51c2dc523eb" providerId="AD" clId="Web-{6709EE73-F80D-4DB2-9D4C-E7C27E723DD8}" dt="2023-03-12T18:16:46.450" v="317"/>
          <ac:spMkLst>
            <pc:docMk/>
            <pc:sldMk cId="4072428998" sldId="479"/>
            <ac:spMk id="2" creationId="{8788BB95-BA8A-580C-C1C0-473B9AA04237}"/>
          </ac:spMkLst>
        </pc:spChg>
        <pc:spChg chg="mod ord">
          <ac:chgData name="Völkel, Tobias" userId="S::ru22boda@fauad.fau.de::9c02bf22-18bb-468a-b263-c51c2dc523eb" providerId="AD" clId="Web-{6709EE73-F80D-4DB2-9D4C-E7C27E723DD8}" dt="2023-03-12T18:16:46.450" v="317"/>
          <ac:spMkLst>
            <pc:docMk/>
            <pc:sldMk cId="4072428998" sldId="479"/>
            <ac:spMk id="3" creationId="{0FFD9ED0-767B-852F-C153-0F0C5F9468E0}"/>
          </ac:spMkLst>
        </pc:spChg>
        <pc:spChg chg="mod ord">
          <ac:chgData name="Völkel, Tobias" userId="S::ru22boda@fauad.fau.de::9c02bf22-18bb-468a-b263-c51c2dc523eb" providerId="AD" clId="Web-{6709EE73-F80D-4DB2-9D4C-E7C27E723DD8}" dt="2023-03-12T18:16:46.450" v="317"/>
          <ac:spMkLst>
            <pc:docMk/>
            <pc:sldMk cId="4072428998" sldId="479"/>
            <ac:spMk id="4" creationId="{81E6F080-96A7-058D-35CC-CFAC89AE6552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5" creationId="{F98A9830-44C0-2E2B-396F-4E2A5B7258B4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6" creationId="{37FE77E0-39B5-D5B8-3F55-6A90E46A0701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7" creationId="{01B80FC8-B88F-EA70-A465-0B6E02D01589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8" creationId="{8554EDB2-014D-F6AD-604B-3800158911BA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9" creationId="{E513AF34-78F1-DF64-CE53-F7C82FE6A61F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10" creationId="{A35E1111-BEDB-984A-4F6B-1011B6A1E6A2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11" creationId="{BC07DD27-37C9-7EC0-7395-7D1269D63754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12" creationId="{7B4E86FE-FD93-4466-CDF4-0D71DEA6CCBF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13" creationId="{33621978-0303-A78D-673F-4E157197FBE7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14" creationId="{63D98363-9061-A520-0037-86FE34B4C7D9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15" creationId="{8F95CF9F-D6BB-900C-1885-481B0A570D1B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16" creationId="{31AF5980-E551-888A-52FF-5ED5C1F6E2C9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17" creationId="{A6E8ED9C-D990-2909-9ADB-15222E7D33D3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18" creationId="{01DA5866-00BA-9693-0311-3F080001CD7A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19" creationId="{25EF7009-2674-C5BA-3D1F-B8A1A966E6DC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20" creationId="{8CF9CD1C-3DED-5BF4-C3C0-787814AD8155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21" creationId="{52EF28EF-32F0-B4D9-0670-6466DB9B87EF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22" creationId="{C98F4644-97D5-BC07-A61C-6B733D8FE593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23" creationId="{74DAF5F3-3490-41C9-669E-50F02255EE89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24" creationId="{DE0EEE43-A210-90E6-7FAF-9EF0067218D8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25" creationId="{D493C627-DAF9-D6E8-BB36-2A2CD330A4C5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26" creationId="{C616B7B4-2743-11E9-E328-83D67173955A}"/>
          </ac:spMkLst>
        </pc:spChg>
        <pc:spChg chg="mod ord">
          <ac:chgData name="Völkel, Tobias" userId="S::ru22boda@fauad.fau.de::9c02bf22-18bb-468a-b263-c51c2dc523eb" providerId="AD" clId="Web-{6709EE73-F80D-4DB2-9D4C-E7C27E723DD8}" dt="2023-03-12T18:16:50.200" v="322" actId="20577"/>
          <ac:spMkLst>
            <pc:docMk/>
            <pc:sldMk cId="4072428998" sldId="479"/>
            <ac:spMk id="27" creationId="{36782E6E-4A6F-7C59-79D6-B007C77029E9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28" creationId="{D0CB3188-3A60-49C3-309A-5984E12470A2}"/>
          </ac:spMkLst>
        </pc:spChg>
        <pc:spChg chg="mod ord">
          <ac:chgData name="Völkel, Tobias" userId="S::ru22boda@fauad.fau.de::9c02bf22-18bb-468a-b263-c51c2dc523eb" providerId="AD" clId="Web-{6709EE73-F80D-4DB2-9D4C-E7C27E723DD8}" dt="2023-03-12T18:17:08.545" v="365" actId="20577"/>
          <ac:spMkLst>
            <pc:docMk/>
            <pc:sldMk cId="4072428998" sldId="479"/>
            <ac:spMk id="29" creationId="{47B67832-EC4B-6D6E-5706-23C858665C17}"/>
          </ac:spMkLst>
        </pc:spChg>
        <pc:spChg chg="del">
          <ac:chgData name="Völkel, Tobias" userId="S::ru22boda@fauad.fau.de::9c02bf22-18bb-468a-b263-c51c2dc523eb" providerId="AD" clId="Web-{6709EE73-F80D-4DB2-9D4C-E7C27E723DD8}" dt="2023-03-12T18:16:41.356" v="316"/>
          <ac:spMkLst>
            <pc:docMk/>
            <pc:sldMk cId="4072428998" sldId="479"/>
            <ac:spMk id="30" creationId="{AB481C8C-58DA-CAA3-E373-EA1A043F9251}"/>
          </ac:spMkLst>
        </pc:spChg>
        <pc:spChg chg="del mod ord">
          <ac:chgData name="Völkel, Tobias" userId="S::ru22boda@fauad.fau.de::9c02bf22-18bb-468a-b263-c51c2dc523eb" providerId="AD" clId="Web-{6709EE73-F80D-4DB2-9D4C-E7C27E723DD8}" dt="2023-03-12T18:18:51.705" v="369"/>
          <ac:spMkLst>
            <pc:docMk/>
            <pc:sldMk cId="4072428998" sldId="479"/>
            <ac:spMk id="31" creationId="{29FC5B33-A975-F327-7120-226ABD81DE01}"/>
          </ac:spMkLst>
        </pc:spChg>
        <pc:spChg chg="add del mod ord">
          <ac:chgData name="Völkel, Tobias" userId="S::ru22boda@fauad.fau.de::9c02bf22-18bb-468a-b263-c51c2dc523eb" providerId="AD" clId="Web-{6709EE73-F80D-4DB2-9D4C-E7C27E723DD8}" dt="2023-03-12T18:17:10.654" v="366"/>
          <ac:spMkLst>
            <pc:docMk/>
            <pc:sldMk cId="4072428998" sldId="479"/>
            <ac:spMk id="32" creationId="{17EC8BF1-60CD-82A6-63D0-E55F0E7EB093}"/>
          </ac:spMkLst>
        </pc:spChg>
        <pc:spChg chg="add mod">
          <ac:chgData name="Völkel, Tobias" userId="S::ru22boda@fauad.fau.de::9c02bf22-18bb-468a-b263-c51c2dc523eb" providerId="AD" clId="Web-{6709EE73-F80D-4DB2-9D4C-E7C27E723DD8}" dt="2023-03-12T18:18:59.299" v="373" actId="1076"/>
          <ac:spMkLst>
            <pc:docMk/>
            <pc:sldMk cId="4072428998" sldId="479"/>
            <ac:spMk id="33" creationId="{3FDA71FB-B8CB-E13E-ED35-87FA7403BA0F}"/>
          </ac:spMkLst>
        </pc:spChg>
        <pc:spChg chg="add del mod">
          <ac:chgData name="Völkel, Tobias" userId="S::ru22boda@fauad.fau.de::9c02bf22-18bb-468a-b263-c51c2dc523eb" providerId="AD" clId="Web-{6709EE73-F80D-4DB2-9D4C-E7C27E723DD8}" dt="2023-03-12T18:19:09.143" v="375"/>
          <ac:spMkLst>
            <pc:docMk/>
            <pc:sldMk cId="4072428998" sldId="479"/>
            <ac:spMk id="36" creationId="{154138E0-9478-D372-E506-6854083E1549}"/>
          </ac:spMkLst>
        </pc:spChg>
        <pc:spChg chg="add del mod">
          <ac:chgData name="Völkel, Tobias" userId="S::ru22boda@fauad.fau.de::9c02bf22-18bb-468a-b263-c51c2dc523eb" providerId="AD" clId="Web-{6709EE73-F80D-4DB2-9D4C-E7C27E723DD8}" dt="2023-03-12T18:19:20.269" v="381"/>
          <ac:spMkLst>
            <pc:docMk/>
            <pc:sldMk cId="4072428998" sldId="479"/>
            <ac:spMk id="39" creationId="{97131A88-AE0D-6653-2D32-B33D84014A44}"/>
          </ac:spMkLst>
        </pc:spChg>
        <pc:picChg chg="add del mod ord modCrop">
          <ac:chgData name="Völkel, Tobias" userId="S::ru22boda@fauad.fau.de::9c02bf22-18bb-468a-b263-c51c2dc523eb" providerId="AD" clId="Web-{6709EE73-F80D-4DB2-9D4C-E7C27E723DD8}" dt="2023-03-12T18:19:00.393" v="374"/>
          <ac:picMkLst>
            <pc:docMk/>
            <pc:sldMk cId="4072428998" sldId="479"/>
            <ac:picMk id="34" creationId="{B25EDF1E-0511-FB07-09E6-BD372DA84F20}"/>
          </ac:picMkLst>
        </pc:picChg>
        <pc:picChg chg="add del mod ord modCrop">
          <ac:chgData name="Völkel, Tobias" userId="S::ru22boda@fauad.fau.de::9c02bf22-18bb-468a-b263-c51c2dc523eb" providerId="AD" clId="Web-{6709EE73-F80D-4DB2-9D4C-E7C27E723DD8}" dt="2023-03-12T18:19:17.565" v="380"/>
          <ac:picMkLst>
            <pc:docMk/>
            <pc:sldMk cId="4072428998" sldId="479"/>
            <ac:picMk id="37" creationId="{4653D85B-EB2E-C7AB-7A02-BAFD81D70369}"/>
          </ac:picMkLst>
        </pc:picChg>
        <pc:picChg chg="add mod">
          <ac:chgData name="Völkel, Tobias" userId="S::ru22boda@fauad.fau.de::9c02bf22-18bb-468a-b263-c51c2dc523eb" providerId="AD" clId="Web-{6709EE73-F80D-4DB2-9D4C-E7C27E723DD8}" dt="2023-03-12T18:19:39.347" v="384" actId="1076"/>
          <ac:picMkLst>
            <pc:docMk/>
            <pc:sldMk cId="4072428998" sldId="479"/>
            <ac:picMk id="40" creationId="{2EF307C3-CF95-318F-8A90-6FA5875BD7E7}"/>
          </ac:picMkLst>
        </pc:picChg>
      </pc:sldChg>
    </pc:docChg>
  </pc:docChgLst>
  <pc:docChgLst>
    <pc:chgData name="Völkel, Tobias" userId="S::ru22boda@fauad.fau.de::9c02bf22-18bb-468a-b263-c51c2dc523eb" providerId="AD" clId="Web-{DC31AC12-027A-41D0-A21D-2A81A748C800}"/>
    <pc:docChg chg="modSld sldOrd modSection">
      <pc:chgData name="Völkel, Tobias" userId="S::ru22boda@fauad.fau.de::9c02bf22-18bb-468a-b263-c51c2dc523eb" providerId="AD" clId="Web-{DC31AC12-027A-41D0-A21D-2A81A748C800}" dt="2023-03-12T20:12:18.867" v="51" actId="1076"/>
      <pc:docMkLst>
        <pc:docMk/>
      </pc:docMkLst>
      <pc:sldChg chg="addSp delSp modSp">
        <pc:chgData name="Völkel, Tobias" userId="S::ru22boda@fauad.fau.de::9c02bf22-18bb-468a-b263-c51c2dc523eb" providerId="AD" clId="Web-{DC31AC12-027A-41D0-A21D-2A81A748C800}" dt="2023-03-12T20:12:18.867" v="51" actId="1076"/>
        <pc:sldMkLst>
          <pc:docMk/>
          <pc:sldMk cId="1935823479" sldId="461"/>
        </pc:sldMkLst>
        <pc:spChg chg="mod">
          <ac:chgData name="Völkel, Tobias" userId="S::ru22boda@fauad.fau.de::9c02bf22-18bb-468a-b263-c51c2dc523eb" providerId="AD" clId="Web-{DC31AC12-027A-41D0-A21D-2A81A748C800}" dt="2023-03-12T20:11:26.521" v="15" actId="1076"/>
          <ac:spMkLst>
            <pc:docMk/>
            <pc:sldMk cId="1935823479" sldId="461"/>
            <ac:spMk id="3" creationId="{05E5A4A0-A94D-BD8A-DE59-EE5DB9F2D880}"/>
          </ac:spMkLst>
        </pc:spChg>
        <pc:spChg chg="mod">
          <ac:chgData name="Völkel, Tobias" userId="S::ru22boda@fauad.fau.de::9c02bf22-18bb-468a-b263-c51c2dc523eb" providerId="AD" clId="Web-{DC31AC12-027A-41D0-A21D-2A81A748C800}" dt="2023-03-12T20:11:26.537" v="16" actId="1076"/>
          <ac:spMkLst>
            <pc:docMk/>
            <pc:sldMk cId="1935823479" sldId="461"/>
            <ac:spMk id="4" creationId="{8BFEA6ED-2DB4-9F14-A0A2-05F87535397E}"/>
          </ac:spMkLst>
        </pc:spChg>
        <pc:spChg chg="del mod">
          <ac:chgData name="Völkel, Tobias" userId="S::ru22boda@fauad.fau.de::9c02bf22-18bb-468a-b263-c51c2dc523eb" providerId="AD" clId="Web-{DC31AC12-027A-41D0-A21D-2A81A748C800}" dt="2023-03-12T20:11:13.755" v="5"/>
          <ac:spMkLst>
            <pc:docMk/>
            <pc:sldMk cId="1935823479" sldId="461"/>
            <ac:spMk id="7" creationId="{377FD9EF-52ED-9BA1-2193-21FC03A2A87C}"/>
          </ac:spMkLst>
        </pc:spChg>
        <pc:spChg chg="del">
          <ac:chgData name="Völkel, Tobias" userId="S::ru22boda@fauad.fau.de::9c02bf22-18bb-468a-b263-c51c2dc523eb" providerId="AD" clId="Web-{DC31AC12-027A-41D0-A21D-2A81A748C800}" dt="2023-03-12T20:11:18.880" v="9"/>
          <ac:spMkLst>
            <pc:docMk/>
            <pc:sldMk cId="1935823479" sldId="461"/>
            <ac:spMk id="8" creationId="{9DF27481-03DD-D88B-D221-CA9A8BD55E7D}"/>
          </ac:spMkLst>
        </pc:spChg>
        <pc:spChg chg="del">
          <ac:chgData name="Völkel, Tobias" userId="S::ru22boda@fauad.fau.de::9c02bf22-18bb-468a-b263-c51c2dc523eb" providerId="AD" clId="Web-{DC31AC12-027A-41D0-A21D-2A81A748C800}" dt="2023-03-12T20:11:16.599" v="7"/>
          <ac:spMkLst>
            <pc:docMk/>
            <pc:sldMk cId="1935823479" sldId="461"/>
            <ac:spMk id="9" creationId="{E20AA695-7706-0067-1672-3305255F0C50}"/>
          </ac:spMkLst>
        </pc:spChg>
        <pc:spChg chg="del">
          <ac:chgData name="Völkel, Tobias" userId="S::ru22boda@fauad.fau.de::9c02bf22-18bb-468a-b263-c51c2dc523eb" providerId="AD" clId="Web-{DC31AC12-027A-41D0-A21D-2A81A748C800}" dt="2023-03-12T20:11:15.052" v="6"/>
          <ac:spMkLst>
            <pc:docMk/>
            <pc:sldMk cId="1935823479" sldId="461"/>
            <ac:spMk id="10" creationId="{F4BB34C1-4621-72B9-420C-60378EB82964}"/>
          </ac:spMkLst>
        </pc:spChg>
        <pc:spChg chg="del">
          <ac:chgData name="Völkel, Tobias" userId="S::ru22boda@fauad.fau.de::9c02bf22-18bb-468a-b263-c51c2dc523eb" providerId="AD" clId="Web-{DC31AC12-027A-41D0-A21D-2A81A748C800}" dt="2023-03-12T20:11:17.599" v="8"/>
          <ac:spMkLst>
            <pc:docMk/>
            <pc:sldMk cId="1935823479" sldId="461"/>
            <ac:spMk id="11" creationId="{0EC5A77C-6968-3140-5531-246EEC7D31FE}"/>
          </ac:spMkLst>
        </pc:spChg>
        <pc:spChg chg="del">
          <ac:chgData name="Völkel, Tobias" userId="S::ru22boda@fauad.fau.de::9c02bf22-18bb-468a-b263-c51c2dc523eb" providerId="AD" clId="Web-{DC31AC12-027A-41D0-A21D-2A81A748C800}" dt="2023-03-12T20:11:20.224" v="10"/>
          <ac:spMkLst>
            <pc:docMk/>
            <pc:sldMk cId="1935823479" sldId="461"/>
            <ac:spMk id="12" creationId="{E77991CF-1CF2-2A7E-9E6D-2B67698BA382}"/>
          </ac:spMkLst>
        </pc:spChg>
        <pc:spChg chg="mod">
          <ac:chgData name="Völkel, Tobias" userId="S::ru22boda@fauad.fau.de::9c02bf22-18bb-468a-b263-c51c2dc523eb" providerId="AD" clId="Web-{DC31AC12-027A-41D0-A21D-2A81A748C800}" dt="2023-03-12T20:11:26.553" v="17" actId="1076"/>
          <ac:spMkLst>
            <pc:docMk/>
            <pc:sldMk cId="1935823479" sldId="461"/>
            <ac:spMk id="14" creationId="{E542D4D6-2DBF-973E-CABE-2047AAAACF06}"/>
          </ac:spMkLst>
        </pc:spChg>
        <pc:spChg chg="del">
          <ac:chgData name="Völkel, Tobias" userId="S::ru22boda@fauad.fau.de::9c02bf22-18bb-468a-b263-c51c2dc523eb" providerId="AD" clId="Web-{DC31AC12-027A-41D0-A21D-2A81A748C800}" dt="2023-03-12T20:11:09.193" v="2"/>
          <ac:spMkLst>
            <pc:docMk/>
            <pc:sldMk cId="1935823479" sldId="461"/>
            <ac:spMk id="15" creationId="{C6D351DB-5CEB-943E-A3C9-52A637C07A33}"/>
          </ac:spMkLst>
        </pc:spChg>
        <pc:spChg chg="del">
          <ac:chgData name="Völkel, Tobias" userId="S::ru22boda@fauad.fau.de::9c02bf22-18bb-468a-b263-c51c2dc523eb" providerId="AD" clId="Web-{DC31AC12-027A-41D0-A21D-2A81A748C800}" dt="2023-03-12T20:11:11.490" v="3"/>
          <ac:spMkLst>
            <pc:docMk/>
            <pc:sldMk cId="1935823479" sldId="461"/>
            <ac:spMk id="17" creationId="{321B00DA-0C54-1DFD-FF85-36DC175FF2E1}"/>
          </ac:spMkLst>
        </pc:spChg>
        <pc:spChg chg="mod">
          <ac:chgData name="Völkel, Tobias" userId="S::ru22boda@fauad.fau.de::9c02bf22-18bb-468a-b263-c51c2dc523eb" providerId="AD" clId="Web-{DC31AC12-027A-41D0-A21D-2A81A748C800}" dt="2023-03-12T20:11:26.568" v="18" actId="1076"/>
          <ac:spMkLst>
            <pc:docMk/>
            <pc:sldMk cId="1935823479" sldId="461"/>
            <ac:spMk id="18" creationId="{84CA336F-AD78-260F-E1CE-F3280CD63783}"/>
          </ac:spMkLst>
        </pc:spChg>
        <pc:spChg chg="mod">
          <ac:chgData name="Völkel, Tobias" userId="S::ru22boda@fauad.fau.de::9c02bf22-18bb-468a-b263-c51c2dc523eb" providerId="AD" clId="Web-{DC31AC12-027A-41D0-A21D-2A81A748C800}" dt="2023-03-12T20:11:26.459" v="11" actId="1076"/>
          <ac:spMkLst>
            <pc:docMk/>
            <pc:sldMk cId="1935823479" sldId="461"/>
            <ac:spMk id="20" creationId="{090B08D9-39AA-BDDC-9807-DD7FF5928F93}"/>
          </ac:spMkLst>
        </pc:spChg>
        <pc:spChg chg="mod">
          <ac:chgData name="Völkel, Tobias" userId="S::ru22boda@fauad.fau.de::9c02bf22-18bb-468a-b263-c51c2dc523eb" providerId="AD" clId="Web-{DC31AC12-027A-41D0-A21D-2A81A748C800}" dt="2023-03-12T20:11:26.474" v="12" actId="1076"/>
          <ac:spMkLst>
            <pc:docMk/>
            <pc:sldMk cId="1935823479" sldId="461"/>
            <ac:spMk id="21" creationId="{8DB80EA5-9653-305E-BC65-CB041F34AB12}"/>
          </ac:spMkLst>
        </pc:spChg>
        <pc:spChg chg="mod">
          <ac:chgData name="Völkel, Tobias" userId="S::ru22boda@fauad.fau.de::9c02bf22-18bb-468a-b263-c51c2dc523eb" providerId="AD" clId="Web-{DC31AC12-027A-41D0-A21D-2A81A748C800}" dt="2023-03-12T20:11:26.490" v="13" actId="1076"/>
          <ac:spMkLst>
            <pc:docMk/>
            <pc:sldMk cId="1935823479" sldId="461"/>
            <ac:spMk id="22" creationId="{A766D317-FA3A-2906-C098-6CE25A4ED5B7}"/>
          </ac:spMkLst>
        </pc:spChg>
        <pc:spChg chg="mod">
          <ac:chgData name="Völkel, Tobias" userId="S::ru22boda@fauad.fau.de::9c02bf22-18bb-468a-b263-c51c2dc523eb" providerId="AD" clId="Web-{DC31AC12-027A-41D0-A21D-2A81A748C800}" dt="2023-03-12T20:11:26.506" v="14" actId="1076"/>
          <ac:spMkLst>
            <pc:docMk/>
            <pc:sldMk cId="1935823479" sldId="461"/>
            <ac:spMk id="23" creationId="{E2E54F89-0027-0F5F-A785-EB24F45D2E4F}"/>
          </ac:spMkLst>
        </pc:spChg>
        <pc:spChg chg="add mod">
          <ac:chgData name="Völkel, Tobias" userId="S::ru22boda@fauad.fau.de::9c02bf22-18bb-468a-b263-c51c2dc523eb" providerId="AD" clId="Web-{DC31AC12-027A-41D0-A21D-2A81A748C800}" dt="2023-03-12T20:11:57.069" v="30" actId="1076"/>
          <ac:spMkLst>
            <pc:docMk/>
            <pc:sldMk cId="1935823479" sldId="461"/>
            <ac:spMk id="24" creationId="{CEA5BA0A-8E35-423E-EF8F-75E8E3AD000C}"/>
          </ac:spMkLst>
        </pc:spChg>
        <pc:spChg chg="add mod">
          <ac:chgData name="Völkel, Tobias" userId="S::ru22boda@fauad.fau.de::9c02bf22-18bb-468a-b263-c51c2dc523eb" providerId="AD" clId="Web-{DC31AC12-027A-41D0-A21D-2A81A748C800}" dt="2023-03-12T20:12:18.867" v="51" actId="1076"/>
          <ac:spMkLst>
            <pc:docMk/>
            <pc:sldMk cId="1935823479" sldId="461"/>
            <ac:spMk id="26" creationId="{92EA6FF6-DF24-58DA-E183-126FCA886E26}"/>
          </ac:spMkLst>
        </pc:spChg>
      </pc:sldChg>
      <pc:sldChg chg="ord">
        <pc:chgData name="Völkel, Tobias" userId="S::ru22boda@fauad.fau.de::9c02bf22-18bb-468a-b263-c51c2dc523eb" providerId="AD" clId="Web-{DC31AC12-027A-41D0-A21D-2A81A748C800}" dt="2023-03-12T19:42:31.557" v="1"/>
        <pc:sldMkLst>
          <pc:docMk/>
          <pc:sldMk cId="4072428998" sldId="479"/>
        </pc:sldMkLst>
      </pc:sldChg>
    </pc:docChg>
  </pc:docChgLst>
  <pc:docChgLst>
    <pc:chgData name="Wilps, Julius" userId="6d1b960f-b4ab-492d-83e7-05f23c28b40e" providerId="ADAL" clId="{3F4FFD1E-BD3D-1A48-A91A-DD9E54F15304}"/>
    <pc:docChg chg="undo custSel addSld delSld modSld sldOrd modSection">
      <pc:chgData name="Wilps, Julius" userId="6d1b960f-b4ab-492d-83e7-05f23c28b40e" providerId="ADAL" clId="{3F4FFD1E-BD3D-1A48-A91A-DD9E54F15304}" dt="2023-03-13T22:50:34.435" v="3260" actId="20577"/>
      <pc:docMkLst>
        <pc:docMk/>
      </pc:docMkLst>
      <pc:sldChg chg="delCm">
        <pc:chgData name="Wilps, Julius" userId="6d1b960f-b4ab-492d-83e7-05f23c28b40e" providerId="ADAL" clId="{3F4FFD1E-BD3D-1A48-A91A-DD9E54F15304}" dt="2023-03-13T22:48:28.960" v="3208"/>
        <pc:sldMkLst>
          <pc:docMk/>
          <pc:sldMk cId="2157076567" sldId="26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Wilps, Julius" userId="6d1b960f-b4ab-492d-83e7-05f23c28b40e" providerId="ADAL" clId="{3F4FFD1E-BD3D-1A48-A91A-DD9E54F15304}" dt="2023-03-13T22:48:28.960" v="3208"/>
              <pc2:cmMkLst xmlns:pc2="http://schemas.microsoft.com/office/powerpoint/2019/9/main/command">
                <pc:docMk/>
                <pc:sldMk cId="2157076567" sldId="261"/>
                <pc2:cmMk id="{331258AA-B123-4BBC-8B9D-288A5A17635E}"/>
              </pc2:cmMkLst>
            </pc226:cmChg>
          </p:ext>
        </pc:extLst>
      </pc:sldChg>
      <pc:sldChg chg="modNotesTx">
        <pc:chgData name="Wilps, Julius" userId="6d1b960f-b4ab-492d-83e7-05f23c28b40e" providerId="ADAL" clId="{3F4FFD1E-BD3D-1A48-A91A-DD9E54F15304}" dt="2023-03-13T22:48:46.209" v="3210" actId="20577"/>
        <pc:sldMkLst>
          <pc:docMk/>
          <pc:sldMk cId="1082558063" sldId="292"/>
        </pc:sldMkLst>
      </pc:sldChg>
      <pc:sldChg chg="addSp delSp modSp mod ord">
        <pc:chgData name="Wilps, Julius" userId="6d1b960f-b4ab-492d-83e7-05f23c28b40e" providerId="ADAL" clId="{3F4FFD1E-BD3D-1A48-A91A-DD9E54F15304}" dt="2023-03-12T21:07:14.722" v="2226"/>
        <pc:sldMkLst>
          <pc:docMk/>
          <pc:sldMk cId="2648739550" sldId="423"/>
        </pc:sldMkLst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2" creationId="{9C85ECFA-6627-6610-FA82-04F15DEF3897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3" creationId="{2F4CE596-31EA-1E3C-EA73-1738D492EBAC}"/>
          </ac:spMkLst>
        </pc:spChg>
        <pc:spChg chg="del">
          <ac:chgData name="Wilps, Julius" userId="6d1b960f-b4ab-492d-83e7-05f23c28b40e" providerId="ADAL" clId="{3F4FFD1E-BD3D-1A48-A91A-DD9E54F15304}" dt="2023-03-12T21:07:08.090" v="2224" actId="478"/>
          <ac:spMkLst>
            <pc:docMk/>
            <pc:sldMk cId="2648739550" sldId="423"/>
            <ac:spMk id="4" creationId="{620F3424-E32B-4DE8-BF4D-4918B7628D43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5" creationId="{BACB8DF2-8AA7-6A8B-2842-62A4FE9DD70D}"/>
          </ac:spMkLst>
        </pc:spChg>
        <pc:spChg chg="del">
          <ac:chgData name="Wilps, Julius" userId="6d1b960f-b4ab-492d-83e7-05f23c28b40e" providerId="ADAL" clId="{3F4FFD1E-BD3D-1A48-A91A-DD9E54F15304}" dt="2023-03-12T21:07:08.090" v="2224" actId="478"/>
          <ac:spMkLst>
            <pc:docMk/>
            <pc:sldMk cId="2648739550" sldId="423"/>
            <ac:spMk id="6" creationId="{1CC6A956-A954-4940-A619-381D56C1A856}"/>
          </ac:spMkLst>
        </pc:spChg>
        <pc:spChg chg="del">
          <ac:chgData name="Wilps, Julius" userId="6d1b960f-b4ab-492d-83e7-05f23c28b40e" providerId="ADAL" clId="{3F4FFD1E-BD3D-1A48-A91A-DD9E54F15304}" dt="2023-03-12T21:07:08.090" v="2224" actId="478"/>
          <ac:spMkLst>
            <pc:docMk/>
            <pc:sldMk cId="2648739550" sldId="423"/>
            <ac:spMk id="7" creationId="{A2FADCE3-E850-4784-8F2E-D7BF01E4852E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8" creationId="{FEAF889F-FFBE-14C2-4E03-030A1B587F2C}"/>
          </ac:spMkLst>
        </pc:spChg>
        <pc:spChg chg="mod">
          <ac:chgData name="Wilps, Julius" userId="6d1b960f-b4ab-492d-83e7-05f23c28b40e" providerId="ADAL" clId="{3F4FFD1E-BD3D-1A48-A91A-DD9E54F15304}" dt="2023-03-12T21:06:40.319" v="2223" actId="20577"/>
          <ac:spMkLst>
            <pc:docMk/>
            <pc:sldMk cId="2648739550" sldId="423"/>
            <ac:spMk id="9" creationId="{06E69EF6-5F75-EF00-A656-2EF79BFF6CB7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3" creationId="{99127C2F-DA64-3FDC-2648-50E6EF649F67}"/>
          </ac:spMkLst>
        </pc:spChg>
        <pc:spChg chg="del">
          <ac:chgData name="Wilps, Julius" userId="6d1b960f-b4ab-492d-83e7-05f23c28b40e" providerId="ADAL" clId="{3F4FFD1E-BD3D-1A48-A91A-DD9E54F15304}" dt="2023-03-12T21:07:12.324" v="2225" actId="478"/>
          <ac:spMkLst>
            <pc:docMk/>
            <pc:sldMk cId="2648739550" sldId="423"/>
            <ac:spMk id="14" creationId="{B600814F-C5FB-A5A6-C7E7-672B5C1EA70C}"/>
          </ac:spMkLst>
        </pc:spChg>
        <pc:spChg chg="del">
          <ac:chgData name="Wilps, Julius" userId="6d1b960f-b4ab-492d-83e7-05f23c28b40e" providerId="ADAL" clId="{3F4FFD1E-BD3D-1A48-A91A-DD9E54F15304}" dt="2023-03-12T21:07:08.090" v="2224" actId="478"/>
          <ac:spMkLst>
            <pc:docMk/>
            <pc:sldMk cId="2648739550" sldId="423"/>
            <ac:spMk id="15" creationId="{4413BBC4-36E1-345F-4E9F-B08C48E06413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6" creationId="{78ECBDA5-4C8A-C7D2-479D-56D2FA557340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7" creationId="{5868E9A6-8774-E300-DF53-80C3529488FF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8" creationId="{428CA85F-5426-1E90-021F-C29F3C5FB762}"/>
          </ac:spMkLst>
        </pc:spChg>
        <pc:spChg chg="del">
          <ac:chgData name="Wilps, Julius" userId="6d1b960f-b4ab-492d-83e7-05f23c28b40e" providerId="ADAL" clId="{3F4FFD1E-BD3D-1A48-A91A-DD9E54F15304}" dt="2023-03-12T21:07:08.090" v="2224" actId="478"/>
          <ac:spMkLst>
            <pc:docMk/>
            <pc:sldMk cId="2648739550" sldId="423"/>
            <ac:spMk id="19" creationId="{9C574363-8D56-4907-88DB-F19E396AEB20}"/>
          </ac:spMkLst>
        </pc:spChg>
        <pc:spChg chg="del">
          <ac:chgData name="Wilps, Julius" userId="6d1b960f-b4ab-492d-83e7-05f23c28b40e" providerId="ADAL" clId="{3F4FFD1E-BD3D-1A48-A91A-DD9E54F15304}" dt="2023-03-12T21:07:08.090" v="2224" actId="478"/>
          <ac:spMkLst>
            <pc:docMk/>
            <pc:sldMk cId="2648739550" sldId="423"/>
            <ac:spMk id="20" creationId="{2AD08722-C387-44A0-8955-313CD959C971}"/>
          </ac:spMkLst>
        </pc:spChg>
        <pc:spChg chg="del">
          <ac:chgData name="Wilps, Julius" userId="6d1b960f-b4ab-492d-83e7-05f23c28b40e" providerId="ADAL" clId="{3F4FFD1E-BD3D-1A48-A91A-DD9E54F15304}" dt="2023-03-12T21:07:08.090" v="2224" actId="478"/>
          <ac:spMkLst>
            <pc:docMk/>
            <pc:sldMk cId="2648739550" sldId="423"/>
            <ac:spMk id="21" creationId="{03AEB1A7-4A22-4EA3-B891-8CE774B86F7E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22" creationId="{B48F069D-D289-6D48-FFFE-3F71CE791A7E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23" creationId="{FC662EFB-B49E-B513-5782-D6BEB85EADAE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24" creationId="{03CE22F2-529B-06D6-2DF0-DA92DB119ED4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25" creationId="{359AED68-F942-7482-9AB5-42BD717066E3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26" creationId="{630E2672-9AD5-2DBF-2185-B5C1906AE83A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27" creationId="{DDC28F6C-21C6-C346-E4F0-5A002FE04BFB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28" creationId="{307DD51F-AEE6-9E33-1DB7-F08334C9A1A7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29" creationId="{A988E7A6-39CF-1241-F3F4-068B4927234C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30" creationId="{1FEE2B29-54AD-9911-E2C1-199C5F5A9371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31" creationId="{3B07AD23-56DC-FA0C-9528-E66A3011E3CA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32" creationId="{F5B30542-FB2B-5591-6E2B-44281A833930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33" creationId="{A4CF2047-AC07-947F-0BBE-5915F5475E05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34" creationId="{85DA744D-24E5-41B1-4DE1-BA9926AE7CCB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35" creationId="{A9696414-C1D7-88E9-DCD2-5B59C0B38E84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36" creationId="{3C3A8B7D-1649-08E9-A1EF-4D898C2252BD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37" creationId="{413D60FB-A203-A11D-4BEC-A16CB3DD1393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38" creationId="{7DCBFDF4-5F3F-5015-2D46-93DAEF768F0D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39" creationId="{8005DBBB-B8F2-022E-C933-1B8EB3E0EF65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40" creationId="{49D929D8-C9C3-B630-126D-D9438A445E48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41" creationId="{B6FD9400-5B7D-7FB7-E27D-83802D051451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76" creationId="{CDEDC16D-7B27-877C-4EE3-63B479272429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77" creationId="{EFB152AE-E334-2F52-80B9-B9BDB7AF3676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78" creationId="{391DF7E6-F5DB-B64D-34DE-0D32B810CD5D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79" creationId="{8DCD6A35-0AB1-6947-6698-96F75A28E63E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80" creationId="{D5DB7C64-3E10-C728-E385-5F251454C0CF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81" creationId="{4E53E1FC-3753-CC64-56C4-64E4183C20E1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82" creationId="{49B2C976-4E3D-057C-301E-41CDE68F2DB7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83" creationId="{BFAFAC50-ECF8-939A-5795-9258BBC697D2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84" creationId="{2040FF7F-3BCD-F3E7-D144-34FB8568BF3D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85" creationId="{0BA42FFA-C1FF-0F60-3183-8B26495DC1E2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86" creationId="{34D1E696-60B4-959B-15D5-876E025F43C0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87" creationId="{36A972E3-0AC0-6CBD-8A1B-413C17D832BC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88" creationId="{E35E4FE1-5537-1D59-32DA-35263AD05780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89" creationId="{D0C7D5EC-786B-E946-65EC-AD20EF2E335D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90" creationId="{2A4C1C4B-2AEA-9AAB-D254-774769F84357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91" creationId="{64CD02F9-8422-843F-EB0F-93B95E6BBAC5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92" creationId="{53471AA5-F3D0-A568-0BEB-D6EC5E018ECC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93" creationId="{EFFBB5AB-A2D7-9640-4B21-AF3B94379BFF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94" creationId="{C84E8E1C-7D94-4811-723B-A14A68A522D1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95" creationId="{9BDB8B6D-CAB7-49E1-C103-AEFE723977FD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96" creationId="{153075F4-0A61-5F8B-8D2A-90DC7D56745A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97" creationId="{AFCF7BAA-F624-54C8-2372-DF2AD4246226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98" creationId="{AFE8EFC2-BA99-95E0-43EB-0FE5C4AADF31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99" creationId="{2E711E3A-410F-8C1A-AB57-720447CD8C85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00" creationId="{0F0CDB2C-36CD-0DEE-DC64-2B03C648AF1C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01" creationId="{39841771-86C0-0373-FB66-47197F5D519F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02" creationId="{56AE8754-6236-ED20-6C72-42A3A468A10F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03" creationId="{4F9422DF-D388-774D-40F6-F9906C80B344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04" creationId="{FD0406DC-A2A3-67D5-436F-279E81B5BA4F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05" creationId="{114342F9-BFAF-0FA1-BB1A-204936CBAA42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06" creationId="{F8750D74-E03F-AF70-1498-D883ED025CFB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07" creationId="{56C24025-027A-1E21-CA81-724865AC4A6A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08" creationId="{04D7AC6C-F540-E4DF-1F2E-23AD97DD4058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09" creationId="{59CF8180-78CB-63D6-8148-44195761C970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10" creationId="{53C4A1AF-E098-0505-F189-6EE7698B1DB2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11" creationId="{91FD7BBE-ACFA-8436-9023-C6017FB3A1D4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12" creationId="{84A5687F-37DB-AF12-C39C-A32F7D4FC6C5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13" creationId="{61CDEC60-474C-139C-12B4-7CEF51107874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14" creationId="{314B4587-1D0F-FCAC-0F1A-7B4948094AD7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15" creationId="{88BE90F3-E46F-5730-85F5-C172EB364B5B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16" creationId="{8A145020-6282-E50F-47F8-1B70450CE195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17" creationId="{E0312E5F-EF53-340F-9524-910B4EBEBE5F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18" creationId="{06BA8A31-A618-BBEB-68C2-8E8B4D44263D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19" creationId="{10C415CC-9CBA-41F9-E332-776D11FC04B5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20" creationId="{CE17EFBC-7567-9407-1E44-E3F30DE2B8BD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24" creationId="{CDC74179-F6D2-8D90-6893-7D39D1995192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25" creationId="{EDA6DC6A-762F-D70D-9C9F-00A713368783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26" creationId="{D32A643D-E2CF-1B65-C5EE-49B6CC9FE5E4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27" creationId="{23851F75-2DCE-9F14-0C9B-CEF4F13FA991}"/>
          </ac:spMkLst>
        </pc:spChg>
        <pc:spChg chg="add mod">
          <ac:chgData name="Wilps, Julius" userId="6d1b960f-b4ab-492d-83e7-05f23c28b40e" providerId="ADAL" clId="{3F4FFD1E-BD3D-1A48-A91A-DD9E54F15304}" dt="2023-03-12T21:07:14.722" v="2226"/>
          <ac:spMkLst>
            <pc:docMk/>
            <pc:sldMk cId="2648739550" sldId="423"/>
            <ac:spMk id="128" creationId="{E97F2DC3-0B12-2D28-D3E3-0B8E0E41C6C1}"/>
          </ac:spMkLst>
        </pc:spChg>
        <pc:graphicFrameChg chg="del">
          <ac:chgData name="Wilps, Julius" userId="6d1b960f-b4ab-492d-83e7-05f23c28b40e" providerId="ADAL" clId="{3F4FFD1E-BD3D-1A48-A91A-DD9E54F15304}" dt="2023-03-12T21:07:08.090" v="2224" actId="478"/>
          <ac:graphicFrameMkLst>
            <pc:docMk/>
            <pc:sldMk cId="2648739550" sldId="423"/>
            <ac:graphicFrameMk id="11" creationId="{166F07D9-B84C-554A-EC9E-1374AEFECDF4}"/>
          </ac:graphicFrameMkLst>
        </pc:graphicFrameChg>
        <pc:picChg chg="del">
          <ac:chgData name="Wilps, Julius" userId="6d1b960f-b4ab-492d-83e7-05f23c28b40e" providerId="ADAL" clId="{3F4FFD1E-BD3D-1A48-A91A-DD9E54F15304}" dt="2023-03-12T21:07:08.090" v="2224" actId="478"/>
          <ac:picMkLst>
            <pc:docMk/>
            <pc:sldMk cId="2648739550" sldId="423"/>
            <ac:picMk id="10" creationId="{9A8BCB35-777E-BB1C-41A0-2555CC450568}"/>
          </ac:picMkLst>
        </pc:picChg>
        <pc:picChg chg="del">
          <ac:chgData name="Wilps, Julius" userId="6d1b960f-b4ab-492d-83e7-05f23c28b40e" providerId="ADAL" clId="{3F4FFD1E-BD3D-1A48-A91A-DD9E54F15304}" dt="2023-03-12T21:07:08.090" v="2224" actId="478"/>
          <ac:picMkLst>
            <pc:docMk/>
            <pc:sldMk cId="2648739550" sldId="423"/>
            <ac:picMk id="12" creationId="{9F0971D8-CEDD-56C6-D5A5-E9C9B351E636}"/>
          </ac:picMkLst>
        </pc:picChg>
        <pc:picChg chg="add mod">
          <ac:chgData name="Wilps, Julius" userId="6d1b960f-b4ab-492d-83e7-05f23c28b40e" providerId="ADAL" clId="{3F4FFD1E-BD3D-1A48-A91A-DD9E54F15304}" dt="2023-03-12T21:07:14.722" v="2226"/>
          <ac:picMkLst>
            <pc:docMk/>
            <pc:sldMk cId="2648739550" sldId="423"/>
            <ac:picMk id="121" creationId="{71AA1D11-E739-7313-2065-0BEA2A92EC6B}"/>
          </ac:picMkLst>
        </pc:picChg>
        <pc:picChg chg="add mod">
          <ac:chgData name="Wilps, Julius" userId="6d1b960f-b4ab-492d-83e7-05f23c28b40e" providerId="ADAL" clId="{3F4FFD1E-BD3D-1A48-A91A-DD9E54F15304}" dt="2023-03-12T21:07:14.722" v="2226"/>
          <ac:picMkLst>
            <pc:docMk/>
            <pc:sldMk cId="2648739550" sldId="423"/>
            <ac:picMk id="122" creationId="{4C763507-702D-4486-A2DA-C4971E1E08DC}"/>
          </ac:picMkLst>
        </pc:picChg>
        <pc:picChg chg="add mod">
          <ac:chgData name="Wilps, Julius" userId="6d1b960f-b4ab-492d-83e7-05f23c28b40e" providerId="ADAL" clId="{3F4FFD1E-BD3D-1A48-A91A-DD9E54F15304}" dt="2023-03-12T21:07:14.722" v="2226"/>
          <ac:picMkLst>
            <pc:docMk/>
            <pc:sldMk cId="2648739550" sldId="423"/>
            <ac:picMk id="123" creationId="{486CD568-5255-95CD-B34E-3EC90A9327AC}"/>
          </ac:picMkLst>
        </pc:pic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42" creationId="{CA1C3D45-FCC3-F5BC-C007-3591A5363C5E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43" creationId="{FAA90A8E-598C-94DF-95C8-1ADA12A9C671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44" creationId="{E713F1A5-FD21-4597-CF92-84F6C0028955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45" creationId="{7EE198CA-B260-3922-CDCD-FA4FD40762D8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46" creationId="{F9FA8C3F-D9B2-8E8D-01B5-EC27DA95E4F2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47" creationId="{2662882B-0C4B-150F-2710-673BCF75C4CA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48" creationId="{E4E8904B-F715-7373-A873-3BEA8AAE1D90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49" creationId="{E4472512-7942-6BEA-B8CC-CB0066773CE0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50" creationId="{80DBFC24-9074-B218-E634-BDCE792D8CB6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51" creationId="{23EDB43B-0197-1942-3434-2FDF93BB4148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52" creationId="{FAAEC8AA-C671-A91B-DA54-8AE96AF4A77E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53" creationId="{3091BB6B-A96C-B228-D5A2-1A0675481B73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54" creationId="{0D70593C-0969-E539-4E8E-E33859FFB3B7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55" creationId="{9055DC02-12DB-3CA1-34AF-1C9B0E9EE839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56" creationId="{90014A1C-8BE9-3788-8CE3-F9850F4CCD86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57" creationId="{E4FD94D1-FF18-0BC1-2482-EDF557BCB14D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58" creationId="{6250FDBA-1D04-A76D-8E83-F94EFD8F2D1F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59" creationId="{BFF00E8B-5BA1-B021-B9E0-7AF6E5EA6DB4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60" creationId="{20E28B8A-5827-C080-3F5F-0246C6AF11AF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61" creationId="{1E968CBB-4865-A256-9CD6-318B26CF3945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62" creationId="{25FF3CBD-8D75-B436-6B28-6E6F1249AE89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63" creationId="{603C3AF7-4978-7347-D452-4CACEB6020B5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64" creationId="{AA12A8FA-9A29-8511-9C62-DD1F30BCC709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65" creationId="{B092858F-FE99-1907-77C6-E42E651975DE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66" creationId="{6B407A02-3036-A1C5-2C4E-B966A4D73BA9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67" creationId="{DF6406C1-72D6-C31C-78CD-DBB76C856AF6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68" creationId="{DD41AB0D-1300-471B-671E-17F9AA947AE3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69" creationId="{8AF4BD9C-DB55-56A3-9707-CC17009B23FD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70" creationId="{67CD29CD-327B-93D0-F8FD-DBC04E606057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71" creationId="{3AA02C0C-4583-5793-9DEB-82067B319D3F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72" creationId="{4CB8E3F4-FDFE-6E78-7D4F-C94ACC753C24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73" creationId="{27C7DAC9-CF6B-DD8E-6226-9C7F1B7D9DD2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74" creationId="{C4DDC5CA-9914-78E1-5218-1E471CD4A826}"/>
          </ac:cxnSpMkLst>
        </pc:cxnChg>
        <pc:cxnChg chg="add mod">
          <ac:chgData name="Wilps, Julius" userId="6d1b960f-b4ab-492d-83e7-05f23c28b40e" providerId="ADAL" clId="{3F4FFD1E-BD3D-1A48-A91A-DD9E54F15304}" dt="2023-03-12T21:07:14.722" v="2226"/>
          <ac:cxnSpMkLst>
            <pc:docMk/>
            <pc:sldMk cId="2648739550" sldId="423"/>
            <ac:cxnSpMk id="75" creationId="{1996AB81-3E2C-589C-4BC0-FD7834CBDB55}"/>
          </ac:cxnSpMkLst>
        </pc:cxnChg>
      </pc:sldChg>
      <pc:sldChg chg="modSp mod addCm delCm modNotesTx">
        <pc:chgData name="Wilps, Julius" userId="6d1b960f-b4ab-492d-83e7-05f23c28b40e" providerId="ADAL" clId="{3F4FFD1E-BD3D-1A48-A91A-DD9E54F15304}" dt="2023-03-13T22:48:55.676" v="3211"/>
        <pc:sldMkLst>
          <pc:docMk/>
          <pc:sldMk cId="3170326948" sldId="439"/>
        </pc:sldMkLst>
        <pc:spChg chg="mod">
          <ac:chgData name="Wilps, Julius" userId="6d1b960f-b4ab-492d-83e7-05f23c28b40e" providerId="ADAL" clId="{3F4FFD1E-BD3D-1A48-A91A-DD9E54F15304}" dt="2023-03-13T01:31:22.204" v="2764" actId="20577"/>
          <ac:spMkLst>
            <pc:docMk/>
            <pc:sldMk cId="3170326948" sldId="439"/>
            <ac:spMk id="17" creationId="{1150A66D-DCCD-3713-EC95-41368DBB40D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Wilps, Julius" userId="6d1b960f-b4ab-492d-83e7-05f23c28b40e" providerId="ADAL" clId="{3F4FFD1E-BD3D-1A48-A91A-DD9E54F15304}" dt="2023-03-13T22:48:55.676" v="3211"/>
              <pc2:cmMkLst xmlns:pc2="http://schemas.microsoft.com/office/powerpoint/2019/9/main/command">
                <pc:docMk/>
                <pc:sldMk cId="3170326948" sldId="439"/>
                <pc2:cmMk id="{C7B51470-6A7E-D748-B121-AB46446E868F}"/>
              </pc2:cmMkLst>
            </pc226:cmChg>
          </p:ext>
        </pc:extLst>
      </pc:sldChg>
      <pc:sldChg chg="modSp mod modNotesTx">
        <pc:chgData name="Wilps, Julius" userId="6d1b960f-b4ab-492d-83e7-05f23c28b40e" providerId="ADAL" clId="{3F4FFD1E-BD3D-1A48-A91A-DD9E54F15304}" dt="2023-03-13T22:49:26.053" v="3220" actId="20577"/>
        <pc:sldMkLst>
          <pc:docMk/>
          <pc:sldMk cId="35330425" sldId="444"/>
        </pc:sldMkLst>
        <pc:spChg chg="mod">
          <ac:chgData name="Wilps, Julius" userId="6d1b960f-b4ab-492d-83e7-05f23c28b40e" providerId="ADAL" clId="{3F4FFD1E-BD3D-1A48-A91A-DD9E54F15304}" dt="2023-03-13T01:37:37.202" v="2796" actId="20577"/>
          <ac:spMkLst>
            <pc:docMk/>
            <pc:sldMk cId="35330425" sldId="444"/>
            <ac:spMk id="8" creationId="{7F1D470B-4179-CD41-B7A3-741BABFCC2A0}"/>
          </ac:spMkLst>
        </pc:spChg>
        <pc:spChg chg="mod">
          <ac:chgData name="Wilps, Julius" userId="6d1b960f-b4ab-492d-83e7-05f23c28b40e" providerId="ADAL" clId="{3F4FFD1E-BD3D-1A48-A91A-DD9E54F15304}" dt="2023-03-13T01:37:29.451" v="2795" actId="20577"/>
          <ac:spMkLst>
            <pc:docMk/>
            <pc:sldMk cId="35330425" sldId="444"/>
            <ac:spMk id="15" creationId="{541AA52E-8F8A-1A51-6D79-088F7EA4F04E}"/>
          </ac:spMkLst>
        </pc:spChg>
        <pc:spChg chg="mod">
          <ac:chgData name="Wilps, Julius" userId="6d1b960f-b4ab-492d-83e7-05f23c28b40e" providerId="ADAL" clId="{3F4FFD1E-BD3D-1A48-A91A-DD9E54F15304}" dt="2023-03-13T01:36:51.950" v="2788" actId="20577"/>
          <ac:spMkLst>
            <pc:docMk/>
            <pc:sldMk cId="35330425" sldId="444"/>
            <ac:spMk id="17" creationId="{A70E028D-BF8B-B9E8-35FB-894B8366E8BF}"/>
          </ac:spMkLst>
        </pc:spChg>
      </pc:sldChg>
      <pc:sldChg chg="modSp mod modNotesTx">
        <pc:chgData name="Wilps, Julius" userId="6d1b960f-b4ab-492d-83e7-05f23c28b40e" providerId="ADAL" clId="{3F4FFD1E-BD3D-1A48-A91A-DD9E54F15304}" dt="2023-03-13T22:49:30.252" v="3221" actId="20577"/>
        <pc:sldMkLst>
          <pc:docMk/>
          <pc:sldMk cId="1565275033" sldId="445"/>
        </pc:sldMkLst>
        <pc:spChg chg="mod">
          <ac:chgData name="Wilps, Julius" userId="6d1b960f-b4ab-492d-83e7-05f23c28b40e" providerId="ADAL" clId="{3F4FFD1E-BD3D-1A48-A91A-DD9E54F15304}" dt="2023-03-13T01:37:46.186" v="2798" actId="20577"/>
          <ac:spMkLst>
            <pc:docMk/>
            <pc:sldMk cId="1565275033" sldId="445"/>
            <ac:spMk id="8" creationId="{35A62A79-AFF4-6F51-EC61-2C85E0EAD279}"/>
          </ac:spMkLst>
        </pc:spChg>
      </pc:sldChg>
      <pc:sldChg chg="modSp mod delCm modNotesTx">
        <pc:chgData name="Wilps, Julius" userId="6d1b960f-b4ab-492d-83e7-05f23c28b40e" providerId="ADAL" clId="{3F4FFD1E-BD3D-1A48-A91A-DD9E54F15304}" dt="2023-03-13T22:49:39.053" v="3223"/>
        <pc:sldMkLst>
          <pc:docMk/>
          <pc:sldMk cId="3420241547" sldId="446"/>
        </pc:sldMkLst>
        <pc:spChg chg="mod">
          <ac:chgData name="Wilps, Julius" userId="6d1b960f-b4ab-492d-83e7-05f23c28b40e" providerId="ADAL" clId="{3F4FFD1E-BD3D-1A48-A91A-DD9E54F15304}" dt="2023-03-13T01:38:21.240" v="2804" actId="20577"/>
          <ac:spMkLst>
            <pc:docMk/>
            <pc:sldMk cId="3420241547" sldId="446"/>
            <ac:spMk id="8" creationId="{6DDA62FC-F4CB-CCDE-85B0-48276F7D2A8C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Wilps, Julius" userId="6d1b960f-b4ab-492d-83e7-05f23c28b40e" providerId="ADAL" clId="{3F4FFD1E-BD3D-1A48-A91A-DD9E54F15304}" dt="2023-03-13T22:49:39.053" v="3223"/>
              <pc2:cmMkLst xmlns:pc2="http://schemas.microsoft.com/office/powerpoint/2019/9/main/command">
                <pc:docMk/>
                <pc:sldMk cId="3420241547" sldId="446"/>
                <pc2:cmMk id="{5F9B5E6E-CB9D-41E0-973D-32D94EDF1269}"/>
              </pc2:cmMkLst>
            </pc226:cmChg>
          </p:ext>
        </pc:extLst>
      </pc:sldChg>
      <pc:sldChg chg="modSp mod">
        <pc:chgData name="Wilps, Julius" userId="6d1b960f-b4ab-492d-83e7-05f23c28b40e" providerId="ADAL" clId="{3F4FFD1E-BD3D-1A48-A91A-DD9E54F15304}" dt="2023-03-13T01:39:57.552" v="2848" actId="14100"/>
        <pc:sldMkLst>
          <pc:docMk/>
          <pc:sldMk cId="1239922679" sldId="447"/>
        </pc:sldMkLst>
        <pc:spChg chg="mod">
          <ac:chgData name="Wilps, Julius" userId="6d1b960f-b4ab-492d-83e7-05f23c28b40e" providerId="ADAL" clId="{3F4FFD1E-BD3D-1A48-A91A-DD9E54F15304}" dt="2023-03-13T01:39:11.240" v="2822" actId="20577"/>
          <ac:spMkLst>
            <pc:docMk/>
            <pc:sldMk cId="1239922679" sldId="447"/>
            <ac:spMk id="8" creationId="{6DDA62FC-F4CB-CCDE-85B0-48276F7D2A8C}"/>
          </ac:spMkLst>
        </pc:spChg>
        <pc:spChg chg="mod">
          <ac:chgData name="Wilps, Julius" userId="6d1b960f-b4ab-492d-83e7-05f23c28b40e" providerId="ADAL" clId="{3F4FFD1E-BD3D-1A48-A91A-DD9E54F15304}" dt="2023-03-13T01:39:57.552" v="2848" actId="14100"/>
          <ac:spMkLst>
            <pc:docMk/>
            <pc:sldMk cId="1239922679" sldId="447"/>
            <ac:spMk id="13" creationId="{7206A4F9-F5D7-1FDB-D580-94D9EA3F7A74}"/>
          </ac:spMkLst>
        </pc:spChg>
        <pc:spChg chg="mod">
          <ac:chgData name="Wilps, Julius" userId="6d1b960f-b4ab-492d-83e7-05f23c28b40e" providerId="ADAL" clId="{3F4FFD1E-BD3D-1A48-A91A-DD9E54F15304}" dt="2023-03-13T01:39:32.263" v="2824" actId="20577"/>
          <ac:spMkLst>
            <pc:docMk/>
            <pc:sldMk cId="1239922679" sldId="447"/>
            <ac:spMk id="23" creationId="{C5304FA5-BDE6-6579-0552-0E925733E465}"/>
          </ac:spMkLst>
        </pc:spChg>
      </pc:sldChg>
      <pc:sldChg chg="modSp mod">
        <pc:chgData name="Wilps, Julius" userId="6d1b960f-b4ab-492d-83e7-05f23c28b40e" providerId="ADAL" clId="{3F4FFD1E-BD3D-1A48-A91A-DD9E54F15304}" dt="2023-03-13T01:49:12.678" v="2875" actId="20577"/>
        <pc:sldMkLst>
          <pc:docMk/>
          <pc:sldMk cId="4261430014" sldId="448"/>
        </pc:sldMkLst>
        <pc:spChg chg="mod">
          <ac:chgData name="Wilps, Julius" userId="6d1b960f-b4ab-492d-83e7-05f23c28b40e" providerId="ADAL" clId="{3F4FFD1E-BD3D-1A48-A91A-DD9E54F15304}" dt="2023-03-13T01:48:51.642" v="2871" actId="20577"/>
          <ac:spMkLst>
            <pc:docMk/>
            <pc:sldMk cId="4261430014" sldId="448"/>
            <ac:spMk id="12" creationId="{673BA53C-6B4A-B4E6-BED7-0EED73263DB3}"/>
          </ac:spMkLst>
        </pc:spChg>
        <pc:spChg chg="mod">
          <ac:chgData name="Wilps, Julius" userId="6d1b960f-b4ab-492d-83e7-05f23c28b40e" providerId="ADAL" clId="{3F4FFD1E-BD3D-1A48-A91A-DD9E54F15304}" dt="2023-03-13T01:49:02.918" v="2873" actId="20577"/>
          <ac:spMkLst>
            <pc:docMk/>
            <pc:sldMk cId="4261430014" sldId="448"/>
            <ac:spMk id="13" creationId="{ECE80654-7598-A8B3-BE28-748BE9DCEB75}"/>
          </ac:spMkLst>
        </pc:spChg>
        <pc:spChg chg="mod">
          <ac:chgData name="Wilps, Julius" userId="6d1b960f-b4ab-492d-83e7-05f23c28b40e" providerId="ADAL" clId="{3F4FFD1E-BD3D-1A48-A91A-DD9E54F15304}" dt="2023-03-13T01:49:12.678" v="2875" actId="20577"/>
          <ac:spMkLst>
            <pc:docMk/>
            <pc:sldMk cId="4261430014" sldId="448"/>
            <ac:spMk id="14" creationId="{31827BBB-FB24-8B6B-5531-9F7AA8DDA399}"/>
          </ac:spMkLst>
        </pc:spChg>
      </pc:sldChg>
      <pc:sldChg chg="modSp mod">
        <pc:chgData name="Wilps, Julius" userId="6d1b960f-b4ab-492d-83e7-05f23c28b40e" providerId="ADAL" clId="{3F4FFD1E-BD3D-1A48-A91A-DD9E54F15304}" dt="2023-03-13T01:51:18.875" v="2928" actId="20577"/>
        <pc:sldMkLst>
          <pc:docMk/>
          <pc:sldMk cId="3925525262" sldId="449"/>
        </pc:sldMkLst>
        <pc:spChg chg="mod">
          <ac:chgData name="Wilps, Julius" userId="6d1b960f-b4ab-492d-83e7-05f23c28b40e" providerId="ADAL" clId="{3F4FFD1E-BD3D-1A48-A91A-DD9E54F15304}" dt="2023-03-13T01:51:18.875" v="2928" actId="20577"/>
          <ac:spMkLst>
            <pc:docMk/>
            <pc:sldMk cId="3925525262" sldId="449"/>
            <ac:spMk id="14" creationId="{B600814F-C5FB-A5A6-C7E7-672B5C1EA70C}"/>
          </ac:spMkLst>
        </pc:spChg>
        <pc:picChg chg="mod">
          <ac:chgData name="Wilps, Julius" userId="6d1b960f-b4ab-492d-83e7-05f23c28b40e" providerId="ADAL" clId="{3F4FFD1E-BD3D-1A48-A91A-DD9E54F15304}" dt="2023-03-13T01:49:37.720" v="2907" actId="1076"/>
          <ac:picMkLst>
            <pc:docMk/>
            <pc:sldMk cId="3925525262" sldId="449"/>
            <ac:picMk id="3" creationId="{5A57FD55-50E3-298C-5E56-BEC300A26A48}"/>
          </ac:picMkLst>
        </pc:picChg>
        <pc:picChg chg="mod">
          <ac:chgData name="Wilps, Julius" userId="6d1b960f-b4ab-492d-83e7-05f23c28b40e" providerId="ADAL" clId="{3F4FFD1E-BD3D-1A48-A91A-DD9E54F15304}" dt="2023-03-13T01:49:33.471" v="2906" actId="1076"/>
          <ac:picMkLst>
            <pc:docMk/>
            <pc:sldMk cId="3925525262" sldId="449"/>
            <ac:picMk id="8" creationId="{AD89D024-B5B8-B0D7-A68D-D35740CCA1A4}"/>
          </ac:picMkLst>
        </pc:picChg>
      </pc:sldChg>
      <pc:sldChg chg="modSp mod">
        <pc:chgData name="Wilps, Julius" userId="6d1b960f-b4ab-492d-83e7-05f23c28b40e" providerId="ADAL" clId="{3F4FFD1E-BD3D-1A48-A91A-DD9E54F15304}" dt="2023-03-13T01:50:15.813" v="2909" actId="1076"/>
        <pc:sldMkLst>
          <pc:docMk/>
          <pc:sldMk cId="2948339296" sldId="451"/>
        </pc:sldMkLst>
        <pc:picChg chg="mod">
          <ac:chgData name="Wilps, Julius" userId="6d1b960f-b4ab-492d-83e7-05f23c28b40e" providerId="ADAL" clId="{3F4FFD1E-BD3D-1A48-A91A-DD9E54F15304}" dt="2023-03-13T01:50:15.813" v="2909" actId="1076"/>
          <ac:picMkLst>
            <pc:docMk/>
            <pc:sldMk cId="2948339296" sldId="451"/>
            <ac:picMk id="2" creationId="{77CC2142-FC2C-FC1D-4AC0-F7979B935E5E}"/>
          </ac:picMkLst>
        </pc:picChg>
      </pc:sldChg>
      <pc:sldChg chg="modSp mod">
        <pc:chgData name="Wilps, Julius" userId="6d1b960f-b4ab-492d-83e7-05f23c28b40e" providerId="ADAL" clId="{3F4FFD1E-BD3D-1A48-A91A-DD9E54F15304}" dt="2023-03-13T01:52:00.996" v="2947" actId="20577"/>
        <pc:sldMkLst>
          <pc:docMk/>
          <pc:sldMk cId="2655198833" sldId="453"/>
        </pc:sldMkLst>
        <pc:spChg chg="mod">
          <ac:chgData name="Wilps, Julius" userId="6d1b960f-b4ab-492d-83e7-05f23c28b40e" providerId="ADAL" clId="{3F4FFD1E-BD3D-1A48-A91A-DD9E54F15304}" dt="2023-03-13T01:51:40.212" v="2937" actId="20577"/>
          <ac:spMkLst>
            <pc:docMk/>
            <pc:sldMk cId="2655198833" sldId="453"/>
            <ac:spMk id="8" creationId="{5B21E990-A9C2-D829-9CA9-19830AD45666}"/>
          </ac:spMkLst>
        </pc:spChg>
        <pc:spChg chg="mod">
          <ac:chgData name="Wilps, Julius" userId="6d1b960f-b4ab-492d-83e7-05f23c28b40e" providerId="ADAL" clId="{3F4FFD1E-BD3D-1A48-A91A-DD9E54F15304}" dt="2023-03-13T01:50:47.197" v="2914" actId="20577"/>
          <ac:spMkLst>
            <pc:docMk/>
            <pc:sldMk cId="2655198833" sldId="453"/>
            <ac:spMk id="11" creationId="{EC364AED-479C-F7DA-9EF9-4B90512195B1}"/>
          </ac:spMkLst>
        </pc:spChg>
        <pc:spChg chg="mod">
          <ac:chgData name="Wilps, Julius" userId="6d1b960f-b4ab-492d-83e7-05f23c28b40e" providerId="ADAL" clId="{3F4FFD1E-BD3D-1A48-A91A-DD9E54F15304}" dt="2023-03-13T01:52:00.996" v="2947" actId="20577"/>
          <ac:spMkLst>
            <pc:docMk/>
            <pc:sldMk cId="2655198833" sldId="453"/>
            <ac:spMk id="12" creationId="{84012948-F49E-52CB-1B35-38C5377A581C}"/>
          </ac:spMkLst>
        </pc:spChg>
      </pc:sldChg>
      <pc:sldChg chg="modSp mod modCm modNotesTx">
        <pc:chgData name="Wilps, Julius" userId="6d1b960f-b4ab-492d-83e7-05f23c28b40e" providerId="ADAL" clId="{3F4FFD1E-BD3D-1A48-A91A-DD9E54F15304}" dt="2023-03-13T01:57:53.037" v="3118" actId="20577"/>
        <pc:sldMkLst>
          <pc:docMk/>
          <pc:sldMk cId="634732272" sldId="458"/>
        </pc:sldMkLst>
        <pc:spChg chg="mod">
          <ac:chgData name="Wilps, Julius" userId="6d1b960f-b4ab-492d-83e7-05f23c28b40e" providerId="ADAL" clId="{3F4FFD1E-BD3D-1A48-A91A-DD9E54F15304}" dt="2023-03-13T01:57:53.037" v="3118" actId="20577"/>
          <ac:spMkLst>
            <pc:docMk/>
            <pc:sldMk cId="634732272" sldId="458"/>
            <ac:spMk id="7" creationId="{A2FADCE3-E850-4784-8F2E-D7BF01E4852E}"/>
          </ac:spMkLst>
        </pc:spChg>
        <pc:spChg chg="mod">
          <ac:chgData name="Wilps, Julius" userId="6d1b960f-b4ab-492d-83e7-05f23c28b40e" providerId="ADAL" clId="{3F4FFD1E-BD3D-1A48-A91A-DD9E54F15304}" dt="2023-03-13T01:52:30.534" v="2962" actId="20577"/>
          <ac:spMkLst>
            <pc:docMk/>
            <pc:sldMk cId="634732272" sldId="458"/>
            <ac:spMk id="9" creationId="{06E69EF6-5F75-EF00-A656-2EF79BFF6CB7}"/>
          </ac:spMkLst>
        </pc:spChg>
        <pc:spChg chg="mod">
          <ac:chgData name="Wilps, Julius" userId="6d1b960f-b4ab-492d-83e7-05f23c28b40e" providerId="ADAL" clId="{3F4FFD1E-BD3D-1A48-A91A-DD9E54F15304}" dt="2023-03-13T01:52:57.649" v="2965" actId="20577"/>
          <ac:spMkLst>
            <pc:docMk/>
            <pc:sldMk cId="634732272" sldId="458"/>
            <ac:spMk id="20" creationId="{2AD08722-C387-44A0-8955-313CD959C97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Wilps, Julius" userId="6d1b960f-b4ab-492d-83e7-05f23c28b40e" providerId="ADAL" clId="{3F4FFD1E-BD3D-1A48-A91A-DD9E54F15304}" dt="2023-03-13T01:57:53.037" v="3118" actId="20577"/>
              <pc2:cmMkLst xmlns:pc2="http://schemas.microsoft.com/office/powerpoint/2019/9/main/command">
                <pc:docMk/>
                <pc:sldMk cId="634732272" sldId="458"/>
                <pc2:cmMk id="{DBEAE10B-61D3-4363-9172-86A46C20023A}"/>
              </pc2:cmMkLst>
            </pc226:cmChg>
            <pc226:cmChg xmlns:pc226="http://schemas.microsoft.com/office/powerpoint/2022/06/main/command" chg="mod">
              <pc226:chgData name="Wilps, Julius" userId="6d1b960f-b4ab-492d-83e7-05f23c28b40e" providerId="ADAL" clId="{3F4FFD1E-BD3D-1A48-A91A-DD9E54F15304}" dt="2023-03-13T01:52:57.649" v="2965" actId="20577"/>
              <pc2:cmMkLst xmlns:pc2="http://schemas.microsoft.com/office/powerpoint/2019/9/main/command">
                <pc:docMk/>
                <pc:sldMk cId="634732272" sldId="458"/>
                <pc2:cmMk id="{0B751B91-E3E0-4D79-8F12-D16ADCBC32BA}"/>
              </pc2:cmMkLst>
            </pc226:cmChg>
            <pc226:cmChg xmlns:pc226="http://schemas.microsoft.com/office/powerpoint/2022/06/main/command" chg="mod">
              <pc226:chgData name="Wilps, Julius" userId="6d1b960f-b4ab-492d-83e7-05f23c28b40e" providerId="ADAL" clId="{3F4FFD1E-BD3D-1A48-A91A-DD9E54F15304}" dt="2023-03-13T01:52:57.649" v="2965" actId="20577"/>
              <pc2:cmMkLst xmlns:pc2="http://schemas.microsoft.com/office/powerpoint/2019/9/main/command">
                <pc:docMk/>
                <pc:sldMk cId="634732272" sldId="458"/>
                <pc2:cmMk id="{FC456CF9-A427-4FA3-A8FF-F887655498C9}"/>
              </pc2:cmMkLst>
            </pc226:cmChg>
          </p:ext>
        </pc:extLst>
      </pc:sldChg>
      <pc:sldChg chg="add del ord">
        <pc:chgData name="Wilps, Julius" userId="6d1b960f-b4ab-492d-83e7-05f23c28b40e" providerId="ADAL" clId="{3F4FFD1E-BD3D-1A48-A91A-DD9E54F15304}" dt="2023-03-12T15:33:47.731" v="119" actId="2696"/>
        <pc:sldMkLst>
          <pc:docMk/>
          <pc:sldMk cId="184180007" sldId="459"/>
        </pc:sldMkLst>
      </pc:sldChg>
      <pc:sldChg chg="modSp delCm modCm">
        <pc:chgData name="Wilps, Julius" userId="6d1b960f-b4ab-492d-83e7-05f23c28b40e" providerId="ADAL" clId="{3F4FFD1E-BD3D-1A48-A91A-DD9E54F15304}" dt="2023-03-13T22:49:12.297" v="3215"/>
        <pc:sldMkLst>
          <pc:docMk/>
          <pc:sldMk cId="1935823479" sldId="461"/>
        </pc:sldMkLst>
        <pc:spChg chg="mod">
          <ac:chgData name="Wilps, Julius" userId="6d1b960f-b4ab-492d-83e7-05f23c28b40e" providerId="ADAL" clId="{3F4FFD1E-BD3D-1A48-A91A-DD9E54F15304}" dt="2023-03-12T16:02:57.807" v="343" actId="931"/>
          <ac:spMkLst>
            <pc:docMk/>
            <pc:sldMk cId="1935823479" sldId="461"/>
            <ac:spMk id="5" creationId="{DD6F2C6E-97C8-6F7C-C7CD-092FD51F189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Wilps, Julius" userId="6d1b960f-b4ab-492d-83e7-05f23c28b40e" providerId="ADAL" clId="{3F4FFD1E-BD3D-1A48-A91A-DD9E54F15304}" dt="2023-03-13T22:49:12.297" v="3215"/>
              <pc2:cmMkLst xmlns:pc2="http://schemas.microsoft.com/office/powerpoint/2019/9/main/command">
                <pc:docMk/>
                <pc:sldMk cId="1935823479" sldId="461"/>
                <pc2:cmMk id="{945CF8A1-8429-4942-98DF-2EC27F65D17A}"/>
              </pc2:cmMkLst>
            </pc226:cmChg>
            <pc226:cmChg xmlns:pc226="http://schemas.microsoft.com/office/powerpoint/2022/06/main/command" chg="del">
              <pc226:chgData name="Wilps, Julius" userId="6d1b960f-b4ab-492d-83e7-05f23c28b40e" providerId="ADAL" clId="{3F4FFD1E-BD3D-1A48-A91A-DD9E54F15304}" dt="2023-03-13T22:49:11.716" v="3214"/>
              <pc2:cmMkLst xmlns:pc2="http://schemas.microsoft.com/office/powerpoint/2019/9/main/command">
                <pc:docMk/>
                <pc:sldMk cId="1935823479" sldId="461"/>
                <pc2:cmMk id="{F5EDD7AC-146C-4CB1-B0D1-90B19B3FADA3}"/>
              </pc2:cmMkLst>
            </pc226:cmChg>
          </p:ext>
        </pc:extLst>
      </pc:sldChg>
      <pc:sldChg chg="modSp">
        <pc:chgData name="Wilps, Julius" userId="6d1b960f-b4ab-492d-83e7-05f23c28b40e" providerId="ADAL" clId="{3F4FFD1E-BD3D-1A48-A91A-DD9E54F15304}" dt="2023-03-12T16:02:57.807" v="343" actId="931"/>
        <pc:sldMkLst>
          <pc:docMk/>
          <pc:sldMk cId="2255513899" sldId="462"/>
        </pc:sldMkLst>
        <pc:spChg chg="mod">
          <ac:chgData name="Wilps, Julius" userId="6d1b960f-b4ab-492d-83e7-05f23c28b40e" providerId="ADAL" clId="{3F4FFD1E-BD3D-1A48-A91A-DD9E54F15304}" dt="2023-03-12T16:02:57.807" v="343" actId="931"/>
          <ac:spMkLst>
            <pc:docMk/>
            <pc:sldMk cId="2255513899" sldId="462"/>
            <ac:spMk id="7" creationId="{77755B5F-5B92-9175-C19B-E27003856FAD}"/>
          </ac:spMkLst>
        </pc:spChg>
      </pc:sldChg>
      <pc:sldChg chg="ord">
        <pc:chgData name="Wilps, Julius" userId="6d1b960f-b4ab-492d-83e7-05f23c28b40e" providerId="ADAL" clId="{3F4FFD1E-BD3D-1A48-A91A-DD9E54F15304}" dt="2023-03-12T16:14:14.040" v="570" actId="20578"/>
        <pc:sldMkLst>
          <pc:docMk/>
          <pc:sldMk cId="2866409584" sldId="463"/>
        </pc:sldMkLst>
      </pc:sldChg>
      <pc:sldChg chg="modSp mod">
        <pc:chgData name="Wilps, Julius" userId="6d1b960f-b4ab-492d-83e7-05f23c28b40e" providerId="ADAL" clId="{3F4FFD1E-BD3D-1A48-A91A-DD9E54F15304}" dt="2023-03-13T01:34:49.654" v="2775" actId="20577"/>
        <pc:sldMkLst>
          <pc:docMk/>
          <pc:sldMk cId="1610430565" sldId="466"/>
        </pc:sldMkLst>
        <pc:spChg chg="mod">
          <ac:chgData name="Wilps, Julius" userId="6d1b960f-b4ab-492d-83e7-05f23c28b40e" providerId="ADAL" clId="{3F4FFD1E-BD3D-1A48-A91A-DD9E54F15304}" dt="2023-03-13T01:34:49.654" v="2775" actId="20577"/>
          <ac:spMkLst>
            <pc:docMk/>
            <pc:sldMk cId="1610430565" sldId="466"/>
            <ac:spMk id="13" creationId="{72E3A46A-7F70-7A06-F7ED-EC2EE4FFF64E}"/>
          </ac:spMkLst>
        </pc:spChg>
      </pc:sldChg>
      <pc:sldChg chg="modSp mod">
        <pc:chgData name="Wilps, Julius" userId="6d1b960f-b4ab-492d-83e7-05f23c28b40e" providerId="ADAL" clId="{3F4FFD1E-BD3D-1A48-A91A-DD9E54F15304}" dt="2023-03-13T01:32:43.729" v="2772" actId="20577"/>
        <pc:sldMkLst>
          <pc:docMk/>
          <pc:sldMk cId="37830688" sldId="468"/>
        </pc:sldMkLst>
        <pc:spChg chg="mod">
          <ac:chgData name="Wilps, Julius" userId="6d1b960f-b4ab-492d-83e7-05f23c28b40e" providerId="ADAL" clId="{3F4FFD1E-BD3D-1A48-A91A-DD9E54F15304}" dt="2023-03-13T01:32:32.412" v="2771" actId="20577"/>
          <ac:spMkLst>
            <pc:docMk/>
            <pc:sldMk cId="37830688" sldId="468"/>
            <ac:spMk id="3" creationId="{75AAEFF0-7421-C140-30C7-7F433E6FDB49}"/>
          </ac:spMkLst>
        </pc:spChg>
        <pc:spChg chg="mod">
          <ac:chgData name="Wilps, Julius" userId="6d1b960f-b4ab-492d-83e7-05f23c28b40e" providerId="ADAL" clId="{3F4FFD1E-BD3D-1A48-A91A-DD9E54F15304}" dt="2023-03-13T01:32:43.729" v="2772" actId="20577"/>
          <ac:spMkLst>
            <pc:docMk/>
            <pc:sldMk cId="37830688" sldId="468"/>
            <ac:spMk id="11" creationId="{EAE8AD44-10D7-EC1B-B3BC-B13D69F9AA31}"/>
          </ac:spMkLst>
        </pc:spChg>
      </pc:sldChg>
      <pc:sldChg chg="delCm">
        <pc:chgData name="Wilps, Julius" userId="6d1b960f-b4ab-492d-83e7-05f23c28b40e" providerId="ADAL" clId="{3F4FFD1E-BD3D-1A48-A91A-DD9E54F15304}" dt="2023-03-13T22:49:16.116" v="3216"/>
        <pc:sldMkLst>
          <pc:docMk/>
          <pc:sldMk cId="4024365205" sldId="46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Wilps, Julius" userId="6d1b960f-b4ab-492d-83e7-05f23c28b40e" providerId="ADAL" clId="{3F4FFD1E-BD3D-1A48-A91A-DD9E54F15304}" dt="2023-03-13T22:49:16.116" v="3216"/>
              <pc2:cmMkLst xmlns:pc2="http://schemas.microsoft.com/office/powerpoint/2019/9/main/command">
                <pc:docMk/>
                <pc:sldMk cId="4024365205" sldId="469"/>
                <pc2:cmMk id="{71915EA6-0061-45D1-83A3-4402490C989D}"/>
              </pc2:cmMkLst>
            </pc226:cmChg>
          </p:ext>
        </pc:extLst>
      </pc:sldChg>
      <pc:sldChg chg="addSp delSp modSp add mod delCm modCm">
        <pc:chgData name="Wilps, Julius" userId="6d1b960f-b4ab-492d-83e7-05f23c28b40e" providerId="ADAL" clId="{3F4FFD1E-BD3D-1A48-A91A-DD9E54F15304}" dt="2023-03-13T22:49:19.901" v="3218"/>
        <pc:sldMkLst>
          <pc:docMk/>
          <pc:sldMk cId="1517247070" sldId="471"/>
        </pc:sldMkLst>
        <pc:spChg chg="mod">
          <ac:chgData name="Wilps, Julius" userId="6d1b960f-b4ab-492d-83e7-05f23c28b40e" providerId="ADAL" clId="{3F4FFD1E-BD3D-1A48-A91A-DD9E54F15304}" dt="2023-03-12T15:25:04.395" v="7"/>
          <ac:spMkLst>
            <pc:docMk/>
            <pc:sldMk cId="1517247070" sldId="471"/>
            <ac:spMk id="2" creationId="{ED6C46B3-551E-EB4A-1B19-8431C04D399B}"/>
          </ac:spMkLst>
        </pc:spChg>
        <pc:spChg chg="add del mod">
          <ac:chgData name="Wilps, Julius" userId="6d1b960f-b4ab-492d-83e7-05f23c28b40e" providerId="ADAL" clId="{3F4FFD1E-BD3D-1A48-A91A-DD9E54F15304}" dt="2023-03-12T15:25:51.693" v="15" actId="478"/>
          <ac:spMkLst>
            <pc:docMk/>
            <pc:sldMk cId="1517247070" sldId="471"/>
            <ac:spMk id="3" creationId="{831C9BCB-3309-8A58-66DC-D88262621794}"/>
          </ac:spMkLst>
        </pc:spChg>
        <pc:spChg chg="add del mod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6" creationId="{D38E4935-655C-3C8F-4339-5C2CDD3821AE}"/>
          </ac:spMkLst>
        </pc:spChg>
        <pc:spChg chg="mod">
          <ac:chgData name="Wilps, Julius" userId="6d1b960f-b4ab-492d-83e7-05f23c28b40e" providerId="ADAL" clId="{3F4FFD1E-BD3D-1A48-A91A-DD9E54F15304}" dt="2023-03-12T15:28:53.544" v="109" actId="20577"/>
          <ac:spMkLst>
            <pc:docMk/>
            <pc:sldMk cId="1517247070" sldId="471"/>
            <ac:spMk id="7" creationId="{77755B5F-5B92-9175-C19B-E27003856FAD}"/>
          </ac:spMkLst>
        </pc:spChg>
        <pc:spChg chg="del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8" creationId="{8B82F416-85EC-89D0-4DA8-E8DF89A8B5F7}"/>
          </ac:spMkLst>
        </pc:spChg>
        <pc:spChg chg="del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9" creationId="{5539DD1F-1C12-9436-6F52-48648B45A3FD}"/>
          </ac:spMkLst>
        </pc:spChg>
        <pc:spChg chg="add del mod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10" creationId="{846524CF-300E-3083-35A5-3E8D23D423F5}"/>
          </ac:spMkLst>
        </pc:spChg>
        <pc:spChg chg="del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11" creationId="{A0A93DC1-0775-F42A-84E8-46D46BCEB8E3}"/>
          </ac:spMkLst>
        </pc:spChg>
        <pc:spChg chg="add del mod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12" creationId="{DD2A3025-BB0F-617E-6B93-AE3D0FB58718}"/>
          </ac:spMkLst>
        </pc:spChg>
        <pc:spChg chg="del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13" creationId="{72E3A46A-7F70-7A06-F7ED-EC2EE4FFF64E}"/>
          </ac:spMkLst>
        </pc:spChg>
        <pc:spChg chg="add del mod">
          <ac:chgData name="Wilps, Julius" userId="6d1b960f-b4ab-492d-83e7-05f23c28b40e" providerId="ADAL" clId="{3F4FFD1E-BD3D-1A48-A91A-DD9E54F15304}" dt="2023-03-12T15:25:42.389" v="11" actId="478"/>
          <ac:spMkLst>
            <pc:docMk/>
            <pc:sldMk cId="1517247070" sldId="471"/>
            <ac:spMk id="14" creationId="{D304D983-89C3-C11C-678F-D0512C48D21B}"/>
          </ac:spMkLst>
        </pc:spChg>
        <pc:spChg chg="del">
          <ac:chgData name="Wilps, Julius" userId="6d1b960f-b4ab-492d-83e7-05f23c28b40e" providerId="ADAL" clId="{3F4FFD1E-BD3D-1A48-A91A-DD9E54F15304}" dt="2023-03-12T15:25:51.693" v="15" actId="478"/>
          <ac:spMkLst>
            <pc:docMk/>
            <pc:sldMk cId="1517247070" sldId="471"/>
            <ac:spMk id="15" creationId="{5C7155CA-E6CA-A72D-B376-8E480BCECD96}"/>
          </ac:spMkLst>
        </pc:spChg>
        <pc:spChg chg="add mod">
          <ac:chgData name="Wilps, Julius" userId="6d1b960f-b4ab-492d-83e7-05f23c28b40e" providerId="ADAL" clId="{3F4FFD1E-BD3D-1A48-A91A-DD9E54F15304}" dt="2023-03-12T19:18:53.221" v="1789" actId="1076"/>
          <ac:spMkLst>
            <pc:docMk/>
            <pc:sldMk cId="1517247070" sldId="471"/>
            <ac:spMk id="15" creationId="{7D61BF44-7E4E-22FD-57B0-FA53B13E246A}"/>
          </ac:spMkLst>
        </pc:spChg>
        <pc:spChg chg="del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16" creationId="{8DA56F8F-900A-C97D-06EF-891F22FCBA9A}"/>
          </ac:spMkLst>
        </pc:spChg>
        <pc:spChg chg="add del mod">
          <ac:chgData name="Wilps, Julius" userId="6d1b960f-b4ab-492d-83e7-05f23c28b40e" providerId="ADAL" clId="{3F4FFD1E-BD3D-1A48-A91A-DD9E54F15304}" dt="2023-03-12T19:18:58.605" v="1792"/>
          <ac:spMkLst>
            <pc:docMk/>
            <pc:sldMk cId="1517247070" sldId="471"/>
            <ac:spMk id="17" creationId="{7DE6835D-01DE-C218-CEEC-995C1514F560}"/>
          </ac:spMkLst>
        </pc:spChg>
        <pc:spChg chg="del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17" creationId="{CD83D319-F12A-1AA2-D827-2FF291AFC538}"/>
          </ac:spMkLst>
        </pc:spChg>
        <pc:spChg chg="del">
          <ac:chgData name="Wilps, Julius" userId="6d1b960f-b4ab-492d-83e7-05f23c28b40e" providerId="ADAL" clId="{3F4FFD1E-BD3D-1A48-A91A-DD9E54F15304}" dt="2023-03-12T15:25:50.208" v="14" actId="478"/>
          <ac:spMkLst>
            <pc:docMk/>
            <pc:sldMk cId="1517247070" sldId="471"/>
            <ac:spMk id="19" creationId="{0E697923-2C6B-7E5D-5EAB-9A3A48A2CF79}"/>
          </ac:spMkLst>
        </pc:spChg>
        <pc:spChg chg="del">
          <ac:chgData name="Wilps, Julius" userId="6d1b960f-b4ab-492d-83e7-05f23c28b40e" providerId="ADAL" clId="{3F4FFD1E-BD3D-1A48-A91A-DD9E54F15304}" dt="2023-03-12T15:25:50.208" v="14" actId="478"/>
          <ac:spMkLst>
            <pc:docMk/>
            <pc:sldMk cId="1517247070" sldId="471"/>
            <ac:spMk id="20" creationId="{2D020922-9790-FA06-69E6-D95B9E5DBBE5}"/>
          </ac:spMkLst>
        </pc:spChg>
        <pc:spChg chg="add del mod">
          <ac:chgData name="Wilps, Julius" userId="6d1b960f-b4ab-492d-83e7-05f23c28b40e" providerId="ADAL" clId="{3F4FFD1E-BD3D-1A48-A91A-DD9E54F15304}" dt="2023-03-12T15:25:50.208" v="14" actId="478"/>
          <ac:spMkLst>
            <pc:docMk/>
            <pc:sldMk cId="1517247070" sldId="471"/>
            <ac:spMk id="21" creationId="{E8680F16-938D-722A-9C4E-45A13E5B9BBC}"/>
          </ac:spMkLst>
        </pc:spChg>
        <pc:spChg chg="del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22" creationId="{45C4492B-81F3-C8F9-C8C4-B07E84CAB7F4}"/>
          </ac:spMkLst>
        </pc:spChg>
        <pc:spChg chg="del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23" creationId="{05DDE25B-51F1-D0E1-6C59-34A73D2B892B}"/>
          </ac:spMkLst>
        </pc:spChg>
        <pc:spChg chg="del">
          <ac:chgData name="Wilps, Julius" userId="6d1b960f-b4ab-492d-83e7-05f23c28b40e" providerId="ADAL" clId="{3F4FFD1E-BD3D-1A48-A91A-DD9E54F15304}" dt="2023-03-12T15:25:51.693" v="15" actId="478"/>
          <ac:spMkLst>
            <pc:docMk/>
            <pc:sldMk cId="1517247070" sldId="471"/>
            <ac:spMk id="24" creationId="{9B54641F-D5E5-CF13-ED20-525296D1786B}"/>
          </ac:spMkLst>
        </pc:spChg>
        <pc:spChg chg="del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26" creationId="{70020BB5-B308-A2E2-F4C8-90579362E27E}"/>
          </ac:spMkLst>
        </pc:spChg>
        <pc:spChg chg="del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27" creationId="{68A0F021-536D-3056-8100-39E0842AFEE7}"/>
          </ac:spMkLst>
        </pc:spChg>
        <pc:spChg chg="del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28" creationId="{021F9344-DF2C-5C22-6319-F615685D7A06}"/>
          </ac:spMkLst>
        </pc:spChg>
        <pc:spChg chg="del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29" creationId="{4748B73F-241C-BAB3-5D60-76AFFB1D4EC7}"/>
          </ac:spMkLst>
        </pc:spChg>
        <pc:spChg chg="del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30" creationId="{09670C48-1A79-65FA-36CD-F7D15F34C862}"/>
          </ac:spMkLst>
        </pc:spChg>
        <pc:spChg chg="del">
          <ac:chgData name="Wilps, Julius" userId="6d1b960f-b4ab-492d-83e7-05f23c28b40e" providerId="ADAL" clId="{3F4FFD1E-BD3D-1A48-A91A-DD9E54F15304}" dt="2023-03-12T15:25:44.009" v="12" actId="478"/>
          <ac:spMkLst>
            <pc:docMk/>
            <pc:sldMk cId="1517247070" sldId="471"/>
            <ac:spMk id="31" creationId="{0F9FA094-390E-C960-7F9B-1C384516A0D0}"/>
          </ac:spMkLst>
        </pc:spChg>
        <pc:spChg chg="add del mod">
          <ac:chgData name="Wilps, Julius" userId="6d1b960f-b4ab-492d-83e7-05f23c28b40e" providerId="ADAL" clId="{3F4FFD1E-BD3D-1A48-A91A-DD9E54F15304}" dt="2023-03-12T15:25:47.801" v="13" actId="478"/>
          <ac:spMkLst>
            <pc:docMk/>
            <pc:sldMk cId="1517247070" sldId="471"/>
            <ac:spMk id="32" creationId="{BD400564-41B9-A085-F0F9-26D95E7602DD}"/>
          </ac:spMkLst>
        </pc:spChg>
        <pc:spChg chg="add mod">
          <ac:chgData name="Wilps, Julius" userId="6d1b960f-b4ab-492d-83e7-05f23c28b40e" providerId="ADAL" clId="{3F4FFD1E-BD3D-1A48-A91A-DD9E54F15304}" dt="2023-03-12T15:26:03.779" v="17"/>
          <ac:spMkLst>
            <pc:docMk/>
            <pc:sldMk cId="1517247070" sldId="471"/>
            <ac:spMk id="33" creationId="{E1C32902-56B4-FC3B-DCC3-FA70A650CA2F}"/>
          </ac:spMkLst>
        </pc:spChg>
        <pc:spChg chg="add mod">
          <ac:chgData name="Wilps, Julius" userId="6d1b960f-b4ab-492d-83e7-05f23c28b40e" providerId="ADAL" clId="{3F4FFD1E-BD3D-1A48-A91A-DD9E54F15304}" dt="2023-03-12T15:26:03.779" v="17"/>
          <ac:spMkLst>
            <pc:docMk/>
            <pc:sldMk cId="1517247070" sldId="471"/>
            <ac:spMk id="34" creationId="{CCCF110F-BEB9-5772-ED4F-BADD73C739E7}"/>
          </ac:spMkLst>
        </pc:spChg>
        <pc:spChg chg="add mod">
          <ac:chgData name="Wilps, Julius" userId="6d1b960f-b4ab-492d-83e7-05f23c28b40e" providerId="ADAL" clId="{3F4FFD1E-BD3D-1A48-A91A-DD9E54F15304}" dt="2023-03-12T15:26:03.779" v="17"/>
          <ac:spMkLst>
            <pc:docMk/>
            <pc:sldMk cId="1517247070" sldId="471"/>
            <ac:spMk id="35" creationId="{0181BBE8-1E9E-3B15-82D1-D631491C95F8}"/>
          </ac:spMkLst>
        </pc:spChg>
        <pc:spChg chg="add mod">
          <ac:chgData name="Wilps, Julius" userId="6d1b960f-b4ab-492d-83e7-05f23c28b40e" providerId="ADAL" clId="{3F4FFD1E-BD3D-1A48-A91A-DD9E54F15304}" dt="2023-03-12T15:26:03.779" v="17"/>
          <ac:spMkLst>
            <pc:docMk/>
            <pc:sldMk cId="1517247070" sldId="471"/>
            <ac:spMk id="36" creationId="{475EB1E1-6A7A-B523-52FB-10355111A273}"/>
          </ac:spMkLst>
        </pc:spChg>
        <pc:spChg chg="add mod">
          <ac:chgData name="Wilps, Julius" userId="6d1b960f-b4ab-492d-83e7-05f23c28b40e" providerId="ADAL" clId="{3F4FFD1E-BD3D-1A48-A91A-DD9E54F15304}" dt="2023-03-13T01:35:39.253" v="2779" actId="20577"/>
          <ac:spMkLst>
            <pc:docMk/>
            <pc:sldMk cId="1517247070" sldId="471"/>
            <ac:spMk id="37" creationId="{2058006C-9154-CF10-AF3C-5916AFC4730D}"/>
          </ac:spMkLst>
        </pc:spChg>
        <pc:spChg chg="add mod">
          <ac:chgData name="Wilps, Julius" userId="6d1b960f-b4ab-492d-83e7-05f23c28b40e" providerId="ADAL" clId="{3F4FFD1E-BD3D-1A48-A91A-DD9E54F15304}" dt="2023-03-13T01:35:34.004" v="2777" actId="20577"/>
          <ac:spMkLst>
            <pc:docMk/>
            <pc:sldMk cId="1517247070" sldId="471"/>
            <ac:spMk id="38" creationId="{1660053A-4462-14DB-B427-BFCC12812152}"/>
          </ac:spMkLst>
        </pc:spChg>
        <pc:spChg chg="add mod">
          <ac:chgData name="Wilps, Julius" userId="6d1b960f-b4ab-492d-83e7-05f23c28b40e" providerId="ADAL" clId="{3F4FFD1E-BD3D-1A48-A91A-DD9E54F15304}" dt="2023-03-12T15:27:34.220" v="46" actId="20577"/>
          <ac:spMkLst>
            <pc:docMk/>
            <pc:sldMk cId="1517247070" sldId="471"/>
            <ac:spMk id="40" creationId="{5C37B42F-A0F3-0066-7F31-7B04BFAC105B}"/>
          </ac:spMkLst>
        </pc:spChg>
        <pc:graphicFrameChg chg="add del mod">
          <ac:chgData name="Wilps, Julius" userId="6d1b960f-b4ab-492d-83e7-05f23c28b40e" providerId="ADAL" clId="{3F4FFD1E-BD3D-1A48-A91A-DD9E54F15304}" dt="2023-03-12T15:25:54.428" v="16" actId="478"/>
          <ac:graphicFrameMkLst>
            <pc:docMk/>
            <pc:sldMk cId="1517247070" sldId="471"/>
            <ac:graphicFrameMk id="25" creationId="{8AB94F53-95DB-E007-AD2B-D9B0833381AE}"/>
          </ac:graphicFrameMkLst>
        </pc:graphicFrameChg>
        <pc:graphicFrameChg chg="add mod">
          <ac:chgData name="Wilps, Julius" userId="6d1b960f-b4ab-492d-83e7-05f23c28b40e" providerId="ADAL" clId="{3F4FFD1E-BD3D-1A48-A91A-DD9E54F15304}" dt="2023-03-13T01:36:05.059" v="2786" actId="20577"/>
          <ac:graphicFrameMkLst>
            <pc:docMk/>
            <pc:sldMk cId="1517247070" sldId="471"/>
            <ac:graphicFrameMk id="39" creationId="{DC303085-8EE0-C173-6D98-0A4523A30F36}"/>
          </ac:graphicFrameMkLst>
        </pc:graphicFrameChg>
        <pc:picChg chg="add mod">
          <ac:chgData name="Wilps, Julius" userId="6d1b960f-b4ab-492d-83e7-05f23c28b40e" providerId="ADAL" clId="{3F4FFD1E-BD3D-1A48-A91A-DD9E54F15304}" dt="2023-03-12T21:27:38.506" v="2718" actId="14826"/>
          <ac:picMkLst>
            <pc:docMk/>
            <pc:sldMk cId="1517247070" sldId="471"/>
            <ac:picMk id="4" creationId="{20ED2658-CC4A-D17F-7A68-491C999693E8}"/>
          </ac:picMkLst>
        </pc:picChg>
        <pc:picChg chg="del">
          <ac:chgData name="Wilps, Julius" userId="6d1b960f-b4ab-492d-83e7-05f23c28b40e" providerId="ADAL" clId="{3F4FFD1E-BD3D-1A48-A91A-DD9E54F15304}" dt="2023-03-12T15:25:40.375" v="9" actId="478"/>
          <ac:picMkLst>
            <pc:docMk/>
            <pc:sldMk cId="1517247070" sldId="471"/>
            <ac:picMk id="4" creationId="{6DC72998-D0BF-EB22-7D3C-442490F25D1C}"/>
          </ac:picMkLst>
        </pc:picChg>
        <pc:picChg chg="del">
          <ac:chgData name="Wilps, Julius" userId="6d1b960f-b4ab-492d-83e7-05f23c28b40e" providerId="ADAL" clId="{3F4FFD1E-BD3D-1A48-A91A-DD9E54F15304}" dt="2023-03-12T15:25:41.354" v="10" actId="478"/>
          <ac:picMkLst>
            <pc:docMk/>
            <pc:sldMk cId="1517247070" sldId="471"/>
            <ac:picMk id="5" creationId="{D42BDF2D-E3E0-C2F2-DA0C-E701488467D5}"/>
          </ac:picMkLst>
        </pc:picChg>
        <pc:picChg chg="add mod">
          <ac:chgData name="Wilps, Julius" userId="6d1b960f-b4ab-492d-83e7-05f23c28b40e" providerId="ADAL" clId="{3F4FFD1E-BD3D-1A48-A91A-DD9E54F15304}" dt="2023-03-12T19:16:05.714" v="1702" actId="1076"/>
          <ac:picMkLst>
            <pc:docMk/>
            <pc:sldMk cId="1517247070" sldId="471"/>
            <ac:picMk id="9" creationId="{05A6675F-2DE3-51FD-CB06-0366C205BA5F}"/>
          </ac:picMkLst>
        </pc:picChg>
        <pc:picChg chg="add mod">
          <ac:chgData name="Wilps, Julius" userId="6d1b960f-b4ab-492d-83e7-05f23c28b40e" providerId="ADAL" clId="{3F4FFD1E-BD3D-1A48-A91A-DD9E54F15304}" dt="2023-03-12T19:17:54.944" v="1728" actId="1076"/>
          <ac:picMkLst>
            <pc:docMk/>
            <pc:sldMk cId="1517247070" sldId="471"/>
            <ac:picMk id="10" creationId="{4A367D47-3503-B877-E629-E34A51F92BE0}"/>
          </ac:picMkLst>
        </pc:picChg>
        <pc:picChg chg="add mod">
          <ac:chgData name="Wilps, Julius" userId="6d1b960f-b4ab-492d-83e7-05f23c28b40e" providerId="ADAL" clId="{3F4FFD1E-BD3D-1A48-A91A-DD9E54F15304}" dt="2023-03-12T19:17:36.977" v="1723" actId="1076"/>
          <ac:picMkLst>
            <pc:docMk/>
            <pc:sldMk cId="1517247070" sldId="471"/>
            <ac:picMk id="12" creationId="{3B632815-F60F-6085-EBF1-ED4B0656DF25}"/>
          </ac:picMkLst>
        </pc:picChg>
        <pc:picChg chg="add mod">
          <ac:chgData name="Wilps, Julius" userId="6d1b960f-b4ab-492d-83e7-05f23c28b40e" providerId="ADAL" clId="{3F4FFD1E-BD3D-1A48-A91A-DD9E54F15304}" dt="2023-03-12T19:17:51.692" v="1727" actId="1076"/>
          <ac:picMkLst>
            <pc:docMk/>
            <pc:sldMk cId="1517247070" sldId="471"/>
            <ac:picMk id="14" creationId="{356A5F78-1AD4-0C7B-5490-27F6F3EB5E18}"/>
          </ac:picMkLst>
        </pc:picChg>
        <pc:picChg chg="add mod">
          <ac:chgData name="Wilps, Julius" userId="6d1b960f-b4ab-492d-83e7-05f23c28b40e" providerId="ADAL" clId="{3F4FFD1E-BD3D-1A48-A91A-DD9E54F15304}" dt="2023-03-12T19:17:44.292" v="1725" actId="571"/>
          <ac:picMkLst>
            <pc:docMk/>
            <pc:sldMk cId="1517247070" sldId="471"/>
            <ac:picMk id="16" creationId="{898980C3-C084-4A2F-189E-B152121627FC}"/>
          </ac:picMkLst>
        </pc:picChg>
        <pc:picChg chg="del">
          <ac:chgData name="Wilps, Julius" userId="6d1b960f-b4ab-492d-83e7-05f23c28b40e" providerId="ADAL" clId="{3F4FFD1E-BD3D-1A48-A91A-DD9E54F15304}" dt="2023-03-12T15:25:50.208" v="14" actId="478"/>
          <ac:picMkLst>
            <pc:docMk/>
            <pc:sldMk cId="1517247070" sldId="471"/>
            <ac:picMk id="18" creationId="{50CCC360-5856-10C9-1630-CD3487779812}"/>
          </ac:picMkLst>
        </pc:picChg>
        <pc:picChg chg="add mod">
          <ac:chgData name="Wilps, Julius" userId="6d1b960f-b4ab-492d-83e7-05f23c28b40e" providerId="ADAL" clId="{3F4FFD1E-BD3D-1A48-A91A-DD9E54F15304}" dt="2023-03-12T21:24:01.210" v="2717" actId="1076"/>
          <ac:picMkLst>
            <pc:docMk/>
            <pc:sldMk cId="1517247070" sldId="471"/>
            <ac:picMk id="42" creationId="{05DD2FBB-55B7-9474-0CF5-304BC8634FB4}"/>
          </ac:picMkLst>
        </pc:picChg>
        <pc:cxnChg chg="add mod">
          <ac:chgData name="Wilps, Julius" userId="6d1b960f-b4ab-492d-83e7-05f23c28b40e" providerId="ADAL" clId="{3F4FFD1E-BD3D-1A48-A91A-DD9E54F15304}" dt="2023-03-12T19:23:00.928" v="1862" actId="1037"/>
          <ac:cxnSpMkLst>
            <pc:docMk/>
            <pc:sldMk cId="1517247070" sldId="471"/>
            <ac:cxnSpMk id="5" creationId="{767EEA14-5415-02B5-D0F8-AF157C5D2DF5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Wilps, Julius" userId="6d1b960f-b4ab-492d-83e7-05f23c28b40e" providerId="ADAL" clId="{3F4FFD1E-BD3D-1A48-A91A-DD9E54F15304}" dt="2023-03-13T22:49:19.901" v="3218"/>
              <pc2:cmMkLst xmlns:pc2="http://schemas.microsoft.com/office/powerpoint/2019/9/main/command">
                <pc:docMk/>
                <pc:sldMk cId="1517247070" sldId="471"/>
                <pc2:cmMk id="{D5100408-4242-437A-B696-E093EF0BADC9}"/>
              </pc2:cmMkLst>
            </pc226:cmChg>
            <pc226:cmChg xmlns:pc226="http://schemas.microsoft.com/office/powerpoint/2022/06/main/command" chg="del mod">
              <pc226:chgData name="Wilps, Julius" userId="6d1b960f-b4ab-492d-83e7-05f23c28b40e" providerId="ADAL" clId="{3F4FFD1E-BD3D-1A48-A91A-DD9E54F15304}" dt="2023-03-13T22:49:19.316" v="3217"/>
              <pc2:cmMkLst xmlns:pc2="http://schemas.microsoft.com/office/powerpoint/2019/9/main/command">
                <pc:docMk/>
                <pc:sldMk cId="1517247070" sldId="471"/>
                <pc2:cmMk id="{F3120616-89A3-4AD9-BB43-0F011360DA08}"/>
              </pc2:cmMkLst>
            </pc226:cmChg>
          </p:ext>
        </pc:extLst>
      </pc:sldChg>
      <pc:sldChg chg="addSp delSp modSp add mod ord delCm modCm">
        <pc:chgData name="Wilps, Julius" userId="6d1b960f-b4ab-492d-83e7-05f23c28b40e" providerId="ADAL" clId="{3F4FFD1E-BD3D-1A48-A91A-DD9E54F15304}" dt="2023-03-13T22:49:07.330" v="3213"/>
        <pc:sldMkLst>
          <pc:docMk/>
          <pc:sldMk cId="1284442770" sldId="472"/>
        </pc:sldMkLst>
        <pc:spChg chg="mod">
          <ac:chgData name="Wilps, Julius" userId="6d1b960f-b4ab-492d-83e7-05f23c28b40e" providerId="ADAL" clId="{3F4FFD1E-BD3D-1A48-A91A-DD9E54F15304}" dt="2023-03-12T15:34:40.809" v="138" actId="20577"/>
          <ac:spMkLst>
            <pc:docMk/>
            <pc:sldMk cId="1284442770" sldId="472"/>
            <ac:spMk id="2" creationId="{ED6C46B3-551E-EB4A-1B19-8431C04D399B}"/>
          </ac:spMkLst>
        </pc:spChg>
        <pc:spChg chg="del">
          <ac:chgData name="Wilps, Julius" userId="6d1b960f-b4ab-492d-83e7-05f23c28b40e" providerId="ADAL" clId="{3F4FFD1E-BD3D-1A48-A91A-DD9E54F15304}" dt="2023-03-12T15:46:13.599" v="160" actId="478"/>
          <ac:spMkLst>
            <pc:docMk/>
            <pc:sldMk cId="1284442770" sldId="472"/>
            <ac:spMk id="4" creationId="{A057EA7B-7ABC-F088-A4C8-C283BE36EA33}"/>
          </ac:spMkLst>
        </pc:spChg>
        <pc:spChg chg="add mod">
          <ac:chgData name="Wilps, Julius" userId="6d1b960f-b4ab-492d-83e7-05f23c28b40e" providerId="ADAL" clId="{3F4FFD1E-BD3D-1A48-A91A-DD9E54F15304}" dt="2023-03-13T01:32:12.507" v="2769" actId="20577"/>
          <ac:spMkLst>
            <pc:docMk/>
            <pc:sldMk cId="1284442770" sldId="472"/>
            <ac:spMk id="5" creationId="{446B0656-F512-68C9-E3FD-323794E35C64}"/>
          </ac:spMkLst>
        </pc:spChg>
        <pc:spChg chg="mod">
          <ac:chgData name="Wilps, Julius" userId="6d1b960f-b4ab-492d-83e7-05f23c28b40e" providerId="ADAL" clId="{3F4FFD1E-BD3D-1A48-A91A-DD9E54F15304}" dt="2023-03-12T16:10:31.700" v="564" actId="13926"/>
          <ac:spMkLst>
            <pc:docMk/>
            <pc:sldMk cId="1284442770" sldId="472"/>
            <ac:spMk id="7" creationId="{77755B5F-5B92-9175-C19B-E27003856FAD}"/>
          </ac:spMkLst>
        </pc:spChg>
        <pc:spChg chg="add mod">
          <ac:chgData name="Wilps, Julius" userId="6d1b960f-b4ab-492d-83e7-05f23c28b40e" providerId="ADAL" clId="{3F4FFD1E-BD3D-1A48-A91A-DD9E54F15304}" dt="2023-03-12T16:01:47.614" v="339" actId="14100"/>
          <ac:spMkLst>
            <pc:docMk/>
            <pc:sldMk cId="1284442770" sldId="472"/>
            <ac:spMk id="8" creationId="{C2BA7683-840E-2310-1662-97B2A974E357}"/>
          </ac:spMkLst>
        </pc:spChg>
        <pc:spChg chg="mod">
          <ac:chgData name="Wilps, Julius" userId="6d1b960f-b4ab-492d-83e7-05f23c28b40e" providerId="ADAL" clId="{3F4FFD1E-BD3D-1A48-A91A-DD9E54F15304}" dt="2023-03-12T16:04:55.047" v="361" actId="14100"/>
          <ac:spMkLst>
            <pc:docMk/>
            <pc:sldMk cId="1284442770" sldId="472"/>
            <ac:spMk id="9" creationId="{5539DD1F-1C12-9436-6F52-48648B45A3FD}"/>
          </ac:spMkLst>
        </pc:spChg>
        <pc:spChg chg="mod">
          <ac:chgData name="Wilps, Julius" userId="6d1b960f-b4ab-492d-83e7-05f23c28b40e" providerId="ADAL" clId="{3F4FFD1E-BD3D-1A48-A91A-DD9E54F15304}" dt="2023-03-12T15:46:05.349" v="159" actId="20577"/>
          <ac:spMkLst>
            <pc:docMk/>
            <pc:sldMk cId="1284442770" sldId="472"/>
            <ac:spMk id="11" creationId="{9E862F88-2B6B-9D31-F69F-99B17FF1F480}"/>
          </ac:spMkLst>
        </pc:spChg>
        <pc:spChg chg="del">
          <ac:chgData name="Wilps, Julius" userId="6d1b960f-b4ab-492d-83e7-05f23c28b40e" providerId="ADAL" clId="{3F4FFD1E-BD3D-1A48-A91A-DD9E54F15304}" dt="2023-03-12T15:46:17.611" v="162" actId="478"/>
          <ac:spMkLst>
            <pc:docMk/>
            <pc:sldMk cId="1284442770" sldId="472"/>
            <ac:spMk id="13" creationId="{211818B6-2088-5941-F410-4879ED1104A8}"/>
          </ac:spMkLst>
        </pc:spChg>
        <pc:spChg chg="del mod topLvl">
          <ac:chgData name="Wilps, Julius" userId="6d1b960f-b4ab-492d-83e7-05f23c28b40e" providerId="ADAL" clId="{3F4FFD1E-BD3D-1A48-A91A-DD9E54F15304}" dt="2023-03-12T16:04:02.560" v="348" actId="478"/>
          <ac:spMkLst>
            <pc:docMk/>
            <pc:sldMk cId="1284442770" sldId="472"/>
            <ac:spMk id="15" creationId="{5C7155CA-E6CA-A72D-B376-8E480BCECD96}"/>
          </ac:spMkLst>
        </pc:spChg>
        <pc:spChg chg="mod topLvl">
          <ac:chgData name="Wilps, Julius" userId="6d1b960f-b4ab-492d-83e7-05f23c28b40e" providerId="ADAL" clId="{3F4FFD1E-BD3D-1A48-A91A-DD9E54F15304}" dt="2023-03-12T16:01:47.614" v="339" actId="14100"/>
          <ac:spMkLst>
            <pc:docMk/>
            <pc:sldMk cId="1284442770" sldId="472"/>
            <ac:spMk id="16" creationId="{8777DEF9-FED8-CA10-59CE-5E1AC36B06DD}"/>
          </ac:spMkLst>
        </pc:spChg>
        <pc:spChg chg="del mod">
          <ac:chgData name="Wilps, Julius" userId="6d1b960f-b4ab-492d-83e7-05f23c28b40e" providerId="ADAL" clId="{3F4FFD1E-BD3D-1A48-A91A-DD9E54F15304}" dt="2023-03-12T15:51:38.011" v="237" actId="478"/>
          <ac:spMkLst>
            <pc:docMk/>
            <pc:sldMk cId="1284442770" sldId="472"/>
            <ac:spMk id="17" creationId="{81174097-DBB7-64A7-58C9-4DB595CBE0E7}"/>
          </ac:spMkLst>
        </pc:spChg>
        <pc:spChg chg="del">
          <ac:chgData name="Wilps, Julius" userId="6d1b960f-b4ab-492d-83e7-05f23c28b40e" providerId="ADAL" clId="{3F4FFD1E-BD3D-1A48-A91A-DD9E54F15304}" dt="2023-03-12T15:46:15.215" v="161" actId="478"/>
          <ac:spMkLst>
            <pc:docMk/>
            <pc:sldMk cId="1284442770" sldId="472"/>
            <ac:spMk id="19" creationId="{3E2753B3-0734-7B11-7F7D-E0F2827D1E5B}"/>
          </ac:spMkLst>
        </pc:spChg>
        <pc:spChg chg="del">
          <ac:chgData name="Wilps, Julius" userId="6d1b960f-b4ab-492d-83e7-05f23c28b40e" providerId="ADAL" clId="{3F4FFD1E-BD3D-1A48-A91A-DD9E54F15304}" dt="2023-03-12T15:51:41.307" v="238" actId="478"/>
          <ac:spMkLst>
            <pc:docMk/>
            <pc:sldMk cId="1284442770" sldId="472"/>
            <ac:spMk id="20" creationId="{D4FC2B63-E7E7-12F9-1D6B-98845D1B1D2B}"/>
          </ac:spMkLst>
        </pc:spChg>
        <pc:spChg chg="del">
          <ac:chgData name="Wilps, Julius" userId="6d1b960f-b4ab-492d-83e7-05f23c28b40e" providerId="ADAL" clId="{3F4FFD1E-BD3D-1A48-A91A-DD9E54F15304}" dt="2023-03-12T15:51:43.692" v="239" actId="478"/>
          <ac:spMkLst>
            <pc:docMk/>
            <pc:sldMk cId="1284442770" sldId="472"/>
            <ac:spMk id="21" creationId="{E4F597D5-8DF0-CAFD-461E-060B703D5DD2}"/>
          </ac:spMkLst>
        </pc:spChg>
        <pc:spChg chg="add mod">
          <ac:chgData name="Wilps, Julius" userId="6d1b960f-b4ab-492d-83e7-05f23c28b40e" providerId="ADAL" clId="{3F4FFD1E-BD3D-1A48-A91A-DD9E54F15304}" dt="2023-03-12T16:05:54.235" v="415" actId="1076"/>
          <ac:spMkLst>
            <pc:docMk/>
            <pc:sldMk cId="1284442770" sldId="472"/>
            <ac:spMk id="22" creationId="{14E099C3-739B-F0E9-BCD4-5BDF1D8D08F2}"/>
          </ac:spMkLst>
        </pc:spChg>
        <pc:spChg chg="mod">
          <ac:chgData name="Wilps, Julius" userId="6d1b960f-b4ab-492d-83e7-05f23c28b40e" providerId="ADAL" clId="{3F4FFD1E-BD3D-1A48-A91A-DD9E54F15304}" dt="2023-03-12T16:07:19.542" v="475" actId="14826"/>
          <ac:spMkLst>
            <pc:docMk/>
            <pc:sldMk cId="1284442770" sldId="472"/>
            <ac:spMk id="27" creationId="{6CF7BD2C-1D65-8B84-5553-8CD9F55FF11A}"/>
          </ac:spMkLst>
        </pc:spChg>
        <pc:grpChg chg="add del mod">
          <ac:chgData name="Wilps, Julius" userId="6d1b960f-b4ab-492d-83e7-05f23c28b40e" providerId="ADAL" clId="{3F4FFD1E-BD3D-1A48-A91A-DD9E54F15304}" dt="2023-03-12T16:01:40.444" v="337" actId="164"/>
          <ac:grpSpMkLst>
            <pc:docMk/>
            <pc:sldMk cId="1284442770" sldId="472"/>
            <ac:grpSpMk id="10" creationId="{D96FAAF7-D41A-1235-E03B-C272B80AD012}"/>
          </ac:grpSpMkLst>
        </pc:grpChg>
        <pc:grpChg chg="add del mod">
          <ac:chgData name="Wilps, Julius" userId="6d1b960f-b4ab-492d-83e7-05f23c28b40e" providerId="ADAL" clId="{3F4FFD1E-BD3D-1A48-A91A-DD9E54F15304}" dt="2023-03-12T16:04:17.303" v="349" actId="478"/>
          <ac:grpSpMkLst>
            <pc:docMk/>
            <pc:sldMk cId="1284442770" sldId="472"/>
            <ac:grpSpMk id="12" creationId="{BE3C06F5-4ECA-7F4C-D3FB-F01BD0C87D03}"/>
          </ac:grpSpMkLst>
        </pc:grpChg>
        <pc:grpChg chg="add mod">
          <ac:chgData name="Wilps, Julius" userId="6d1b960f-b4ab-492d-83e7-05f23c28b40e" providerId="ADAL" clId="{3F4FFD1E-BD3D-1A48-A91A-DD9E54F15304}" dt="2023-03-12T16:09:19.859" v="561" actId="1076"/>
          <ac:grpSpMkLst>
            <pc:docMk/>
            <pc:sldMk cId="1284442770" sldId="472"/>
            <ac:grpSpMk id="23" creationId="{1E3A52CD-04C4-1250-4A9A-98DD985B9548}"/>
          </ac:grpSpMkLst>
        </pc:grpChg>
        <pc:grpChg chg="add mod">
          <ac:chgData name="Wilps, Julius" userId="6d1b960f-b4ab-492d-83e7-05f23c28b40e" providerId="ADAL" clId="{3F4FFD1E-BD3D-1A48-A91A-DD9E54F15304}" dt="2023-03-12T16:06:07.692" v="417" actId="1076"/>
          <ac:grpSpMkLst>
            <pc:docMk/>
            <pc:sldMk cId="1284442770" sldId="472"/>
            <ac:grpSpMk id="24" creationId="{051A5957-1633-20C9-C0F1-41AC788FE19B}"/>
          </ac:grpSpMkLst>
        </pc:grpChg>
        <pc:grpChg chg="add mod">
          <ac:chgData name="Wilps, Julius" userId="6d1b960f-b4ab-492d-83e7-05f23c28b40e" providerId="ADAL" clId="{3F4FFD1E-BD3D-1A48-A91A-DD9E54F15304}" dt="2023-03-12T16:07:19.542" v="475" actId="14826"/>
          <ac:grpSpMkLst>
            <pc:docMk/>
            <pc:sldMk cId="1284442770" sldId="472"/>
            <ac:grpSpMk id="25" creationId="{F16CCAEB-FB69-F9BA-677F-AE209444D0E1}"/>
          </ac:grpSpMkLst>
        </pc:grpChg>
        <pc:graphicFrameChg chg="add mod">
          <ac:chgData name="Wilps, Julius" userId="6d1b960f-b4ab-492d-83e7-05f23c28b40e" providerId="ADAL" clId="{3F4FFD1E-BD3D-1A48-A91A-DD9E54F15304}" dt="2023-03-12T16:09:35.226" v="563" actId="1076"/>
          <ac:graphicFrameMkLst>
            <pc:docMk/>
            <pc:sldMk cId="1284442770" sldId="472"/>
            <ac:graphicFrameMk id="3" creationId="{50F34847-9E5C-CF5F-A787-63C69AB8E5CB}"/>
          </ac:graphicFrameMkLst>
        </pc:graphicFrameChg>
        <pc:picChg chg="del">
          <ac:chgData name="Wilps, Julius" userId="6d1b960f-b4ab-492d-83e7-05f23c28b40e" providerId="ADAL" clId="{3F4FFD1E-BD3D-1A48-A91A-DD9E54F15304}" dt="2023-03-12T15:38:44.526" v="139" actId="478"/>
          <ac:picMkLst>
            <pc:docMk/>
            <pc:sldMk cId="1284442770" sldId="472"/>
            <ac:picMk id="6" creationId="{8D9E526E-B73C-FF50-0655-794AE74BF2A8}"/>
          </ac:picMkLst>
        </pc:picChg>
        <pc:picChg chg="add mod">
          <ac:chgData name="Wilps, Julius" userId="6d1b960f-b4ab-492d-83e7-05f23c28b40e" providerId="ADAL" clId="{3F4FFD1E-BD3D-1A48-A91A-DD9E54F15304}" dt="2023-03-12T16:05:31.745" v="398" actId="1076"/>
          <ac:picMkLst>
            <pc:docMk/>
            <pc:sldMk cId="1284442770" sldId="472"/>
            <ac:picMk id="18" creationId="{A711F477-588F-C93F-3BFC-2C92E1841C52}"/>
          </ac:picMkLst>
        </pc:picChg>
        <pc:picChg chg="mod">
          <ac:chgData name="Wilps, Julius" userId="6d1b960f-b4ab-492d-83e7-05f23c28b40e" providerId="ADAL" clId="{3F4FFD1E-BD3D-1A48-A91A-DD9E54F15304}" dt="2023-03-12T16:07:19.542" v="475" actId="14826"/>
          <ac:picMkLst>
            <pc:docMk/>
            <pc:sldMk cId="1284442770" sldId="472"/>
            <ac:picMk id="26" creationId="{FEAD3E2A-8D50-CA9C-0E03-B15E8E82BB92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Wilps, Julius" userId="6d1b960f-b4ab-492d-83e7-05f23c28b40e" providerId="ADAL" clId="{3F4FFD1E-BD3D-1A48-A91A-DD9E54F15304}" dt="2023-03-13T22:49:07.330" v="3213"/>
              <pc2:cmMkLst xmlns:pc2="http://schemas.microsoft.com/office/powerpoint/2019/9/main/command">
                <pc:docMk/>
                <pc:sldMk cId="1284442770" sldId="472"/>
                <pc2:cmMk id="{5A40A181-2497-4F99-AA4A-EA266A83E216}"/>
              </pc2:cmMkLst>
            </pc226:cmChg>
          </p:ext>
        </pc:extLst>
      </pc:sldChg>
      <pc:sldChg chg="add del ord">
        <pc:chgData name="Wilps, Julius" userId="6d1b960f-b4ab-492d-83e7-05f23c28b40e" providerId="ADAL" clId="{3F4FFD1E-BD3D-1A48-A91A-DD9E54F15304}" dt="2023-03-12T16:14:27.172" v="572" actId="2890"/>
        <pc:sldMkLst>
          <pc:docMk/>
          <pc:sldMk cId="915988518" sldId="473"/>
        </pc:sldMkLst>
      </pc:sldChg>
      <pc:sldChg chg="addSp delSp modSp add mod ord delCm modCm">
        <pc:chgData name="Wilps, Julius" userId="6d1b960f-b4ab-492d-83e7-05f23c28b40e" providerId="ADAL" clId="{3F4FFD1E-BD3D-1A48-A91A-DD9E54F15304}" dt="2023-03-13T22:49:21.734" v="3219"/>
        <pc:sldMkLst>
          <pc:docMk/>
          <pc:sldMk cId="1715379756" sldId="473"/>
        </pc:sldMkLst>
        <pc:spChg chg="mod">
          <ac:chgData name="Wilps, Julius" userId="6d1b960f-b4ab-492d-83e7-05f23c28b40e" providerId="ADAL" clId="{3F4FFD1E-BD3D-1A48-A91A-DD9E54F15304}" dt="2023-03-12T16:14:43.623" v="583" actId="20577"/>
          <ac:spMkLst>
            <pc:docMk/>
            <pc:sldMk cId="1715379756" sldId="473"/>
            <ac:spMk id="2" creationId="{ED6C46B3-551E-EB4A-1B19-8431C04D399B}"/>
          </ac:spMkLst>
        </pc:spChg>
        <pc:spChg chg="mod">
          <ac:chgData name="Wilps, Julius" userId="6d1b960f-b4ab-492d-83e7-05f23c28b40e" providerId="ADAL" clId="{3F4FFD1E-BD3D-1A48-A91A-DD9E54F15304}" dt="2023-03-12T16:48:56.699" v="1095" actId="6549"/>
          <ac:spMkLst>
            <pc:docMk/>
            <pc:sldMk cId="1715379756" sldId="473"/>
            <ac:spMk id="5" creationId="{446B0656-F512-68C9-E3FD-323794E35C64}"/>
          </ac:spMkLst>
        </pc:spChg>
        <pc:spChg chg="mod">
          <ac:chgData name="Wilps, Julius" userId="6d1b960f-b4ab-492d-83e7-05f23c28b40e" providerId="ADAL" clId="{3F4FFD1E-BD3D-1A48-A91A-DD9E54F15304}" dt="2023-03-12T16:48:59.604" v="1097"/>
          <ac:spMkLst>
            <pc:docMk/>
            <pc:sldMk cId="1715379756" sldId="473"/>
            <ac:spMk id="6" creationId="{341CB3F3-4FEF-18EC-93E6-AAB1D3503C39}"/>
          </ac:spMkLst>
        </pc:spChg>
        <pc:spChg chg="mod">
          <ac:chgData name="Wilps, Julius" userId="6d1b960f-b4ab-492d-83e7-05f23c28b40e" providerId="ADAL" clId="{3F4FFD1E-BD3D-1A48-A91A-DD9E54F15304}" dt="2023-03-12T17:13:48.468" v="1573" actId="13926"/>
          <ac:spMkLst>
            <pc:docMk/>
            <pc:sldMk cId="1715379756" sldId="473"/>
            <ac:spMk id="7" creationId="{77755B5F-5B92-9175-C19B-E27003856FAD}"/>
          </ac:spMkLst>
        </pc:spChg>
        <pc:spChg chg="mod">
          <ac:chgData name="Wilps, Julius" userId="6d1b960f-b4ab-492d-83e7-05f23c28b40e" providerId="ADAL" clId="{3F4FFD1E-BD3D-1A48-A91A-DD9E54F15304}" dt="2023-03-12T16:48:59.604" v="1097"/>
          <ac:spMkLst>
            <pc:docMk/>
            <pc:sldMk cId="1715379756" sldId="473"/>
            <ac:spMk id="8" creationId="{0CD63008-C548-9FB1-2297-2318C7A3741F}"/>
          </ac:spMkLst>
        </pc:spChg>
        <pc:spChg chg="add del mod">
          <ac:chgData name="Wilps, Julius" userId="6d1b960f-b4ab-492d-83e7-05f23c28b40e" providerId="ADAL" clId="{3F4FFD1E-BD3D-1A48-A91A-DD9E54F15304}" dt="2023-03-12T19:21:06.672" v="1803"/>
          <ac:spMkLst>
            <pc:docMk/>
            <pc:sldMk cId="1715379756" sldId="473"/>
            <ac:spMk id="9" creationId="{79F3B985-DCB1-EA4D-76FA-43034BDF0F52}"/>
          </ac:spMkLst>
        </pc:spChg>
        <pc:spChg chg="add del mod">
          <ac:chgData name="Wilps, Julius" userId="6d1b960f-b4ab-492d-83e7-05f23c28b40e" providerId="ADAL" clId="{3F4FFD1E-BD3D-1A48-A91A-DD9E54F15304}" dt="2023-03-12T19:29:38.725" v="1963" actId="478"/>
          <ac:spMkLst>
            <pc:docMk/>
            <pc:sldMk cId="1715379756" sldId="473"/>
            <ac:spMk id="10" creationId="{16F10159-C7EA-D8C7-8308-E2DA550FE612}"/>
          </ac:spMkLst>
        </pc:spChg>
        <pc:spChg chg="add del mod">
          <ac:chgData name="Wilps, Julius" userId="6d1b960f-b4ab-492d-83e7-05f23c28b40e" providerId="ADAL" clId="{3F4FFD1E-BD3D-1A48-A91A-DD9E54F15304}" dt="2023-03-12T17:07:46.593" v="1328" actId="478"/>
          <ac:spMkLst>
            <pc:docMk/>
            <pc:sldMk cId="1715379756" sldId="473"/>
            <ac:spMk id="10" creationId="{4011D2E3-5928-1BDA-C0A8-A50B5F83EEA2}"/>
          </ac:spMkLst>
        </pc:spChg>
        <pc:spChg chg="add del mod">
          <ac:chgData name="Wilps, Julius" userId="6d1b960f-b4ab-492d-83e7-05f23c28b40e" providerId="ADAL" clId="{3F4FFD1E-BD3D-1A48-A91A-DD9E54F15304}" dt="2023-03-12T19:31:43.032" v="1965" actId="478"/>
          <ac:spMkLst>
            <pc:docMk/>
            <pc:sldMk cId="1715379756" sldId="473"/>
            <ac:spMk id="11" creationId="{6F303F85-5FAD-0385-D630-C3F7F59878E6}"/>
          </ac:spMkLst>
        </pc:spChg>
        <pc:spChg chg="add del mod">
          <ac:chgData name="Wilps, Julius" userId="6d1b960f-b4ab-492d-83e7-05f23c28b40e" providerId="ADAL" clId="{3F4FFD1E-BD3D-1A48-A91A-DD9E54F15304}" dt="2023-03-12T19:32:22.326" v="1984" actId="478"/>
          <ac:spMkLst>
            <pc:docMk/>
            <pc:sldMk cId="1715379756" sldId="473"/>
            <ac:spMk id="12" creationId="{3B5CBA5A-4EA3-EDD3-D6F4-E767D8CA593F}"/>
          </ac:spMkLst>
        </pc:spChg>
        <pc:spChg chg="add del mod">
          <ac:chgData name="Wilps, Julius" userId="6d1b960f-b4ab-492d-83e7-05f23c28b40e" providerId="ADAL" clId="{3F4FFD1E-BD3D-1A48-A91A-DD9E54F15304}" dt="2023-03-12T16:49:13.527" v="1101" actId="478"/>
          <ac:spMkLst>
            <pc:docMk/>
            <pc:sldMk cId="1715379756" sldId="473"/>
            <ac:spMk id="12" creationId="{9F32DE04-EBAB-79FD-7535-83E7DDBB6A47}"/>
          </ac:spMkLst>
        </pc:spChg>
        <pc:spChg chg="add del mod">
          <ac:chgData name="Wilps, Julius" userId="6d1b960f-b4ab-492d-83e7-05f23c28b40e" providerId="ADAL" clId="{3F4FFD1E-BD3D-1A48-A91A-DD9E54F15304}" dt="2023-03-12T19:32:51.251" v="1997" actId="478"/>
          <ac:spMkLst>
            <pc:docMk/>
            <pc:sldMk cId="1715379756" sldId="473"/>
            <ac:spMk id="13" creationId="{CBB6F0B2-F81B-D7C7-268B-A66772A8DDB1}"/>
          </ac:spMkLst>
        </pc:spChg>
        <pc:spChg chg="add del mod">
          <ac:chgData name="Wilps, Julius" userId="6d1b960f-b4ab-492d-83e7-05f23c28b40e" providerId="ADAL" clId="{3F4FFD1E-BD3D-1A48-A91A-DD9E54F15304}" dt="2023-03-12T17:07:44.096" v="1327" actId="478"/>
          <ac:spMkLst>
            <pc:docMk/>
            <pc:sldMk cId="1715379756" sldId="473"/>
            <ac:spMk id="14" creationId="{0FF054C2-F9BB-F431-7F31-860C6B5D4E9D}"/>
          </ac:spMkLst>
        </pc:spChg>
        <pc:spChg chg="add mod">
          <ac:chgData name="Wilps, Julius" userId="6d1b960f-b4ab-492d-83e7-05f23c28b40e" providerId="ADAL" clId="{3F4FFD1E-BD3D-1A48-A91A-DD9E54F15304}" dt="2023-03-12T17:13:33.560" v="1570" actId="113"/>
          <ac:spMkLst>
            <pc:docMk/>
            <pc:sldMk cId="1715379756" sldId="473"/>
            <ac:spMk id="17" creationId="{210E038B-B719-BD94-363B-2FA4F701C44E}"/>
          </ac:spMkLst>
        </pc:spChg>
        <pc:spChg chg="add mod">
          <ac:chgData name="Wilps, Julius" userId="6d1b960f-b4ab-492d-83e7-05f23c28b40e" providerId="ADAL" clId="{3F4FFD1E-BD3D-1A48-A91A-DD9E54F15304}" dt="2023-03-12T17:09:06.359" v="1419" actId="20577"/>
          <ac:spMkLst>
            <pc:docMk/>
            <pc:sldMk cId="1715379756" sldId="473"/>
            <ac:spMk id="19" creationId="{3C370EBF-4567-1B5E-DB6C-E754BE4ABF93}"/>
          </ac:spMkLst>
        </pc:spChg>
        <pc:spChg chg="mod">
          <ac:chgData name="Wilps, Julius" userId="6d1b960f-b4ab-492d-83e7-05f23c28b40e" providerId="ADAL" clId="{3F4FFD1E-BD3D-1A48-A91A-DD9E54F15304}" dt="2023-03-12T19:32:47.486" v="1996"/>
          <ac:spMkLst>
            <pc:docMk/>
            <pc:sldMk cId="1715379756" sldId="473"/>
            <ac:spMk id="21" creationId="{D8DC41EF-D39B-21B9-45B4-63892ACCDA97}"/>
          </ac:spMkLst>
        </pc:spChg>
        <pc:spChg chg="mod">
          <ac:chgData name="Wilps, Julius" userId="6d1b960f-b4ab-492d-83e7-05f23c28b40e" providerId="ADAL" clId="{3F4FFD1E-BD3D-1A48-A91A-DD9E54F15304}" dt="2023-03-12T19:32:47.486" v="1996"/>
          <ac:spMkLst>
            <pc:docMk/>
            <pc:sldMk cId="1715379756" sldId="473"/>
            <ac:spMk id="28" creationId="{2D26849A-3585-F765-F508-97C7759C34E2}"/>
          </ac:spMkLst>
        </pc:spChg>
        <pc:spChg chg="add mod">
          <ac:chgData name="Wilps, Julius" userId="6d1b960f-b4ab-492d-83e7-05f23c28b40e" providerId="ADAL" clId="{3F4FFD1E-BD3D-1A48-A91A-DD9E54F15304}" dt="2023-03-12T19:32:47.486" v="1996"/>
          <ac:spMkLst>
            <pc:docMk/>
            <pc:sldMk cId="1715379756" sldId="473"/>
            <ac:spMk id="29" creationId="{CBFABB11-596F-E210-E122-C5F0A6A62A26}"/>
          </ac:spMkLst>
        </pc:spChg>
        <pc:spChg chg="add mod">
          <ac:chgData name="Wilps, Julius" userId="6d1b960f-b4ab-492d-83e7-05f23c28b40e" providerId="ADAL" clId="{3F4FFD1E-BD3D-1A48-A91A-DD9E54F15304}" dt="2023-03-12T19:32:47.486" v="1996"/>
          <ac:spMkLst>
            <pc:docMk/>
            <pc:sldMk cId="1715379756" sldId="473"/>
            <ac:spMk id="30" creationId="{D22AD690-2D08-DF30-0B0C-061E331D5BCB}"/>
          </ac:spMkLst>
        </pc:spChg>
        <pc:spChg chg="add mod">
          <ac:chgData name="Wilps, Julius" userId="6d1b960f-b4ab-492d-83e7-05f23c28b40e" providerId="ADAL" clId="{3F4FFD1E-BD3D-1A48-A91A-DD9E54F15304}" dt="2023-03-12T19:32:47.486" v="1996"/>
          <ac:spMkLst>
            <pc:docMk/>
            <pc:sldMk cId="1715379756" sldId="473"/>
            <ac:spMk id="31" creationId="{AF8FB2E4-44F4-A2A4-1A59-D391A727F293}"/>
          </ac:spMkLst>
        </pc:spChg>
        <pc:spChg chg="add del mod">
          <ac:chgData name="Wilps, Julius" userId="6d1b960f-b4ab-492d-83e7-05f23c28b40e" providerId="ADAL" clId="{3F4FFD1E-BD3D-1A48-A91A-DD9E54F15304}" dt="2023-03-12T19:26:08.623" v="1943"/>
          <ac:spMkLst>
            <pc:docMk/>
            <pc:sldMk cId="1715379756" sldId="473"/>
            <ac:spMk id="35" creationId="{57ECA035-FB38-9E68-1E64-FA421059A11F}"/>
          </ac:spMkLst>
        </pc:spChg>
        <pc:spChg chg="add mod">
          <ac:chgData name="Wilps, Julius" userId="6d1b960f-b4ab-492d-83e7-05f23c28b40e" providerId="ADAL" clId="{3F4FFD1E-BD3D-1A48-A91A-DD9E54F15304}" dt="2023-03-12T19:26:49.318" v="1947" actId="1076"/>
          <ac:spMkLst>
            <pc:docMk/>
            <pc:sldMk cId="1715379756" sldId="473"/>
            <ac:spMk id="36" creationId="{041952C1-3F9B-8DFE-C4D7-45773CD13EF8}"/>
          </ac:spMkLst>
        </pc:spChg>
        <pc:spChg chg="mod">
          <ac:chgData name="Wilps, Julius" userId="6d1b960f-b4ab-492d-83e7-05f23c28b40e" providerId="ADAL" clId="{3F4FFD1E-BD3D-1A48-A91A-DD9E54F15304}" dt="2023-03-12T19:26:59.735" v="1949"/>
          <ac:spMkLst>
            <pc:docMk/>
            <pc:sldMk cId="1715379756" sldId="473"/>
            <ac:spMk id="39" creationId="{A8F60992-B77F-6CC2-42C0-BB2D8F85E014}"/>
          </ac:spMkLst>
        </pc:spChg>
        <pc:spChg chg="mod">
          <ac:chgData name="Wilps, Julius" userId="6d1b960f-b4ab-492d-83e7-05f23c28b40e" providerId="ADAL" clId="{3F4FFD1E-BD3D-1A48-A91A-DD9E54F15304}" dt="2023-03-12T19:26:59.735" v="1949"/>
          <ac:spMkLst>
            <pc:docMk/>
            <pc:sldMk cId="1715379756" sldId="473"/>
            <ac:spMk id="40" creationId="{47C605CA-6B9C-DB1B-1CF1-F4C3E5F6DBDB}"/>
          </ac:spMkLst>
        </pc:spChg>
        <pc:spChg chg="mod">
          <ac:chgData name="Wilps, Julius" userId="6d1b960f-b4ab-492d-83e7-05f23c28b40e" providerId="ADAL" clId="{3F4FFD1E-BD3D-1A48-A91A-DD9E54F15304}" dt="2023-03-12T19:26:59.735" v="1949"/>
          <ac:spMkLst>
            <pc:docMk/>
            <pc:sldMk cId="1715379756" sldId="473"/>
            <ac:spMk id="41" creationId="{D68DF806-0F33-7DDC-B41A-2AA61B0F73CD}"/>
          </ac:spMkLst>
        </pc:spChg>
        <pc:spChg chg="mod">
          <ac:chgData name="Wilps, Julius" userId="6d1b960f-b4ab-492d-83e7-05f23c28b40e" providerId="ADAL" clId="{3F4FFD1E-BD3D-1A48-A91A-DD9E54F15304}" dt="2023-03-12T19:26:59.735" v="1949"/>
          <ac:spMkLst>
            <pc:docMk/>
            <pc:sldMk cId="1715379756" sldId="473"/>
            <ac:spMk id="42" creationId="{791E974D-A4F7-B204-A9CF-69A37EEB9044}"/>
          </ac:spMkLst>
        </pc:spChg>
        <pc:spChg chg="mod">
          <ac:chgData name="Wilps, Julius" userId="6d1b960f-b4ab-492d-83e7-05f23c28b40e" providerId="ADAL" clId="{3F4FFD1E-BD3D-1A48-A91A-DD9E54F15304}" dt="2023-03-12T19:26:59.735" v="1949"/>
          <ac:spMkLst>
            <pc:docMk/>
            <pc:sldMk cId="1715379756" sldId="473"/>
            <ac:spMk id="43" creationId="{699B7AB3-8BA1-647B-733B-E0EF3C0A6F67}"/>
          </ac:spMkLst>
        </pc:spChg>
        <pc:spChg chg="add mod">
          <ac:chgData name="Wilps, Julius" userId="6d1b960f-b4ab-492d-83e7-05f23c28b40e" providerId="ADAL" clId="{3F4FFD1E-BD3D-1A48-A91A-DD9E54F15304}" dt="2023-03-12T19:35:20.016" v="2008" actId="14100"/>
          <ac:spMkLst>
            <pc:docMk/>
            <pc:sldMk cId="1715379756" sldId="473"/>
            <ac:spMk id="44" creationId="{C126EDCA-53D6-AA79-90AD-6ED51A3469FD}"/>
          </ac:spMkLst>
        </pc:spChg>
        <pc:spChg chg="add mod">
          <ac:chgData name="Wilps, Julius" userId="6d1b960f-b4ab-492d-83e7-05f23c28b40e" providerId="ADAL" clId="{3F4FFD1E-BD3D-1A48-A91A-DD9E54F15304}" dt="2023-03-12T19:35:27.055" v="2012" actId="20577"/>
          <ac:spMkLst>
            <pc:docMk/>
            <pc:sldMk cId="1715379756" sldId="473"/>
            <ac:spMk id="45" creationId="{BD0BC325-0F15-9651-744C-DADC3CE498C0}"/>
          </ac:spMkLst>
        </pc:spChg>
        <pc:spChg chg="add mod">
          <ac:chgData name="Wilps, Julius" userId="6d1b960f-b4ab-492d-83e7-05f23c28b40e" providerId="ADAL" clId="{3F4FFD1E-BD3D-1A48-A91A-DD9E54F15304}" dt="2023-03-12T19:33:13.527" v="2005" actId="14100"/>
          <ac:spMkLst>
            <pc:docMk/>
            <pc:sldMk cId="1715379756" sldId="473"/>
            <ac:spMk id="46" creationId="{584F357A-F5C7-A313-DE8A-338E3A49FE17}"/>
          </ac:spMkLst>
        </pc:spChg>
        <pc:spChg chg="add mod">
          <ac:chgData name="Wilps, Julius" userId="6d1b960f-b4ab-492d-83e7-05f23c28b40e" providerId="ADAL" clId="{3F4FFD1E-BD3D-1A48-A91A-DD9E54F15304}" dt="2023-03-12T19:33:22.281" v="2007" actId="1076"/>
          <ac:spMkLst>
            <pc:docMk/>
            <pc:sldMk cId="1715379756" sldId="473"/>
            <ac:spMk id="47" creationId="{80F98AF1-67BD-7238-F559-5066F9A2B11B}"/>
          </ac:spMkLst>
        </pc:spChg>
        <pc:grpChg chg="add del mod">
          <ac:chgData name="Wilps, Julius" userId="6d1b960f-b4ab-492d-83e7-05f23c28b40e" providerId="ADAL" clId="{3F4FFD1E-BD3D-1A48-A91A-DD9E54F15304}" dt="2023-03-12T17:12:18.375" v="1547" actId="1076"/>
          <ac:grpSpMkLst>
            <pc:docMk/>
            <pc:sldMk cId="1715379756" sldId="473"/>
            <ac:grpSpMk id="4" creationId="{FB75A69D-DC13-6B28-99FB-EFAA562C05AE}"/>
          </ac:grpSpMkLst>
        </pc:grpChg>
        <pc:grpChg chg="add mod">
          <ac:chgData name="Wilps, Julius" userId="6d1b960f-b4ab-492d-83e7-05f23c28b40e" providerId="ADAL" clId="{3F4FFD1E-BD3D-1A48-A91A-DD9E54F15304}" dt="2023-03-12T19:32:47.486" v="1996"/>
          <ac:grpSpMkLst>
            <pc:docMk/>
            <pc:sldMk cId="1715379756" sldId="473"/>
            <ac:grpSpMk id="20" creationId="{679C392C-EE8D-F65A-22F0-3ACF6BC7A24E}"/>
          </ac:grpSpMkLst>
        </pc:grpChg>
        <pc:grpChg chg="del">
          <ac:chgData name="Wilps, Julius" userId="6d1b960f-b4ab-492d-83e7-05f23c28b40e" providerId="ADAL" clId="{3F4FFD1E-BD3D-1A48-A91A-DD9E54F15304}" dt="2023-03-12T16:48:59.206" v="1096" actId="478"/>
          <ac:grpSpMkLst>
            <pc:docMk/>
            <pc:sldMk cId="1715379756" sldId="473"/>
            <ac:grpSpMk id="23" creationId="{1E3A52CD-04C4-1250-4A9A-98DD985B9548}"/>
          </ac:grpSpMkLst>
        </pc:grpChg>
        <pc:grpChg chg="del">
          <ac:chgData name="Wilps, Julius" userId="6d1b960f-b4ab-492d-83e7-05f23c28b40e" providerId="ADAL" clId="{3F4FFD1E-BD3D-1A48-A91A-DD9E54F15304}" dt="2023-03-12T16:51:57.366" v="1190" actId="478"/>
          <ac:grpSpMkLst>
            <pc:docMk/>
            <pc:sldMk cId="1715379756" sldId="473"/>
            <ac:grpSpMk id="24" creationId="{051A5957-1633-20C9-C0F1-41AC788FE19B}"/>
          </ac:grpSpMkLst>
        </pc:grpChg>
        <pc:grpChg chg="del">
          <ac:chgData name="Wilps, Julius" userId="6d1b960f-b4ab-492d-83e7-05f23c28b40e" providerId="ADAL" clId="{3F4FFD1E-BD3D-1A48-A91A-DD9E54F15304}" dt="2023-03-12T16:51:58.415" v="1191" actId="478"/>
          <ac:grpSpMkLst>
            <pc:docMk/>
            <pc:sldMk cId="1715379756" sldId="473"/>
            <ac:grpSpMk id="25" creationId="{F16CCAEB-FB69-F9BA-677F-AE209444D0E1}"/>
          </ac:grpSpMkLst>
        </pc:grpChg>
        <pc:grpChg chg="add mod">
          <ac:chgData name="Wilps, Julius" userId="6d1b960f-b4ab-492d-83e7-05f23c28b40e" providerId="ADAL" clId="{3F4FFD1E-BD3D-1A48-A91A-DD9E54F15304}" dt="2023-03-12T19:32:47.486" v="1996"/>
          <ac:grpSpMkLst>
            <pc:docMk/>
            <pc:sldMk cId="1715379756" sldId="473"/>
            <ac:grpSpMk id="32" creationId="{C330122E-5570-28F8-42F6-9F37B10B6929}"/>
          </ac:grpSpMkLst>
        </pc:grpChg>
        <pc:grpChg chg="add mod">
          <ac:chgData name="Wilps, Julius" userId="6d1b960f-b4ab-492d-83e7-05f23c28b40e" providerId="ADAL" clId="{3F4FFD1E-BD3D-1A48-A91A-DD9E54F15304}" dt="2023-03-12T17:14:01.178" v="1574" actId="1076"/>
          <ac:grpSpMkLst>
            <pc:docMk/>
            <pc:sldMk cId="1715379756" sldId="473"/>
            <ac:grpSpMk id="33" creationId="{AE3B97E5-B56D-49E2-1878-A75396ABD6A6}"/>
          </ac:grpSpMkLst>
        </pc:grpChg>
        <pc:grpChg chg="add mod">
          <ac:chgData name="Wilps, Julius" userId="6d1b960f-b4ab-492d-83e7-05f23c28b40e" providerId="ADAL" clId="{3F4FFD1E-BD3D-1A48-A91A-DD9E54F15304}" dt="2023-03-12T19:26:59.735" v="1949"/>
          <ac:grpSpMkLst>
            <pc:docMk/>
            <pc:sldMk cId="1715379756" sldId="473"/>
            <ac:grpSpMk id="37" creationId="{88709E9A-7F3A-0481-1E81-908CED4D5752}"/>
          </ac:grpSpMkLst>
        </pc:grpChg>
        <pc:grpChg chg="mod">
          <ac:chgData name="Wilps, Julius" userId="6d1b960f-b4ab-492d-83e7-05f23c28b40e" providerId="ADAL" clId="{3F4FFD1E-BD3D-1A48-A91A-DD9E54F15304}" dt="2023-03-12T19:26:59.735" v="1949"/>
          <ac:grpSpMkLst>
            <pc:docMk/>
            <pc:sldMk cId="1715379756" sldId="473"/>
            <ac:grpSpMk id="38" creationId="{8F591BF9-ADDA-B5F2-D7A7-6D582324039E}"/>
          </ac:grpSpMkLst>
        </pc:grpChg>
        <pc:graphicFrameChg chg="del">
          <ac:chgData name="Wilps, Julius" userId="6d1b960f-b4ab-492d-83e7-05f23c28b40e" providerId="ADAL" clId="{3F4FFD1E-BD3D-1A48-A91A-DD9E54F15304}" dt="2023-03-12T16:48:52.174" v="1094" actId="478"/>
          <ac:graphicFrameMkLst>
            <pc:docMk/>
            <pc:sldMk cId="1715379756" sldId="473"/>
            <ac:graphicFrameMk id="3" creationId="{50F34847-9E5C-CF5F-A787-63C69AB8E5CB}"/>
          </ac:graphicFrameMkLst>
        </pc:graphicFrameChg>
        <pc:graphicFrameChg chg="add mod">
          <ac:chgData name="Wilps, Julius" userId="6d1b960f-b4ab-492d-83e7-05f23c28b40e" providerId="ADAL" clId="{3F4FFD1E-BD3D-1A48-A91A-DD9E54F15304}" dt="2023-03-12T19:35:23.356" v="2010" actId="1076"/>
          <ac:graphicFrameMkLst>
            <pc:docMk/>
            <pc:sldMk cId="1715379756" sldId="473"/>
            <ac:graphicFrameMk id="15" creationId="{9128C4FB-C486-1231-5758-6AD5F56FD1A4}"/>
          </ac:graphicFrameMkLst>
        </pc:graphicFrameChg>
        <pc:graphicFrameChg chg="add del mod">
          <ac:chgData name="Wilps, Julius" userId="6d1b960f-b4ab-492d-83e7-05f23c28b40e" providerId="ADAL" clId="{3F4FFD1E-BD3D-1A48-A91A-DD9E54F15304}" dt="2023-03-12T16:59:27.305" v="1269" actId="478"/>
          <ac:graphicFrameMkLst>
            <pc:docMk/>
            <pc:sldMk cId="1715379756" sldId="473"/>
            <ac:graphicFrameMk id="16" creationId="{4DE8E589-7E41-391F-D2FD-6B997C1DD8A2}"/>
          </ac:graphicFrameMkLst>
        </pc:graphicFrameChg>
        <pc:picChg chg="add mod">
          <ac:chgData name="Wilps, Julius" userId="6d1b960f-b4ab-492d-83e7-05f23c28b40e" providerId="ADAL" clId="{3F4FFD1E-BD3D-1A48-A91A-DD9E54F15304}" dt="2023-03-12T19:21:22.486" v="1804" actId="14100"/>
          <ac:picMkLst>
            <pc:docMk/>
            <pc:sldMk cId="1715379756" sldId="473"/>
            <ac:picMk id="5" creationId="{C0CF8022-38E0-A56B-1B9E-C8C8078FE794}"/>
          </ac:picMkLst>
        </pc:picChg>
        <pc:picChg chg="add del mod">
          <ac:chgData name="Wilps, Julius" userId="6d1b960f-b4ab-492d-83e7-05f23c28b40e" providerId="ADAL" clId="{3F4FFD1E-BD3D-1A48-A91A-DD9E54F15304}" dt="2023-03-12T16:49:10.804" v="1100" actId="478"/>
          <ac:picMkLst>
            <pc:docMk/>
            <pc:sldMk cId="1715379756" sldId="473"/>
            <ac:picMk id="13" creationId="{388B63F9-CFF3-0565-FB7A-24AB08B64492}"/>
          </ac:picMkLst>
        </pc:picChg>
        <pc:cxnChg chg="add mod">
          <ac:chgData name="Wilps, Julius" userId="6d1b960f-b4ab-492d-83e7-05f23c28b40e" providerId="ADAL" clId="{3F4FFD1E-BD3D-1A48-A91A-DD9E54F15304}" dt="2023-03-12T19:25:26.210" v="1931" actId="14100"/>
          <ac:cxnSpMkLst>
            <pc:docMk/>
            <pc:sldMk cId="1715379756" sldId="473"/>
            <ac:cxnSpMk id="14" creationId="{1E1A2225-801A-D8E0-5943-9E9C17A9FC12}"/>
          </ac:cxnSpMkLst>
        </pc:cxnChg>
        <pc:cxnChg chg="add mod">
          <ac:chgData name="Wilps, Julius" userId="6d1b960f-b4ab-492d-83e7-05f23c28b40e" providerId="ADAL" clId="{3F4FFD1E-BD3D-1A48-A91A-DD9E54F15304}" dt="2023-03-12T19:25:41.477" v="1935" actId="14100"/>
          <ac:cxnSpMkLst>
            <pc:docMk/>
            <pc:sldMk cId="1715379756" sldId="473"/>
            <ac:cxnSpMk id="18" creationId="{5F715B8C-2A2D-5D58-264D-684962757A72}"/>
          </ac:cxnSpMkLst>
        </pc:cxnChg>
        <pc:cxnChg chg="add mod">
          <ac:chgData name="Wilps, Julius" userId="6d1b960f-b4ab-492d-83e7-05f23c28b40e" providerId="ADAL" clId="{3F4FFD1E-BD3D-1A48-A91A-DD9E54F15304}" dt="2023-03-12T19:25:53.935" v="1938" actId="14100"/>
          <ac:cxnSpMkLst>
            <pc:docMk/>
            <pc:sldMk cId="1715379756" sldId="473"/>
            <ac:cxnSpMk id="24" creationId="{40202885-C45E-2981-979D-A9AE4A4FF20E}"/>
          </ac:cxnSpMkLst>
        </pc:cxnChg>
        <pc:cxnChg chg="add mod">
          <ac:chgData name="Wilps, Julius" userId="6d1b960f-b4ab-492d-83e7-05f23c28b40e" providerId="ADAL" clId="{3F4FFD1E-BD3D-1A48-A91A-DD9E54F15304}" dt="2023-03-12T19:26:03.664" v="1940" actId="14100"/>
          <ac:cxnSpMkLst>
            <pc:docMk/>
            <pc:sldMk cId="1715379756" sldId="473"/>
            <ac:cxnSpMk id="27" creationId="{120E2C0B-EEF3-1F3B-7874-D50DA4172F8B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Wilps, Julius" userId="6d1b960f-b4ab-492d-83e7-05f23c28b40e" providerId="ADAL" clId="{3F4FFD1E-BD3D-1A48-A91A-DD9E54F15304}" dt="2023-03-13T22:49:21.734" v="3219"/>
              <pc2:cmMkLst xmlns:pc2="http://schemas.microsoft.com/office/powerpoint/2019/9/main/command">
                <pc:docMk/>
                <pc:sldMk cId="1715379756" sldId="473"/>
                <pc2:cmMk id="{51EB9D37-95BE-45B1-98C0-CF3F96E3175F}"/>
              </pc2:cmMkLst>
            </pc226:cmChg>
          </p:ext>
        </pc:extLst>
      </pc:sldChg>
      <pc:sldChg chg="modSp add del mod ord">
        <pc:chgData name="Wilps, Julius" userId="6d1b960f-b4ab-492d-83e7-05f23c28b40e" providerId="ADAL" clId="{3F4FFD1E-BD3D-1A48-A91A-DD9E54F15304}" dt="2023-03-12T16:38:46.094" v="1062" actId="2696"/>
        <pc:sldMkLst>
          <pc:docMk/>
          <pc:sldMk cId="1208566070" sldId="474"/>
        </pc:sldMkLst>
        <pc:spChg chg="mod">
          <ac:chgData name="Wilps, Julius" userId="6d1b960f-b4ab-492d-83e7-05f23c28b40e" providerId="ADAL" clId="{3F4FFD1E-BD3D-1A48-A91A-DD9E54F15304}" dt="2023-03-12T16:22:17.455" v="624" actId="1076"/>
          <ac:spMkLst>
            <pc:docMk/>
            <pc:sldMk cId="1208566070" sldId="474"/>
            <ac:spMk id="5" creationId="{8EA7A4D4-9AD7-8D9C-9812-AA8B76F9AC69}"/>
          </ac:spMkLst>
        </pc:spChg>
        <pc:spChg chg="mod">
          <ac:chgData name="Wilps, Julius" userId="6d1b960f-b4ab-492d-83e7-05f23c28b40e" providerId="ADAL" clId="{3F4FFD1E-BD3D-1A48-A91A-DD9E54F15304}" dt="2023-03-12T16:22:40.813" v="629" actId="20577"/>
          <ac:spMkLst>
            <pc:docMk/>
            <pc:sldMk cId="1208566070" sldId="474"/>
            <ac:spMk id="17" creationId="{F3E97662-EFE8-BE2A-09E1-FDEB58C3200E}"/>
          </ac:spMkLst>
        </pc:spChg>
      </pc:sldChg>
      <pc:sldChg chg="addSp delSp modSp add mod ord modShow">
        <pc:chgData name="Wilps, Julius" userId="6d1b960f-b4ab-492d-83e7-05f23c28b40e" providerId="ADAL" clId="{3F4FFD1E-BD3D-1A48-A91A-DD9E54F15304}" dt="2023-03-13T22:50:34.435" v="3260" actId="20577"/>
        <pc:sldMkLst>
          <pc:docMk/>
          <pc:sldMk cId="223148516" sldId="475"/>
        </pc:sldMkLst>
        <pc:spChg chg="add del mod">
          <ac:chgData name="Wilps, Julius" userId="6d1b960f-b4ab-492d-83e7-05f23c28b40e" providerId="ADAL" clId="{3F4FFD1E-BD3D-1A48-A91A-DD9E54F15304}" dt="2023-03-12T16:26:40.195" v="636"/>
          <ac:spMkLst>
            <pc:docMk/>
            <pc:sldMk cId="223148516" sldId="475"/>
            <ac:spMk id="2" creationId="{900A51A0-AD6E-7339-1159-48775A171AD3}"/>
          </ac:spMkLst>
        </pc:spChg>
        <pc:spChg chg="add mod">
          <ac:chgData name="Wilps, Julius" userId="6d1b960f-b4ab-492d-83e7-05f23c28b40e" providerId="ADAL" clId="{3F4FFD1E-BD3D-1A48-A91A-DD9E54F15304}" dt="2023-03-13T22:50:34.435" v="3260" actId="20577"/>
          <ac:spMkLst>
            <pc:docMk/>
            <pc:sldMk cId="223148516" sldId="475"/>
            <ac:spMk id="2" creationId="{CAC695B4-410F-6874-5955-04BB564AE241}"/>
          </ac:spMkLst>
        </pc:spChg>
        <pc:spChg chg="del">
          <ac:chgData name="Wilps, Julius" userId="6d1b960f-b4ab-492d-83e7-05f23c28b40e" providerId="ADAL" clId="{3F4FFD1E-BD3D-1A48-A91A-DD9E54F15304}" dt="2023-03-12T16:27:04.668" v="638" actId="478"/>
          <ac:spMkLst>
            <pc:docMk/>
            <pc:sldMk cId="223148516" sldId="475"/>
            <ac:spMk id="4" creationId="{620F3424-E32B-4DE8-BF4D-4918B7628D43}"/>
          </ac:spMkLst>
        </pc:spChg>
        <pc:spChg chg="add mod">
          <ac:chgData name="Wilps, Julius" userId="6d1b960f-b4ab-492d-83e7-05f23c28b40e" providerId="ADAL" clId="{3F4FFD1E-BD3D-1A48-A91A-DD9E54F15304}" dt="2023-03-12T16:34:21.341" v="953" actId="6549"/>
          <ac:spMkLst>
            <pc:docMk/>
            <pc:sldMk cId="223148516" sldId="475"/>
            <ac:spMk id="5" creationId="{F6B47378-72AA-A258-AF1C-AC278ABC1BEB}"/>
          </ac:spMkLst>
        </pc:spChg>
        <pc:spChg chg="del">
          <ac:chgData name="Wilps, Julius" userId="6d1b960f-b4ab-492d-83e7-05f23c28b40e" providerId="ADAL" clId="{3F4FFD1E-BD3D-1A48-A91A-DD9E54F15304}" dt="2023-03-12T16:27:05.647" v="639" actId="478"/>
          <ac:spMkLst>
            <pc:docMk/>
            <pc:sldMk cId="223148516" sldId="475"/>
            <ac:spMk id="6" creationId="{1CC6A956-A954-4940-A619-381D56C1A856}"/>
          </ac:spMkLst>
        </pc:spChg>
        <pc:spChg chg="del mod">
          <ac:chgData name="Wilps, Julius" userId="6d1b960f-b4ab-492d-83e7-05f23c28b40e" providerId="ADAL" clId="{3F4FFD1E-BD3D-1A48-A91A-DD9E54F15304}" dt="2023-03-12T16:27:07.323" v="641" actId="478"/>
          <ac:spMkLst>
            <pc:docMk/>
            <pc:sldMk cId="223148516" sldId="475"/>
            <ac:spMk id="7" creationId="{A2FADCE3-E850-4784-8F2E-D7BF01E4852E}"/>
          </ac:spMkLst>
        </pc:spChg>
        <pc:spChg chg="add del mod">
          <ac:chgData name="Wilps, Julius" userId="6d1b960f-b4ab-492d-83e7-05f23c28b40e" providerId="ADAL" clId="{3F4FFD1E-BD3D-1A48-A91A-DD9E54F15304}" dt="2023-03-12T16:34:57.443" v="959" actId="478"/>
          <ac:spMkLst>
            <pc:docMk/>
            <pc:sldMk cId="223148516" sldId="475"/>
            <ac:spMk id="8" creationId="{95781470-6AC3-21CE-AF94-5D59843A4F84}"/>
          </ac:spMkLst>
        </pc:spChg>
        <pc:spChg chg="mod">
          <ac:chgData name="Wilps, Julius" userId="6d1b960f-b4ab-492d-83e7-05f23c28b40e" providerId="ADAL" clId="{3F4FFD1E-BD3D-1A48-A91A-DD9E54F15304}" dt="2023-03-13T22:50:05.373" v="3232" actId="20577"/>
          <ac:spMkLst>
            <pc:docMk/>
            <pc:sldMk cId="223148516" sldId="475"/>
            <ac:spMk id="9" creationId="{06E69EF6-5F75-EF00-A656-2EF79BFF6CB7}"/>
          </ac:spMkLst>
        </pc:spChg>
        <pc:spChg chg="del">
          <ac:chgData name="Wilps, Julius" userId="6d1b960f-b4ab-492d-83e7-05f23c28b40e" providerId="ADAL" clId="{3F4FFD1E-BD3D-1A48-A91A-DD9E54F15304}" dt="2023-03-12T16:26:32.143" v="634" actId="478"/>
          <ac:spMkLst>
            <pc:docMk/>
            <pc:sldMk cId="223148516" sldId="475"/>
            <ac:spMk id="14" creationId="{B600814F-C5FB-A5A6-C7E7-672B5C1EA70C}"/>
          </ac:spMkLst>
        </pc:spChg>
        <pc:spChg chg="del mod">
          <ac:chgData name="Wilps, Julius" userId="6d1b960f-b4ab-492d-83e7-05f23c28b40e" providerId="ADAL" clId="{3F4FFD1E-BD3D-1A48-A91A-DD9E54F15304}" dt="2023-03-12T16:26:30.537" v="633" actId="478"/>
          <ac:spMkLst>
            <pc:docMk/>
            <pc:sldMk cId="223148516" sldId="475"/>
            <ac:spMk id="15" creationId="{4413BBC4-36E1-345F-4E9F-B08C48E06413}"/>
          </ac:spMkLst>
        </pc:spChg>
        <pc:spChg chg="add del mod">
          <ac:chgData name="Wilps, Julius" userId="6d1b960f-b4ab-492d-83e7-05f23c28b40e" providerId="ADAL" clId="{3F4FFD1E-BD3D-1A48-A91A-DD9E54F15304}" dt="2023-03-12T16:35:48.721" v="1011" actId="478"/>
          <ac:spMkLst>
            <pc:docMk/>
            <pc:sldMk cId="223148516" sldId="475"/>
            <ac:spMk id="16" creationId="{38769271-6EB2-326A-272B-FB488334D0F1}"/>
          </ac:spMkLst>
        </pc:spChg>
        <pc:spChg chg="add del mod">
          <ac:chgData name="Wilps, Julius" userId="6d1b960f-b4ab-492d-83e7-05f23c28b40e" providerId="ADAL" clId="{3F4FFD1E-BD3D-1A48-A91A-DD9E54F15304}" dt="2023-03-12T16:34:56.136" v="958" actId="478"/>
          <ac:spMkLst>
            <pc:docMk/>
            <pc:sldMk cId="223148516" sldId="475"/>
            <ac:spMk id="17" creationId="{C527CE09-DD4F-1E29-AE18-448F7B4B1056}"/>
          </ac:spMkLst>
        </pc:spChg>
        <pc:spChg chg="del">
          <ac:chgData name="Wilps, Julius" userId="6d1b960f-b4ab-492d-83e7-05f23c28b40e" providerId="ADAL" clId="{3F4FFD1E-BD3D-1A48-A91A-DD9E54F15304}" dt="2023-03-12T16:26:27.969" v="631" actId="478"/>
          <ac:spMkLst>
            <pc:docMk/>
            <pc:sldMk cId="223148516" sldId="475"/>
            <ac:spMk id="19" creationId="{9C574363-8D56-4907-88DB-F19E396AEB20}"/>
          </ac:spMkLst>
        </pc:spChg>
        <pc:spChg chg="del">
          <ac:chgData name="Wilps, Julius" userId="6d1b960f-b4ab-492d-83e7-05f23c28b40e" providerId="ADAL" clId="{3F4FFD1E-BD3D-1A48-A91A-DD9E54F15304}" dt="2023-03-12T16:26:27.969" v="631" actId="478"/>
          <ac:spMkLst>
            <pc:docMk/>
            <pc:sldMk cId="223148516" sldId="475"/>
            <ac:spMk id="20" creationId="{2AD08722-C387-44A0-8955-313CD959C971}"/>
          </ac:spMkLst>
        </pc:spChg>
        <pc:spChg chg="del">
          <ac:chgData name="Wilps, Julius" userId="6d1b960f-b4ab-492d-83e7-05f23c28b40e" providerId="ADAL" clId="{3F4FFD1E-BD3D-1A48-A91A-DD9E54F15304}" dt="2023-03-12T16:26:22.602" v="630" actId="478"/>
          <ac:spMkLst>
            <pc:docMk/>
            <pc:sldMk cId="223148516" sldId="475"/>
            <ac:spMk id="21" creationId="{03AEB1A7-4A22-4EA3-B891-8CE774B86F7E}"/>
          </ac:spMkLst>
        </pc:spChg>
        <pc:spChg chg="add del mod">
          <ac:chgData name="Wilps, Julius" userId="6d1b960f-b4ab-492d-83e7-05f23c28b40e" providerId="ADAL" clId="{3F4FFD1E-BD3D-1A48-A91A-DD9E54F15304}" dt="2023-03-12T16:29:36.975" v="805" actId="478"/>
          <ac:spMkLst>
            <pc:docMk/>
            <pc:sldMk cId="223148516" sldId="475"/>
            <ac:spMk id="22" creationId="{EDE60411-2A7C-942F-353B-C51344980F23}"/>
          </ac:spMkLst>
        </pc:spChg>
        <pc:spChg chg="add del mod topLvl">
          <ac:chgData name="Wilps, Julius" userId="6d1b960f-b4ab-492d-83e7-05f23c28b40e" providerId="ADAL" clId="{3F4FFD1E-BD3D-1A48-A91A-DD9E54F15304}" dt="2023-03-13T02:11:14.159" v="3164" actId="478"/>
          <ac:spMkLst>
            <pc:docMk/>
            <pc:sldMk cId="223148516" sldId="475"/>
            <ac:spMk id="24" creationId="{0CC6BFE5-FF8B-B485-4F6F-07ACA52C3FF7}"/>
          </ac:spMkLst>
        </pc:spChg>
        <pc:spChg chg="add del mod">
          <ac:chgData name="Wilps, Julius" userId="6d1b960f-b4ab-492d-83e7-05f23c28b40e" providerId="ADAL" clId="{3F4FFD1E-BD3D-1A48-A91A-DD9E54F15304}" dt="2023-03-12T16:29:04.191" v="719" actId="478"/>
          <ac:spMkLst>
            <pc:docMk/>
            <pc:sldMk cId="223148516" sldId="475"/>
            <ac:spMk id="27" creationId="{41FD3907-C038-F72E-06B6-857A6BDF2A26}"/>
          </ac:spMkLst>
        </pc:spChg>
        <pc:spChg chg="add mod">
          <ac:chgData name="Wilps, Julius" userId="6d1b960f-b4ab-492d-83e7-05f23c28b40e" providerId="ADAL" clId="{3F4FFD1E-BD3D-1A48-A91A-DD9E54F15304}" dt="2023-03-13T02:15:53.429" v="3177" actId="1076"/>
          <ac:spMkLst>
            <pc:docMk/>
            <pc:sldMk cId="223148516" sldId="475"/>
            <ac:spMk id="28" creationId="{621105F3-4947-AD0E-F2E6-75361C3D39E9}"/>
          </ac:spMkLst>
        </pc:spChg>
        <pc:spChg chg="add del mod">
          <ac:chgData name="Wilps, Julius" userId="6d1b960f-b4ab-492d-83e7-05f23c28b40e" providerId="ADAL" clId="{3F4FFD1E-BD3D-1A48-A91A-DD9E54F15304}" dt="2023-03-12T16:30:58.709" v="826" actId="478"/>
          <ac:spMkLst>
            <pc:docMk/>
            <pc:sldMk cId="223148516" sldId="475"/>
            <ac:spMk id="29" creationId="{202F5C7A-A5E5-0347-631F-A7C281236496}"/>
          </ac:spMkLst>
        </pc:spChg>
        <pc:spChg chg="add mod">
          <ac:chgData name="Wilps, Julius" userId="6d1b960f-b4ab-492d-83e7-05f23c28b40e" providerId="ADAL" clId="{3F4FFD1E-BD3D-1A48-A91A-DD9E54F15304}" dt="2023-03-13T02:16:05.313" v="3179" actId="1076"/>
          <ac:spMkLst>
            <pc:docMk/>
            <pc:sldMk cId="223148516" sldId="475"/>
            <ac:spMk id="30" creationId="{B98548FF-AB3D-7BA2-F5B5-62A8D27ED685}"/>
          </ac:spMkLst>
        </pc:spChg>
        <pc:spChg chg="add del mod">
          <ac:chgData name="Wilps, Julius" userId="6d1b960f-b4ab-492d-83e7-05f23c28b40e" providerId="ADAL" clId="{3F4FFD1E-BD3D-1A48-A91A-DD9E54F15304}" dt="2023-03-13T02:11:17.099" v="3166" actId="478"/>
          <ac:spMkLst>
            <pc:docMk/>
            <pc:sldMk cId="223148516" sldId="475"/>
            <ac:spMk id="33" creationId="{1E629FA4-E87A-4D24-19BE-1CF6C5EF443F}"/>
          </ac:spMkLst>
        </pc:spChg>
        <pc:grpChg chg="add del mod">
          <ac:chgData name="Wilps, Julius" userId="6d1b960f-b4ab-492d-83e7-05f23c28b40e" providerId="ADAL" clId="{3F4FFD1E-BD3D-1A48-A91A-DD9E54F15304}" dt="2023-03-13T02:11:11.531" v="3163" actId="478"/>
          <ac:grpSpMkLst>
            <pc:docMk/>
            <pc:sldMk cId="223148516" sldId="475"/>
            <ac:grpSpMk id="31" creationId="{3DC80DFB-60C0-C189-80A0-AC110A4D7089}"/>
          </ac:grpSpMkLst>
        </pc:grpChg>
        <pc:grpChg chg="add del mod">
          <ac:chgData name="Wilps, Julius" userId="6d1b960f-b4ab-492d-83e7-05f23c28b40e" providerId="ADAL" clId="{3F4FFD1E-BD3D-1A48-A91A-DD9E54F15304}" dt="2023-03-13T02:11:14.159" v="3164" actId="478"/>
          <ac:grpSpMkLst>
            <pc:docMk/>
            <pc:sldMk cId="223148516" sldId="475"/>
            <ac:grpSpMk id="32" creationId="{0A290E3F-E315-DCA1-3F22-A836079F6F71}"/>
          </ac:grpSpMkLst>
        </pc:grpChg>
        <pc:graphicFrameChg chg="del">
          <ac:chgData name="Wilps, Julius" userId="6d1b960f-b4ab-492d-83e7-05f23c28b40e" providerId="ADAL" clId="{3F4FFD1E-BD3D-1A48-A91A-DD9E54F15304}" dt="2023-03-12T16:21:37.328" v="601" actId="478"/>
          <ac:graphicFrameMkLst>
            <pc:docMk/>
            <pc:sldMk cId="223148516" sldId="475"/>
            <ac:graphicFrameMk id="11" creationId="{166F07D9-B84C-554A-EC9E-1374AEFECDF4}"/>
          </ac:graphicFrameMkLst>
        </pc:graphicFrameChg>
        <pc:picChg chg="add mod">
          <ac:chgData name="Wilps, Julius" userId="6d1b960f-b4ab-492d-83e7-05f23c28b40e" providerId="ADAL" clId="{3F4FFD1E-BD3D-1A48-A91A-DD9E54F15304}" dt="2023-03-13T02:15:59.997" v="3178" actId="1076"/>
          <ac:picMkLst>
            <pc:docMk/>
            <pc:sldMk cId="223148516" sldId="475"/>
            <ac:picMk id="4" creationId="{8432099F-6588-6064-945A-091B00BC3A01}"/>
          </ac:picMkLst>
        </pc:picChg>
        <pc:picChg chg="del">
          <ac:chgData name="Wilps, Julius" userId="6d1b960f-b4ab-492d-83e7-05f23c28b40e" providerId="ADAL" clId="{3F4FFD1E-BD3D-1A48-A91A-DD9E54F15304}" dt="2023-03-12T16:27:55.148" v="682" actId="478"/>
          <ac:picMkLst>
            <pc:docMk/>
            <pc:sldMk cId="223148516" sldId="475"/>
            <ac:picMk id="10" creationId="{9A8BCB35-777E-BB1C-41A0-2555CC450568}"/>
          </ac:picMkLst>
        </pc:picChg>
        <pc:picChg chg="del">
          <ac:chgData name="Wilps, Julius" userId="6d1b960f-b4ab-492d-83e7-05f23c28b40e" providerId="ADAL" clId="{3F4FFD1E-BD3D-1A48-A91A-DD9E54F15304}" dt="2023-03-12T16:26:27.969" v="631" actId="478"/>
          <ac:picMkLst>
            <pc:docMk/>
            <pc:sldMk cId="223148516" sldId="475"/>
            <ac:picMk id="12" creationId="{9F0971D8-CEDD-56C6-D5A5-E9C9B351E636}"/>
          </ac:picMkLst>
        </pc:picChg>
        <pc:picChg chg="add del mod">
          <ac:chgData name="Wilps, Julius" userId="6d1b960f-b4ab-492d-83e7-05f23c28b40e" providerId="ADAL" clId="{3F4FFD1E-BD3D-1A48-A91A-DD9E54F15304}" dt="2023-03-12T16:35:45.267" v="1010" actId="478"/>
          <ac:picMkLst>
            <pc:docMk/>
            <pc:sldMk cId="223148516" sldId="475"/>
            <ac:picMk id="13" creationId="{20307C93-8416-2412-14F1-C4B1BB154F0E}"/>
          </ac:picMkLst>
        </pc:picChg>
        <pc:picChg chg="add del mod">
          <ac:chgData name="Wilps, Julius" userId="6d1b960f-b4ab-492d-83e7-05f23c28b40e" providerId="ADAL" clId="{3F4FFD1E-BD3D-1A48-A91A-DD9E54F15304}" dt="2023-03-12T16:34:52.480" v="956" actId="478"/>
          <ac:picMkLst>
            <pc:docMk/>
            <pc:sldMk cId="223148516" sldId="475"/>
            <ac:picMk id="25" creationId="{D030F502-7220-1FC9-5C93-419BB339025F}"/>
          </ac:picMkLst>
        </pc:picChg>
        <pc:picChg chg="add del mod">
          <ac:chgData name="Wilps, Julius" userId="6d1b960f-b4ab-492d-83e7-05f23c28b40e" providerId="ADAL" clId="{3F4FFD1E-BD3D-1A48-A91A-DD9E54F15304}" dt="2023-03-12T16:34:54.527" v="957" actId="478"/>
          <ac:picMkLst>
            <pc:docMk/>
            <pc:sldMk cId="223148516" sldId="475"/>
            <ac:picMk id="26" creationId="{764D4C5F-2A64-250D-389B-B0E5C7552246}"/>
          </ac:picMkLst>
        </pc:picChg>
        <pc:cxnChg chg="add mod">
          <ac:chgData name="Wilps, Julius" userId="6d1b960f-b4ab-492d-83e7-05f23c28b40e" providerId="ADAL" clId="{3F4FFD1E-BD3D-1A48-A91A-DD9E54F15304}" dt="2023-03-12T16:36:14.445" v="1032" actId="1076"/>
          <ac:cxnSpMkLst>
            <pc:docMk/>
            <pc:sldMk cId="223148516" sldId="475"/>
            <ac:cxnSpMk id="3" creationId="{569E5DB9-0A3B-ACB5-3BDC-5E725E8E23FE}"/>
          </ac:cxnSpMkLst>
        </pc:cxnChg>
        <pc:cxnChg chg="add del mod">
          <ac:chgData name="Wilps, Julius" userId="6d1b960f-b4ab-492d-83e7-05f23c28b40e" providerId="ADAL" clId="{3F4FFD1E-BD3D-1A48-A91A-DD9E54F15304}" dt="2023-03-12T16:29:30.528" v="804" actId="478"/>
          <ac:cxnSpMkLst>
            <pc:docMk/>
            <pc:sldMk cId="223148516" sldId="475"/>
            <ac:cxnSpMk id="18" creationId="{D03114F6-03ED-A147-BAC8-B51024D9213E}"/>
          </ac:cxnSpMkLst>
        </pc:cxnChg>
        <pc:cxnChg chg="add del mod topLvl">
          <ac:chgData name="Wilps, Julius" userId="6d1b960f-b4ab-492d-83e7-05f23c28b40e" providerId="ADAL" clId="{3F4FFD1E-BD3D-1A48-A91A-DD9E54F15304}" dt="2023-03-13T02:11:15.627" v="3165" actId="478"/>
          <ac:cxnSpMkLst>
            <pc:docMk/>
            <pc:sldMk cId="223148516" sldId="475"/>
            <ac:cxnSpMk id="23" creationId="{BEACF0AD-255F-B5D3-2BA1-EB9531B3F646}"/>
          </ac:cxnSpMkLst>
        </pc:cxnChg>
      </pc:sldChg>
      <pc:sldChg chg="addSp delSp modSp add del mod ord modShow">
        <pc:chgData name="Wilps, Julius" userId="6d1b960f-b4ab-492d-83e7-05f23c28b40e" providerId="ADAL" clId="{3F4FFD1E-BD3D-1A48-A91A-DD9E54F15304}" dt="2023-03-13T02:17:35.760" v="3207" actId="2696"/>
        <pc:sldMkLst>
          <pc:docMk/>
          <pc:sldMk cId="2469263861" sldId="476"/>
        </pc:sldMkLst>
        <pc:spChg chg="mod">
          <ac:chgData name="Wilps, Julius" userId="6d1b960f-b4ab-492d-83e7-05f23c28b40e" providerId="ADAL" clId="{3F4FFD1E-BD3D-1A48-A91A-DD9E54F15304}" dt="2023-03-12T16:45:11.520" v="1087" actId="20577"/>
          <ac:spMkLst>
            <pc:docMk/>
            <pc:sldMk cId="2469263861" sldId="476"/>
            <ac:spMk id="2" creationId="{B4EAAE7E-8825-1C20-CF47-B7D63ADF20C8}"/>
          </ac:spMkLst>
        </pc:spChg>
        <pc:spChg chg="del">
          <ac:chgData name="Wilps, Julius" userId="6d1b960f-b4ab-492d-83e7-05f23c28b40e" providerId="ADAL" clId="{3F4FFD1E-BD3D-1A48-A91A-DD9E54F15304}" dt="2023-03-12T16:45:15.995" v="1088" actId="478"/>
          <ac:spMkLst>
            <pc:docMk/>
            <pc:sldMk cId="2469263861" sldId="476"/>
            <ac:spMk id="5" creationId="{DD6F2C6E-97C8-6F7C-C7CD-092FD51F1892}"/>
          </ac:spMkLst>
        </pc:spChg>
        <pc:spChg chg="add mod">
          <ac:chgData name="Wilps, Julius" userId="6d1b960f-b4ab-492d-83e7-05f23c28b40e" providerId="ADAL" clId="{3F4FFD1E-BD3D-1A48-A91A-DD9E54F15304}" dt="2023-03-12T16:45:46.480" v="1093" actId="14100"/>
          <ac:spMkLst>
            <pc:docMk/>
            <pc:sldMk cId="2469263861" sldId="476"/>
            <ac:spMk id="6" creationId="{99E0F57C-2734-5778-2664-CAB14BA8EDE8}"/>
          </ac:spMkLst>
        </pc:spChg>
        <pc:picChg chg="del">
          <ac:chgData name="Wilps, Julius" userId="6d1b960f-b4ab-492d-83e7-05f23c28b40e" providerId="ADAL" clId="{3F4FFD1E-BD3D-1A48-A91A-DD9E54F15304}" dt="2023-03-12T16:45:28.160" v="1090" actId="478"/>
          <ac:picMkLst>
            <pc:docMk/>
            <pc:sldMk cId="2469263861" sldId="476"/>
            <ac:picMk id="16" creationId="{9B91BFD8-BF8B-B9CA-C0EF-ED99DB7B6611}"/>
          </ac:picMkLst>
        </pc:picChg>
        <pc:picChg chg="del">
          <ac:chgData name="Wilps, Julius" userId="6d1b960f-b4ab-492d-83e7-05f23c28b40e" providerId="ADAL" clId="{3F4FFD1E-BD3D-1A48-A91A-DD9E54F15304}" dt="2023-03-12T16:45:27.699" v="1089" actId="478"/>
          <ac:picMkLst>
            <pc:docMk/>
            <pc:sldMk cId="2469263861" sldId="476"/>
            <ac:picMk id="19" creationId="{BE8F2435-928E-15B3-434F-23D812F25F2D}"/>
          </ac:picMkLst>
        </pc:picChg>
      </pc:sldChg>
      <pc:sldChg chg="modSp add del mod">
        <pc:chgData name="Wilps, Julius" userId="6d1b960f-b4ab-492d-83e7-05f23c28b40e" providerId="ADAL" clId="{3F4FFD1E-BD3D-1A48-A91A-DD9E54F15304}" dt="2023-03-12T17:14:13.678" v="1577" actId="2696"/>
        <pc:sldMkLst>
          <pc:docMk/>
          <pc:sldMk cId="1502850402" sldId="477"/>
        </pc:sldMkLst>
        <pc:spChg chg="mod">
          <ac:chgData name="Wilps, Julius" userId="6d1b960f-b4ab-492d-83e7-05f23c28b40e" providerId="ADAL" clId="{3F4FFD1E-BD3D-1A48-A91A-DD9E54F15304}" dt="2023-03-12T17:13:43.851" v="1572" actId="13926"/>
          <ac:spMkLst>
            <pc:docMk/>
            <pc:sldMk cId="1502850402" sldId="477"/>
            <ac:spMk id="7" creationId="{77755B5F-5B92-9175-C19B-E27003856FAD}"/>
          </ac:spMkLst>
        </pc:spChg>
        <pc:spChg chg="mod">
          <ac:chgData name="Wilps, Julius" userId="6d1b960f-b4ab-492d-83e7-05f23c28b40e" providerId="ADAL" clId="{3F4FFD1E-BD3D-1A48-A91A-DD9E54F15304}" dt="2023-03-12T17:13:37.497" v="1571" actId="113"/>
          <ac:spMkLst>
            <pc:docMk/>
            <pc:sldMk cId="1502850402" sldId="477"/>
            <ac:spMk id="17" creationId="{210E038B-B719-BD94-363B-2FA4F701C44E}"/>
          </ac:spMkLst>
        </pc:spChg>
        <pc:spChg chg="mod">
          <ac:chgData name="Wilps, Julius" userId="6d1b960f-b4ab-492d-83e7-05f23c28b40e" providerId="ADAL" clId="{3F4FFD1E-BD3D-1A48-A91A-DD9E54F15304}" dt="2023-03-12T17:13:23.171" v="1566" actId="20577"/>
          <ac:spMkLst>
            <pc:docMk/>
            <pc:sldMk cId="1502850402" sldId="477"/>
            <ac:spMk id="19" creationId="{3C370EBF-4567-1B5E-DB6C-E754BE4ABF93}"/>
          </ac:spMkLst>
        </pc:spChg>
      </pc:sldChg>
      <pc:sldChg chg="addSp delSp modSp add mod">
        <pc:chgData name="Wilps, Julius" userId="6d1b960f-b4ab-492d-83e7-05f23c28b40e" providerId="ADAL" clId="{3F4FFD1E-BD3D-1A48-A91A-DD9E54F15304}" dt="2023-03-12T19:37:38.674" v="2030" actId="14100"/>
        <pc:sldMkLst>
          <pc:docMk/>
          <pc:sldMk cId="4276674024" sldId="478"/>
        </pc:sldMkLst>
        <pc:spChg chg="mod">
          <ac:chgData name="Wilps, Julius" userId="6d1b960f-b4ab-492d-83e7-05f23c28b40e" providerId="ADAL" clId="{3F4FFD1E-BD3D-1A48-A91A-DD9E54F15304}" dt="2023-03-12T17:14:39.380" v="1594" actId="20577"/>
          <ac:spMkLst>
            <pc:docMk/>
            <pc:sldMk cId="4276674024" sldId="478"/>
            <ac:spMk id="7" creationId="{77755B5F-5B92-9175-C19B-E27003856FAD}"/>
          </ac:spMkLst>
        </pc:spChg>
        <pc:spChg chg="add del mod">
          <ac:chgData name="Wilps, Julius" userId="6d1b960f-b4ab-492d-83e7-05f23c28b40e" providerId="ADAL" clId="{3F4FFD1E-BD3D-1A48-A91A-DD9E54F15304}" dt="2023-03-12T19:36:15.420" v="2015" actId="478"/>
          <ac:spMkLst>
            <pc:docMk/>
            <pc:sldMk cId="4276674024" sldId="478"/>
            <ac:spMk id="12" creationId="{03C8B744-680E-8558-37D4-74E705765197}"/>
          </ac:spMkLst>
        </pc:spChg>
        <pc:spChg chg="add mod">
          <ac:chgData name="Wilps, Julius" userId="6d1b960f-b4ab-492d-83e7-05f23c28b40e" providerId="ADAL" clId="{3F4FFD1E-BD3D-1A48-A91A-DD9E54F15304}" dt="2023-03-12T19:37:28.111" v="2027" actId="1076"/>
          <ac:spMkLst>
            <pc:docMk/>
            <pc:sldMk cId="4276674024" sldId="478"/>
            <ac:spMk id="13" creationId="{A11A55F0-F0EC-17FE-6D9B-DF52C3423A85}"/>
          </ac:spMkLst>
        </pc:spChg>
        <pc:spChg chg="add mod">
          <ac:chgData name="Wilps, Julius" userId="6d1b960f-b4ab-492d-83e7-05f23c28b40e" providerId="ADAL" clId="{3F4FFD1E-BD3D-1A48-A91A-DD9E54F15304}" dt="2023-03-12T19:37:31.215" v="2028" actId="1076"/>
          <ac:spMkLst>
            <pc:docMk/>
            <pc:sldMk cId="4276674024" sldId="478"/>
            <ac:spMk id="14" creationId="{59327480-B66B-A178-7603-79EC8C4D3FEB}"/>
          </ac:spMkLst>
        </pc:spChg>
        <pc:spChg chg="mod">
          <ac:chgData name="Wilps, Julius" userId="6d1b960f-b4ab-492d-83e7-05f23c28b40e" providerId="ADAL" clId="{3F4FFD1E-BD3D-1A48-A91A-DD9E54F15304}" dt="2023-03-12T17:14:24.528" v="1587" actId="20577"/>
          <ac:spMkLst>
            <pc:docMk/>
            <pc:sldMk cId="4276674024" sldId="478"/>
            <ac:spMk id="17" creationId="{210E038B-B719-BD94-363B-2FA4F701C44E}"/>
          </ac:spMkLst>
        </pc:spChg>
        <pc:spChg chg="mod">
          <ac:chgData name="Wilps, Julius" userId="6d1b960f-b4ab-492d-83e7-05f23c28b40e" providerId="ADAL" clId="{3F4FFD1E-BD3D-1A48-A91A-DD9E54F15304}" dt="2023-03-12T17:14:20.446" v="1584" actId="20577"/>
          <ac:spMkLst>
            <pc:docMk/>
            <pc:sldMk cId="4276674024" sldId="478"/>
            <ac:spMk id="19" creationId="{3C370EBF-4567-1B5E-DB6C-E754BE4ABF93}"/>
          </ac:spMkLst>
        </pc:spChg>
        <pc:spChg chg="mod">
          <ac:chgData name="Wilps, Julius" userId="6d1b960f-b4ab-492d-83e7-05f23c28b40e" providerId="ADAL" clId="{3F4FFD1E-BD3D-1A48-A91A-DD9E54F15304}" dt="2023-03-12T17:15:35.826" v="1603" actId="20577"/>
          <ac:spMkLst>
            <pc:docMk/>
            <pc:sldMk cId="4276674024" sldId="478"/>
            <ac:spMk id="30" creationId="{D22AD690-2D08-DF30-0B0C-061E331D5BCB}"/>
          </ac:spMkLst>
        </pc:spChg>
        <pc:spChg chg="mod">
          <ac:chgData name="Wilps, Julius" userId="6d1b960f-b4ab-492d-83e7-05f23c28b40e" providerId="ADAL" clId="{3F4FFD1E-BD3D-1A48-A91A-DD9E54F15304}" dt="2023-03-12T17:25:12.799" v="1678" actId="20577"/>
          <ac:spMkLst>
            <pc:docMk/>
            <pc:sldMk cId="4276674024" sldId="478"/>
            <ac:spMk id="31" creationId="{AF8FB2E4-44F4-A2A4-1A59-D391A727F293}"/>
          </ac:spMkLst>
        </pc:spChg>
        <pc:graphicFrameChg chg="mod">
          <ac:chgData name="Wilps, Julius" userId="6d1b960f-b4ab-492d-83e7-05f23c28b40e" providerId="ADAL" clId="{3F4FFD1E-BD3D-1A48-A91A-DD9E54F15304}" dt="2023-03-12T17:15:46.185" v="1622" actId="20577"/>
          <ac:graphicFrameMkLst>
            <pc:docMk/>
            <pc:sldMk cId="4276674024" sldId="478"/>
            <ac:graphicFrameMk id="15" creationId="{9128C4FB-C486-1231-5758-6AD5F56FD1A4}"/>
          </ac:graphicFrameMkLst>
        </pc:graphicFrameChg>
        <pc:picChg chg="add del mod">
          <ac:chgData name="Wilps, Julius" userId="6d1b960f-b4ab-492d-83e7-05f23c28b40e" providerId="ADAL" clId="{3F4FFD1E-BD3D-1A48-A91A-DD9E54F15304}" dt="2023-03-12T19:36:15.420" v="2015" actId="478"/>
          <ac:picMkLst>
            <pc:docMk/>
            <pc:sldMk cId="4276674024" sldId="478"/>
            <ac:picMk id="3" creationId="{9C181B3B-C937-EF50-6A37-7CC7AF722F10}"/>
          </ac:picMkLst>
        </pc:picChg>
        <pc:cxnChg chg="add del mod">
          <ac:chgData name="Wilps, Julius" userId="6d1b960f-b4ab-492d-83e7-05f23c28b40e" providerId="ADAL" clId="{3F4FFD1E-BD3D-1A48-A91A-DD9E54F15304}" dt="2023-03-12T19:36:18.572" v="2016" actId="478"/>
          <ac:cxnSpMkLst>
            <pc:docMk/>
            <pc:sldMk cId="4276674024" sldId="478"/>
            <ac:cxnSpMk id="5" creationId="{35355EA5-54C1-4B8A-5CC5-E4122FCFA880}"/>
          </ac:cxnSpMkLst>
        </pc:cxnChg>
        <pc:cxnChg chg="add del mod">
          <ac:chgData name="Wilps, Julius" userId="6d1b960f-b4ab-492d-83e7-05f23c28b40e" providerId="ADAL" clId="{3F4FFD1E-BD3D-1A48-A91A-DD9E54F15304}" dt="2023-03-12T19:37:35.087" v="2029" actId="14100"/>
          <ac:cxnSpMkLst>
            <pc:docMk/>
            <pc:sldMk cId="4276674024" sldId="478"/>
            <ac:cxnSpMk id="9" creationId="{85E7DB60-F5CA-C376-B11A-D8A49285E163}"/>
          </ac:cxnSpMkLst>
        </pc:cxnChg>
        <pc:cxnChg chg="add del mod">
          <ac:chgData name="Wilps, Julius" userId="6d1b960f-b4ab-492d-83e7-05f23c28b40e" providerId="ADAL" clId="{3F4FFD1E-BD3D-1A48-A91A-DD9E54F15304}" dt="2023-03-12T19:37:38.674" v="2030" actId="14100"/>
          <ac:cxnSpMkLst>
            <pc:docMk/>
            <pc:sldMk cId="4276674024" sldId="478"/>
            <ac:cxnSpMk id="10" creationId="{28A7B624-ADF0-F8A9-938D-39B6923732B5}"/>
          </ac:cxnSpMkLst>
        </pc:cxnChg>
        <pc:cxnChg chg="add del mod">
          <ac:chgData name="Wilps, Julius" userId="6d1b960f-b4ab-492d-83e7-05f23c28b40e" providerId="ADAL" clId="{3F4FFD1E-BD3D-1A48-A91A-DD9E54F15304}" dt="2023-03-12T19:36:20.325" v="2017" actId="478"/>
          <ac:cxnSpMkLst>
            <pc:docMk/>
            <pc:sldMk cId="4276674024" sldId="478"/>
            <ac:cxnSpMk id="11" creationId="{F675AC0B-1AF3-4DF4-C920-F0569477A1A7}"/>
          </ac:cxnSpMkLst>
        </pc:cxnChg>
      </pc:sldChg>
      <pc:sldChg chg="modSp mod ord">
        <pc:chgData name="Wilps, Julius" userId="6d1b960f-b4ab-492d-83e7-05f23c28b40e" providerId="ADAL" clId="{3F4FFD1E-BD3D-1A48-A91A-DD9E54F15304}" dt="2023-03-13T22:50:18.332" v="3245" actId="20577"/>
        <pc:sldMkLst>
          <pc:docMk/>
          <pc:sldMk cId="4072428998" sldId="479"/>
        </pc:sldMkLst>
        <pc:spChg chg="mod">
          <ac:chgData name="Wilps, Julius" userId="6d1b960f-b4ab-492d-83e7-05f23c28b40e" providerId="ADAL" clId="{3F4FFD1E-BD3D-1A48-A91A-DD9E54F15304}" dt="2023-03-13T22:50:18.332" v="3245" actId="20577"/>
          <ac:spMkLst>
            <pc:docMk/>
            <pc:sldMk cId="4072428998" sldId="479"/>
            <ac:spMk id="29" creationId="{47B67832-EC4B-6D6E-5706-23C858665C17}"/>
          </ac:spMkLst>
        </pc:spChg>
      </pc:sldChg>
      <pc:sldChg chg="addSp modSp mod">
        <pc:chgData name="Wilps, Julius" userId="6d1b960f-b4ab-492d-83e7-05f23c28b40e" providerId="ADAL" clId="{3F4FFD1E-BD3D-1A48-A91A-DD9E54F15304}" dt="2023-03-12T21:04:26.374" v="2178" actId="20577"/>
        <pc:sldMkLst>
          <pc:docMk/>
          <pc:sldMk cId="1358568689" sldId="483"/>
        </pc:sldMkLst>
        <pc:spChg chg="mod">
          <ac:chgData name="Wilps, Julius" userId="6d1b960f-b4ab-492d-83e7-05f23c28b40e" providerId="ADAL" clId="{3F4FFD1E-BD3D-1A48-A91A-DD9E54F15304}" dt="2023-03-12T21:04:26.374" v="2178" actId="20577"/>
          <ac:spMkLst>
            <pc:docMk/>
            <pc:sldMk cId="1358568689" sldId="483"/>
            <ac:spMk id="7" creationId="{E2AA8519-58F1-8711-EDA8-7D459D8F4089}"/>
          </ac:spMkLst>
        </pc:spChg>
        <pc:picChg chg="add mod">
          <ac:chgData name="Wilps, Julius" userId="6d1b960f-b4ab-492d-83e7-05f23c28b40e" providerId="ADAL" clId="{3F4FFD1E-BD3D-1A48-A91A-DD9E54F15304}" dt="2023-03-12T21:00:17.929" v="2038" actId="1076"/>
          <ac:picMkLst>
            <pc:docMk/>
            <pc:sldMk cId="1358568689" sldId="483"/>
            <ac:picMk id="12" creationId="{9723746A-CC1F-E6F5-BE0F-363259695CF6}"/>
          </ac:picMkLst>
        </pc:picChg>
      </pc:sldChg>
      <pc:sldChg chg="addSp delSp modSp new mod">
        <pc:chgData name="Wilps, Julius" userId="6d1b960f-b4ab-492d-83e7-05f23c28b40e" providerId="ADAL" clId="{3F4FFD1E-BD3D-1A48-A91A-DD9E54F15304}" dt="2023-03-12T21:04:15.956" v="2166" actId="20577"/>
        <pc:sldMkLst>
          <pc:docMk/>
          <pc:sldMk cId="306320928" sldId="484"/>
        </pc:sldMkLst>
        <pc:spChg chg="mod">
          <ac:chgData name="Wilps, Julius" userId="6d1b960f-b4ab-492d-83e7-05f23c28b40e" providerId="ADAL" clId="{3F4FFD1E-BD3D-1A48-A91A-DD9E54F15304}" dt="2023-03-12T21:02:44.696" v="2073" actId="20577"/>
          <ac:spMkLst>
            <pc:docMk/>
            <pc:sldMk cId="306320928" sldId="484"/>
            <ac:spMk id="5" creationId="{94FB67CD-D51E-5113-5255-93E5850405AD}"/>
          </ac:spMkLst>
        </pc:spChg>
        <pc:spChg chg="mod">
          <ac:chgData name="Wilps, Julius" userId="6d1b960f-b4ab-492d-83e7-05f23c28b40e" providerId="ADAL" clId="{3F4FFD1E-BD3D-1A48-A91A-DD9E54F15304}" dt="2023-03-12T21:03:07.659" v="2133" actId="20577"/>
          <ac:spMkLst>
            <pc:docMk/>
            <pc:sldMk cId="306320928" sldId="484"/>
            <ac:spMk id="7" creationId="{6C361DF2-E21A-DDE6-1EA0-BBBCDC8550CA}"/>
          </ac:spMkLst>
        </pc:spChg>
        <pc:spChg chg="mod">
          <ac:chgData name="Wilps, Julius" userId="6d1b960f-b4ab-492d-83e7-05f23c28b40e" providerId="ADAL" clId="{3F4FFD1E-BD3D-1A48-A91A-DD9E54F15304}" dt="2023-03-12T21:02:49.679" v="2093" actId="20577"/>
          <ac:spMkLst>
            <pc:docMk/>
            <pc:sldMk cId="306320928" sldId="484"/>
            <ac:spMk id="9" creationId="{4E186976-1753-2BDE-C5D6-2577346A98A9}"/>
          </ac:spMkLst>
        </pc:spChg>
        <pc:spChg chg="mod">
          <ac:chgData name="Wilps, Julius" userId="6d1b960f-b4ab-492d-83e7-05f23c28b40e" providerId="ADAL" clId="{3F4FFD1E-BD3D-1A48-A91A-DD9E54F15304}" dt="2023-03-12T21:02:55.213" v="2109" actId="20577"/>
          <ac:spMkLst>
            <pc:docMk/>
            <pc:sldMk cId="306320928" sldId="484"/>
            <ac:spMk id="11" creationId="{03A735B1-00C7-26D1-D169-0EED3A8C423A}"/>
          </ac:spMkLst>
        </pc:spChg>
        <pc:spChg chg="mod">
          <ac:chgData name="Wilps, Julius" userId="6d1b960f-b4ab-492d-83e7-05f23c28b40e" providerId="ADAL" clId="{3F4FFD1E-BD3D-1A48-A91A-DD9E54F15304}" dt="2023-03-12T21:04:15.956" v="2166" actId="20577"/>
          <ac:spMkLst>
            <pc:docMk/>
            <pc:sldMk cId="306320928" sldId="484"/>
            <ac:spMk id="13" creationId="{E11A03C1-9CBC-2CF1-CD57-A96FD7CEC7A1}"/>
          </ac:spMkLst>
        </pc:spChg>
        <pc:spChg chg="del mod">
          <ac:chgData name="Wilps, Julius" userId="6d1b960f-b4ab-492d-83e7-05f23c28b40e" providerId="ADAL" clId="{3F4FFD1E-BD3D-1A48-A91A-DD9E54F15304}" dt="2023-03-12T21:03:59.366" v="2157" actId="478"/>
          <ac:spMkLst>
            <pc:docMk/>
            <pc:sldMk cId="306320928" sldId="484"/>
            <ac:spMk id="15" creationId="{F60DD40D-885F-D0AE-7AFF-8176D64D2DDD}"/>
          </ac:spMkLst>
        </pc:spChg>
        <pc:spChg chg="mod">
          <ac:chgData name="Wilps, Julius" userId="6d1b960f-b4ab-492d-83e7-05f23c28b40e" providerId="ADAL" clId="{3F4FFD1E-BD3D-1A48-A91A-DD9E54F15304}" dt="2023-03-12T21:03:55.631" v="2156" actId="1076"/>
          <ac:spMkLst>
            <pc:docMk/>
            <pc:sldMk cId="306320928" sldId="484"/>
            <ac:spMk id="16" creationId="{57C8BB72-8ABD-B530-E5DB-8A444F1F41BC}"/>
          </ac:spMkLst>
        </pc:spChg>
        <pc:spChg chg="del">
          <ac:chgData name="Wilps, Julius" userId="6d1b960f-b4ab-492d-83e7-05f23c28b40e" providerId="ADAL" clId="{3F4FFD1E-BD3D-1A48-A91A-DD9E54F15304}" dt="2023-03-12T21:03:59.366" v="2157" actId="478"/>
          <ac:spMkLst>
            <pc:docMk/>
            <pc:sldMk cId="306320928" sldId="484"/>
            <ac:spMk id="17" creationId="{BECF8BCA-D847-972D-7B82-B79E28486A29}"/>
          </ac:spMkLst>
        </pc:spChg>
        <pc:spChg chg="del">
          <ac:chgData name="Wilps, Julius" userId="6d1b960f-b4ab-492d-83e7-05f23c28b40e" providerId="ADAL" clId="{3F4FFD1E-BD3D-1A48-A91A-DD9E54F15304}" dt="2023-03-12T21:03:59.366" v="2157" actId="478"/>
          <ac:spMkLst>
            <pc:docMk/>
            <pc:sldMk cId="306320928" sldId="484"/>
            <ac:spMk id="18" creationId="{A44CFAE1-92D0-8E8A-D99C-793D7579E20B}"/>
          </ac:spMkLst>
        </pc:spChg>
        <pc:spChg chg="del">
          <ac:chgData name="Wilps, Julius" userId="6d1b960f-b4ab-492d-83e7-05f23c28b40e" providerId="ADAL" clId="{3F4FFD1E-BD3D-1A48-A91A-DD9E54F15304}" dt="2023-03-12T21:03:59.366" v="2157" actId="478"/>
          <ac:spMkLst>
            <pc:docMk/>
            <pc:sldMk cId="306320928" sldId="484"/>
            <ac:spMk id="19" creationId="{D6379B16-ABFD-881F-5B37-1FB883304A72}"/>
          </ac:spMkLst>
        </pc:spChg>
        <pc:spChg chg="del">
          <ac:chgData name="Wilps, Julius" userId="6d1b960f-b4ab-492d-83e7-05f23c28b40e" providerId="ADAL" clId="{3F4FFD1E-BD3D-1A48-A91A-DD9E54F15304}" dt="2023-03-12T21:03:59.366" v="2157" actId="478"/>
          <ac:spMkLst>
            <pc:docMk/>
            <pc:sldMk cId="306320928" sldId="484"/>
            <ac:spMk id="20" creationId="{A1AB4B5F-5A54-5A59-1272-362E1A433478}"/>
          </ac:spMkLst>
        </pc:spChg>
        <pc:spChg chg="del">
          <ac:chgData name="Wilps, Julius" userId="6d1b960f-b4ab-492d-83e7-05f23c28b40e" providerId="ADAL" clId="{3F4FFD1E-BD3D-1A48-A91A-DD9E54F15304}" dt="2023-03-12T21:03:59.366" v="2157" actId="478"/>
          <ac:spMkLst>
            <pc:docMk/>
            <pc:sldMk cId="306320928" sldId="484"/>
            <ac:spMk id="21" creationId="{B260025E-0F87-F957-AB92-A710E9F9F831}"/>
          </ac:spMkLst>
        </pc:spChg>
        <pc:spChg chg="del">
          <ac:chgData name="Wilps, Julius" userId="6d1b960f-b4ab-492d-83e7-05f23c28b40e" providerId="ADAL" clId="{3F4FFD1E-BD3D-1A48-A91A-DD9E54F15304}" dt="2023-03-12T21:03:59.366" v="2157" actId="478"/>
          <ac:spMkLst>
            <pc:docMk/>
            <pc:sldMk cId="306320928" sldId="484"/>
            <ac:spMk id="22" creationId="{A2557424-D48F-9003-F4E7-A5364D360F40}"/>
          </ac:spMkLst>
        </pc:spChg>
        <pc:spChg chg="del">
          <ac:chgData name="Wilps, Julius" userId="6d1b960f-b4ab-492d-83e7-05f23c28b40e" providerId="ADAL" clId="{3F4FFD1E-BD3D-1A48-A91A-DD9E54F15304}" dt="2023-03-12T21:03:59.366" v="2157" actId="478"/>
          <ac:spMkLst>
            <pc:docMk/>
            <pc:sldMk cId="306320928" sldId="484"/>
            <ac:spMk id="23" creationId="{E2D35572-E6EF-3BB6-F91C-22CCC9C45C4F}"/>
          </ac:spMkLst>
        </pc:spChg>
        <pc:spChg chg="del">
          <ac:chgData name="Wilps, Julius" userId="6d1b960f-b4ab-492d-83e7-05f23c28b40e" providerId="ADAL" clId="{3F4FFD1E-BD3D-1A48-A91A-DD9E54F15304}" dt="2023-03-12T21:03:59.366" v="2157" actId="478"/>
          <ac:spMkLst>
            <pc:docMk/>
            <pc:sldMk cId="306320928" sldId="484"/>
            <ac:spMk id="24" creationId="{2E0A3D9D-8D42-45F3-FEAF-C92676345D3B}"/>
          </ac:spMkLst>
        </pc:spChg>
        <pc:spChg chg="del">
          <ac:chgData name="Wilps, Julius" userId="6d1b960f-b4ab-492d-83e7-05f23c28b40e" providerId="ADAL" clId="{3F4FFD1E-BD3D-1A48-A91A-DD9E54F15304}" dt="2023-03-12T21:03:59.366" v="2157" actId="478"/>
          <ac:spMkLst>
            <pc:docMk/>
            <pc:sldMk cId="306320928" sldId="484"/>
            <ac:spMk id="25" creationId="{11B38976-7F02-AF54-949D-83F7BE6597CD}"/>
          </ac:spMkLst>
        </pc:spChg>
        <pc:spChg chg="del">
          <ac:chgData name="Wilps, Julius" userId="6d1b960f-b4ab-492d-83e7-05f23c28b40e" providerId="ADAL" clId="{3F4FFD1E-BD3D-1A48-A91A-DD9E54F15304}" dt="2023-03-12T21:03:59.366" v="2157" actId="478"/>
          <ac:spMkLst>
            <pc:docMk/>
            <pc:sldMk cId="306320928" sldId="484"/>
            <ac:spMk id="26" creationId="{0C71B73D-07E1-4BBA-588B-2EBB055E8B03}"/>
          </ac:spMkLst>
        </pc:spChg>
        <pc:spChg chg="mod">
          <ac:chgData name="Wilps, Julius" userId="6d1b960f-b4ab-492d-83e7-05f23c28b40e" providerId="ADAL" clId="{3F4FFD1E-BD3D-1A48-A91A-DD9E54F15304}" dt="2023-03-12T21:04:07.776" v="2165" actId="20577"/>
          <ac:spMkLst>
            <pc:docMk/>
            <pc:sldMk cId="306320928" sldId="484"/>
            <ac:spMk id="27" creationId="{AEA70F3E-33AB-E6D5-586D-FE1BC5FDC1A5}"/>
          </ac:spMkLst>
        </pc:spChg>
        <pc:spChg chg="del">
          <ac:chgData name="Wilps, Julius" userId="6d1b960f-b4ab-492d-83e7-05f23c28b40e" providerId="ADAL" clId="{3F4FFD1E-BD3D-1A48-A91A-DD9E54F15304}" dt="2023-03-12T21:04:05.885" v="2159" actId="478"/>
          <ac:spMkLst>
            <pc:docMk/>
            <pc:sldMk cId="306320928" sldId="484"/>
            <ac:spMk id="28" creationId="{A4E38E86-6F6F-015A-6C36-C248D6E99902}"/>
          </ac:spMkLst>
        </pc:spChg>
        <pc:spChg chg="mod">
          <ac:chgData name="Wilps, Julius" userId="6d1b960f-b4ab-492d-83e7-05f23c28b40e" providerId="ADAL" clId="{3F4FFD1E-BD3D-1A48-A91A-DD9E54F15304}" dt="2023-03-12T21:02:32.894" v="2055" actId="20577"/>
          <ac:spMkLst>
            <pc:docMk/>
            <pc:sldMk cId="306320928" sldId="484"/>
            <ac:spMk id="29" creationId="{EB0D0403-D3D4-78E4-86A4-1E3864F49102}"/>
          </ac:spMkLst>
        </pc:spChg>
        <pc:spChg chg="add mod">
          <ac:chgData name="Wilps, Julius" userId="6d1b960f-b4ab-492d-83e7-05f23c28b40e" providerId="ADAL" clId="{3F4FFD1E-BD3D-1A48-A91A-DD9E54F15304}" dt="2023-03-12T21:03:33.127" v="2151" actId="1076"/>
          <ac:spMkLst>
            <pc:docMk/>
            <pc:sldMk cId="306320928" sldId="484"/>
            <ac:spMk id="32" creationId="{5C589B4C-ECEC-B21D-D736-45C1E62358E8}"/>
          </ac:spMkLst>
        </pc:spChg>
        <pc:spChg chg="add mod">
          <ac:chgData name="Wilps, Julius" userId="6d1b960f-b4ab-492d-83e7-05f23c28b40e" providerId="ADAL" clId="{3F4FFD1E-BD3D-1A48-A91A-DD9E54F15304}" dt="2023-03-12T21:03:46.312" v="2153" actId="1076"/>
          <ac:spMkLst>
            <pc:docMk/>
            <pc:sldMk cId="306320928" sldId="484"/>
            <ac:spMk id="33" creationId="{0F5B1A1F-8FA2-AA9C-49F8-32B02190336C}"/>
          </ac:spMkLst>
        </pc:spChg>
        <pc:spChg chg="add del mod">
          <ac:chgData name="Wilps, Julius" userId="6d1b960f-b4ab-492d-83e7-05f23c28b40e" providerId="ADAL" clId="{3F4FFD1E-BD3D-1A48-A91A-DD9E54F15304}" dt="2023-03-12T21:03:49.224" v="2155" actId="767"/>
          <ac:spMkLst>
            <pc:docMk/>
            <pc:sldMk cId="306320928" sldId="484"/>
            <ac:spMk id="34" creationId="{E88B3EFB-6A5F-13CE-D129-2ACCE7BFC3BB}"/>
          </ac:spMkLst>
        </pc:spChg>
        <pc:spChg chg="add del mod">
          <ac:chgData name="Wilps, Julius" userId="6d1b960f-b4ab-492d-83e7-05f23c28b40e" providerId="ADAL" clId="{3F4FFD1E-BD3D-1A48-A91A-DD9E54F15304}" dt="2023-03-12T21:04:03.517" v="2158" actId="478"/>
          <ac:spMkLst>
            <pc:docMk/>
            <pc:sldMk cId="306320928" sldId="484"/>
            <ac:spMk id="36" creationId="{6863C043-AB87-EA13-F888-A62CD1570C4A}"/>
          </ac:spMkLst>
        </pc:spChg>
      </pc:sldChg>
      <pc:sldChg chg="modSp add mod modNotesTx">
        <pc:chgData name="Wilps, Julius" userId="6d1b960f-b4ab-492d-83e7-05f23c28b40e" providerId="ADAL" clId="{3F4FFD1E-BD3D-1A48-A91A-DD9E54F15304}" dt="2023-03-13T22:49:00.113" v="3212" actId="20577"/>
        <pc:sldMkLst>
          <pc:docMk/>
          <pc:sldMk cId="2614601513" sldId="485"/>
        </pc:sldMkLst>
        <pc:spChg chg="mod">
          <ac:chgData name="Wilps, Julius" userId="6d1b960f-b4ab-492d-83e7-05f23c28b40e" providerId="ADAL" clId="{3F4FFD1E-BD3D-1A48-A91A-DD9E54F15304}" dt="2023-03-13T01:26:32.487" v="2730" actId="12"/>
          <ac:spMkLst>
            <pc:docMk/>
            <pc:sldMk cId="2614601513" sldId="485"/>
            <ac:spMk id="7" creationId="{A2FADCE3-E850-4784-8F2E-D7BF01E4852E}"/>
          </ac:spMkLst>
        </pc:spChg>
        <pc:spChg chg="mod">
          <ac:chgData name="Wilps, Julius" userId="6d1b960f-b4ab-492d-83e7-05f23c28b40e" providerId="ADAL" clId="{3F4FFD1E-BD3D-1A48-A91A-DD9E54F15304}" dt="2023-03-13T01:26:02.956" v="2728" actId="20577"/>
          <ac:spMkLst>
            <pc:docMk/>
            <pc:sldMk cId="2614601513" sldId="485"/>
            <ac:spMk id="14" creationId="{B600814F-C5FB-A5A6-C7E7-672B5C1EA70C}"/>
          </ac:spMkLst>
        </pc:spChg>
        <pc:graphicFrameChg chg="mod">
          <ac:chgData name="Wilps, Julius" userId="6d1b960f-b4ab-492d-83e7-05f23c28b40e" providerId="ADAL" clId="{3F4FFD1E-BD3D-1A48-A91A-DD9E54F15304}" dt="2023-03-13T01:28:21.259" v="2760" actId="20577"/>
          <ac:graphicFrameMkLst>
            <pc:docMk/>
            <pc:sldMk cId="2614601513" sldId="485"/>
            <ac:graphicFrameMk id="11" creationId="{166F07D9-B84C-554A-EC9E-1374AEFECDF4}"/>
          </ac:graphicFrameMkLst>
        </pc:graphicFrameChg>
        <pc:picChg chg="mod">
          <ac:chgData name="Wilps, Julius" userId="6d1b960f-b4ab-492d-83e7-05f23c28b40e" providerId="ADAL" clId="{3F4FFD1E-BD3D-1A48-A91A-DD9E54F15304}" dt="2023-03-13T01:26:37.867" v="2738" actId="1038"/>
          <ac:picMkLst>
            <pc:docMk/>
            <pc:sldMk cId="2614601513" sldId="485"/>
            <ac:picMk id="10" creationId="{9A8BCB35-777E-BB1C-41A0-2555CC450568}"/>
          </ac:picMkLst>
        </pc:picChg>
      </pc:sldChg>
      <pc:sldChg chg="addSp delSp modSp add del mod ord">
        <pc:chgData name="Wilps, Julius" userId="6d1b960f-b4ab-492d-83e7-05f23c28b40e" providerId="ADAL" clId="{3F4FFD1E-BD3D-1A48-A91A-DD9E54F15304}" dt="2023-03-12T21:05:20.697" v="2206" actId="2696"/>
        <pc:sldMkLst>
          <pc:docMk/>
          <pc:sldMk cId="2959619373" sldId="485"/>
        </pc:sldMkLst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2" creationId="{03D22A8F-1811-98E5-CE77-88F855668117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3" creationId="{3245243A-19F5-DC76-4CD9-C6343022EC3D}"/>
          </ac:spMkLst>
        </pc:spChg>
        <pc:spChg chg="del">
          <ac:chgData name="Wilps, Julius" userId="6d1b960f-b4ab-492d-83e7-05f23c28b40e" providerId="ADAL" clId="{3F4FFD1E-BD3D-1A48-A91A-DD9E54F15304}" dt="2023-03-12T21:04:52.039" v="2181" actId="478"/>
          <ac:spMkLst>
            <pc:docMk/>
            <pc:sldMk cId="2959619373" sldId="485"/>
            <ac:spMk id="4" creationId="{620F3424-E32B-4DE8-BF4D-4918B7628D43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5" creationId="{1B29E6B1-A303-97A9-66B4-6BAC9D264074}"/>
          </ac:spMkLst>
        </pc:spChg>
        <pc:spChg chg="del">
          <ac:chgData name="Wilps, Julius" userId="6d1b960f-b4ab-492d-83e7-05f23c28b40e" providerId="ADAL" clId="{3F4FFD1E-BD3D-1A48-A91A-DD9E54F15304}" dt="2023-03-12T21:04:52.039" v="2181" actId="478"/>
          <ac:spMkLst>
            <pc:docMk/>
            <pc:sldMk cId="2959619373" sldId="485"/>
            <ac:spMk id="6" creationId="{1CC6A956-A954-4940-A619-381D56C1A856}"/>
          </ac:spMkLst>
        </pc:spChg>
        <pc:spChg chg="del">
          <ac:chgData name="Wilps, Julius" userId="6d1b960f-b4ab-492d-83e7-05f23c28b40e" providerId="ADAL" clId="{3F4FFD1E-BD3D-1A48-A91A-DD9E54F15304}" dt="2023-03-12T21:04:52.039" v="2181" actId="478"/>
          <ac:spMkLst>
            <pc:docMk/>
            <pc:sldMk cId="2959619373" sldId="485"/>
            <ac:spMk id="7" creationId="{A2FADCE3-E850-4784-8F2E-D7BF01E4852E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8" creationId="{6DAF9156-A4B6-9884-B882-E891745D981D}"/>
          </ac:spMkLst>
        </pc:spChg>
        <pc:spChg chg="del">
          <ac:chgData name="Wilps, Julius" userId="6d1b960f-b4ab-492d-83e7-05f23c28b40e" providerId="ADAL" clId="{3F4FFD1E-BD3D-1A48-A91A-DD9E54F15304}" dt="2023-03-12T21:04:52.039" v="2181" actId="478"/>
          <ac:spMkLst>
            <pc:docMk/>
            <pc:sldMk cId="2959619373" sldId="485"/>
            <ac:spMk id="9" creationId="{06E69EF6-5F75-EF00-A656-2EF79BFF6CB7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3" creationId="{044458E2-5D38-40A1-C1D4-6528432DFA09}"/>
          </ac:spMkLst>
        </pc:spChg>
        <pc:spChg chg="del">
          <ac:chgData name="Wilps, Julius" userId="6d1b960f-b4ab-492d-83e7-05f23c28b40e" providerId="ADAL" clId="{3F4FFD1E-BD3D-1A48-A91A-DD9E54F15304}" dt="2023-03-12T21:04:52.039" v="2181" actId="478"/>
          <ac:spMkLst>
            <pc:docMk/>
            <pc:sldMk cId="2959619373" sldId="485"/>
            <ac:spMk id="14" creationId="{B600814F-C5FB-A5A6-C7E7-672B5C1EA70C}"/>
          </ac:spMkLst>
        </pc:spChg>
        <pc:spChg chg="del">
          <ac:chgData name="Wilps, Julius" userId="6d1b960f-b4ab-492d-83e7-05f23c28b40e" providerId="ADAL" clId="{3F4FFD1E-BD3D-1A48-A91A-DD9E54F15304}" dt="2023-03-12T21:04:52.039" v="2181" actId="478"/>
          <ac:spMkLst>
            <pc:docMk/>
            <pc:sldMk cId="2959619373" sldId="485"/>
            <ac:spMk id="15" creationId="{4413BBC4-36E1-345F-4E9F-B08C48E06413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6" creationId="{5D7A4170-88BA-20A2-7847-705B93406ADD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7" creationId="{221203E7-53B4-6DA6-82DE-262134C26E8B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8" creationId="{024A9F6E-18CD-09B4-E0EF-6EC6C43235C7}"/>
          </ac:spMkLst>
        </pc:spChg>
        <pc:spChg chg="del">
          <ac:chgData name="Wilps, Julius" userId="6d1b960f-b4ab-492d-83e7-05f23c28b40e" providerId="ADAL" clId="{3F4FFD1E-BD3D-1A48-A91A-DD9E54F15304}" dt="2023-03-12T21:04:52.039" v="2181" actId="478"/>
          <ac:spMkLst>
            <pc:docMk/>
            <pc:sldMk cId="2959619373" sldId="485"/>
            <ac:spMk id="19" creationId="{9C574363-8D56-4907-88DB-F19E396AEB20}"/>
          </ac:spMkLst>
        </pc:spChg>
        <pc:spChg chg="del">
          <ac:chgData name="Wilps, Julius" userId="6d1b960f-b4ab-492d-83e7-05f23c28b40e" providerId="ADAL" clId="{3F4FFD1E-BD3D-1A48-A91A-DD9E54F15304}" dt="2023-03-12T21:04:52.039" v="2181" actId="478"/>
          <ac:spMkLst>
            <pc:docMk/>
            <pc:sldMk cId="2959619373" sldId="485"/>
            <ac:spMk id="20" creationId="{2AD08722-C387-44A0-8955-313CD959C971}"/>
          </ac:spMkLst>
        </pc:spChg>
        <pc:spChg chg="del">
          <ac:chgData name="Wilps, Julius" userId="6d1b960f-b4ab-492d-83e7-05f23c28b40e" providerId="ADAL" clId="{3F4FFD1E-BD3D-1A48-A91A-DD9E54F15304}" dt="2023-03-12T21:04:52.039" v="2181" actId="478"/>
          <ac:spMkLst>
            <pc:docMk/>
            <pc:sldMk cId="2959619373" sldId="485"/>
            <ac:spMk id="21" creationId="{03AEB1A7-4A22-4EA3-B891-8CE774B86F7E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22" creationId="{0AE1475D-D0ED-D67D-1C59-E9C36DEBE4F7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23" creationId="{F848AEE7-674F-813F-1205-BAF5E2224879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24" creationId="{8D9A174D-60E9-B0C3-5EEF-480BA2DD404A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25" creationId="{B6101615-717C-D691-62BC-118C60DBAA20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26" creationId="{3BBB251B-53A1-A6C9-BB22-8B76FEEDF0BD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27" creationId="{0E751777-3837-FB56-B195-17829AC9EF5B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28" creationId="{F03C9AD2-550E-C6ED-4F01-D7AF2037A680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29" creationId="{3504D390-14F7-6E7F-D52E-A57DA2415B5B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30" creationId="{507BC61F-B379-F0B4-7194-4B95B5093295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31" creationId="{D22F22AF-BDD5-4367-0B39-E159AABB51FD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32" creationId="{A4130AD8-A5C9-CD85-C974-A642EFD1B2E0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33" creationId="{354582F3-DD63-1AA0-4A25-D589D49B8BC6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34" creationId="{614F1096-FC31-F7A7-F256-EF905661E727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35" creationId="{236D414B-E77D-9A57-4CE8-F5B8100601B5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36" creationId="{7651BF69-DD35-5510-4913-B2C7CFA404A1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37" creationId="{35F8F066-0EEA-7780-58D7-439E1928BAA0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38" creationId="{A51412FF-99FB-7D23-A7B5-5303509A90FA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39" creationId="{78040FC7-2E74-C721-C62F-A07B91425FAB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40" creationId="{36CBA2CC-BD5A-01CB-BDE9-C8B244C7F160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41" creationId="{11EBDBD6-A910-AAD5-64D0-6406205D5674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42" creationId="{32945939-96E0-B0F2-15DE-B6A2DB9F5A74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77" creationId="{C423DD4E-84D9-D838-09CA-1374A2325835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78" creationId="{CCA6627A-EAE0-85EE-FD77-3CEFFE052886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79" creationId="{EA46AC4A-DE0B-AB92-14E7-4ECA1A02E6CD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80" creationId="{1564D7C9-58D5-D0A3-19BA-23A7BD50EEFC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81" creationId="{7A236D23-18B9-A638-BE3F-D268631CCEFA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82" creationId="{6C4BE0D4-4338-8295-75FC-EAD5E84856F5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83" creationId="{47578062-7286-F7E6-17DA-E1801727FDF1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84" creationId="{9CC0243C-11FE-27A6-A3BB-7AD05B6CA3C2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85" creationId="{FE6201CE-7426-921C-E142-2B2E3D0482CC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86" creationId="{73BA4465-E35A-4C3F-79A3-2E7C8081E4AE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87" creationId="{96EBE3A5-D2D1-95C9-E29E-17F094438FFC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88" creationId="{D1C7B1B6-C6B6-F6F9-63B9-B89F9AA6E6CD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89" creationId="{0177266B-5D35-14B6-A247-076AE60A12D4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90" creationId="{D478D643-F120-EE5B-EE89-5091E40AA4D3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91" creationId="{C7FAF502-574C-7A94-DD3F-8D0C90DC0525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92" creationId="{D00B27E5-0FD9-EF1E-948F-D5288B034151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93" creationId="{F7A31C4E-0DAA-3F85-D960-D395A1A0A931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94" creationId="{14D60DD2-79BA-5347-E8F4-746D87BC01D6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95" creationId="{753FA87D-1C39-CAA9-166C-181692F89813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96" creationId="{E2A171DF-07B9-66F8-E9C0-8935DFE7D5B0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97" creationId="{E51E21C6-0EF3-6FDD-7E62-CC48ABC6539C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98" creationId="{E607C26C-2B62-2715-C21B-AB38487BA6F8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99" creationId="{22A87530-27CE-5A05-AC81-18F0410039C7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00" creationId="{5CD6A320-E29C-C49F-DC5B-76E16BB30C09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01" creationId="{AC05F339-86F1-2AC3-4BA0-32DDC3B3CE4F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02" creationId="{8184DCEF-0BCF-16AB-1204-9CA110F9D50D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03" creationId="{6C3C61CF-6FA1-DA7B-F22F-E5D35FB5546C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04" creationId="{07639A08-C587-1968-C498-D39966B084E6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05" creationId="{E0ABB71E-A349-5909-3C8B-176FEF27F746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06" creationId="{9FC4D494-4496-D146-4F47-AAB465744D54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07" creationId="{BB3AF1EE-FB52-12B5-D0AA-A1ABFD869C98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08" creationId="{059C6282-FEB8-04D0-4CD8-B905EC535F08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09" creationId="{FE8E3440-8A88-90F7-26DD-39CDAA3E5784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10" creationId="{866C434F-FEA9-1C43-1664-B2DAD5937B51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11" creationId="{B16BE5A6-460E-6BE3-DA6D-BD9E1D86855E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12" creationId="{DF042359-0CCB-6967-8823-6BFDECAA07E0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13" creationId="{4774E0FD-A5F2-FE61-DF8F-377CEAA7DC10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14" creationId="{9A2AE9A4-D7B7-EF81-846A-D43B90F75583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15" creationId="{4EFF13DC-FCAE-5A5D-241E-20C03483B396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16" creationId="{A6F10004-5242-41AD-C924-BEE1475C1AAF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17" creationId="{4F056BDF-D119-6323-EA12-5F78469BADEF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18" creationId="{179B9146-4605-259C-2693-9FFFAC85F3BF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19" creationId="{62087327-927C-AF59-A8A0-4C5FF2A30205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20" creationId="{4EDDE0CA-10D3-224E-B2D9-B278F4E74112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21" creationId="{1D95BDF2-F467-585E-CF5C-DD772B1C82B9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25" creationId="{D8CBEA66-4735-04A9-F4C3-E22F9696A8F6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26" creationId="{AED49929-DEB5-39D5-5714-FDF680DBDFB7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27" creationId="{53C8026A-691B-C3B9-4FE2-738FC90C267E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28" creationId="{FEBBE45A-959C-0D0C-90CE-77630062BC2C}"/>
          </ac:spMkLst>
        </pc:spChg>
        <pc:spChg chg="add mod">
          <ac:chgData name="Wilps, Julius" userId="6d1b960f-b4ab-492d-83e7-05f23c28b40e" providerId="ADAL" clId="{3F4FFD1E-BD3D-1A48-A91A-DD9E54F15304}" dt="2023-03-12T21:05:10.143" v="2205" actId="1035"/>
          <ac:spMkLst>
            <pc:docMk/>
            <pc:sldMk cId="2959619373" sldId="485"/>
            <ac:spMk id="129" creationId="{05C72793-1DC1-4879-CDEA-276276E90872}"/>
          </ac:spMkLst>
        </pc:spChg>
        <pc:graphicFrameChg chg="del">
          <ac:chgData name="Wilps, Julius" userId="6d1b960f-b4ab-492d-83e7-05f23c28b40e" providerId="ADAL" clId="{3F4FFD1E-BD3D-1A48-A91A-DD9E54F15304}" dt="2023-03-12T21:04:52.039" v="2181" actId="478"/>
          <ac:graphicFrameMkLst>
            <pc:docMk/>
            <pc:sldMk cId="2959619373" sldId="485"/>
            <ac:graphicFrameMk id="11" creationId="{166F07D9-B84C-554A-EC9E-1374AEFECDF4}"/>
          </ac:graphicFrameMkLst>
        </pc:graphicFrameChg>
        <pc:picChg chg="del">
          <ac:chgData name="Wilps, Julius" userId="6d1b960f-b4ab-492d-83e7-05f23c28b40e" providerId="ADAL" clId="{3F4FFD1E-BD3D-1A48-A91A-DD9E54F15304}" dt="2023-03-12T21:04:52.039" v="2181" actId="478"/>
          <ac:picMkLst>
            <pc:docMk/>
            <pc:sldMk cId="2959619373" sldId="485"/>
            <ac:picMk id="10" creationId="{9A8BCB35-777E-BB1C-41A0-2555CC450568}"/>
          </ac:picMkLst>
        </pc:picChg>
        <pc:picChg chg="del">
          <ac:chgData name="Wilps, Julius" userId="6d1b960f-b4ab-492d-83e7-05f23c28b40e" providerId="ADAL" clId="{3F4FFD1E-BD3D-1A48-A91A-DD9E54F15304}" dt="2023-03-12T21:04:52.039" v="2181" actId="478"/>
          <ac:picMkLst>
            <pc:docMk/>
            <pc:sldMk cId="2959619373" sldId="485"/>
            <ac:picMk id="12" creationId="{9F0971D8-CEDD-56C6-D5A5-E9C9B351E636}"/>
          </ac:picMkLst>
        </pc:picChg>
        <pc:picChg chg="add mod">
          <ac:chgData name="Wilps, Julius" userId="6d1b960f-b4ab-492d-83e7-05f23c28b40e" providerId="ADAL" clId="{3F4FFD1E-BD3D-1A48-A91A-DD9E54F15304}" dt="2023-03-12T21:05:10.143" v="2205" actId="1035"/>
          <ac:picMkLst>
            <pc:docMk/>
            <pc:sldMk cId="2959619373" sldId="485"/>
            <ac:picMk id="122" creationId="{78D0319B-FCDC-D439-C467-999CFD146DF1}"/>
          </ac:picMkLst>
        </pc:picChg>
        <pc:picChg chg="add mod">
          <ac:chgData name="Wilps, Julius" userId="6d1b960f-b4ab-492d-83e7-05f23c28b40e" providerId="ADAL" clId="{3F4FFD1E-BD3D-1A48-A91A-DD9E54F15304}" dt="2023-03-12T21:05:10.143" v="2205" actId="1035"/>
          <ac:picMkLst>
            <pc:docMk/>
            <pc:sldMk cId="2959619373" sldId="485"/>
            <ac:picMk id="123" creationId="{D5DE4296-9204-458F-8E5D-27765C8B847A}"/>
          </ac:picMkLst>
        </pc:picChg>
        <pc:picChg chg="add mod">
          <ac:chgData name="Wilps, Julius" userId="6d1b960f-b4ab-492d-83e7-05f23c28b40e" providerId="ADAL" clId="{3F4FFD1E-BD3D-1A48-A91A-DD9E54F15304}" dt="2023-03-12T21:05:10.143" v="2205" actId="1035"/>
          <ac:picMkLst>
            <pc:docMk/>
            <pc:sldMk cId="2959619373" sldId="485"/>
            <ac:picMk id="124" creationId="{C1D13B43-273A-43DB-F3CA-816FABEFC23B}"/>
          </ac:picMkLst>
        </pc:pic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43" creationId="{6CECCEB3-165B-97CF-E829-76075C60D177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44" creationId="{41BDDCF4-1D2C-DB91-9731-F1231451737C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45" creationId="{63E3AB5D-306A-A9FE-0208-F3D83F3E7281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46" creationId="{B9A090F5-CCF0-5FF8-7F28-3F63E6B78CAF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47" creationId="{8188D7C1-6F92-1A85-C7C8-9CC2E6204471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48" creationId="{DFE77D1C-2EAE-23EF-D020-BDB754BFCAE4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49" creationId="{E2BF425D-7957-7C19-6956-5C36A11F52E7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50" creationId="{1A42F289-A1E7-B4E4-290C-45D45784C2B1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51" creationId="{F711702A-EB56-05FC-3E6B-D68FF1220338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52" creationId="{6BB0AD41-D0D5-3AA1-1AB2-ED57E57BD3D7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53" creationId="{080237CA-9D55-E0AA-0EB5-67E2D06DEACC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54" creationId="{F477880D-937A-10D8-4B35-246C88F36EEE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55" creationId="{C0D80107-1A26-5C35-BBB6-2F88CA499548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56" creationId="{056CD807-EF5B-2B68-62AA-9C7D0DE8A9C4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57" creationId="{3084ED67-F70D-1F18-9EA8-720B940A789F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58" creationId="{C759D0EB-40AD-214F-C5FD-14CD60D7C796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59" creationId="{5584A175-E3F3-BD09-ACAA-9CA802BBA646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60" creationId="{7AA82C60-C4DA-A051-E989-7C06A782EFEF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61" creationId="{D7A03B35-DBBB-5B65-D9B9-E49DAB196A93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62" creationId="{E81AFD5E-9F2D-083E-A7E4-D29B4344D7A2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63" creationId="{8F475BF9-7558-F905-DF20-D520BC6BE824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64" creationId="{80B4281E-95FB-31E7-0D10-D502CF4AF9CA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65" creationId="{905101E0-55C8-C8E1-DBFA-768DE278F1B0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66" creationId="{DDD42C42-45A8-E550-A8F1-7FE9164E2D15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67" creationId="{AF9BD76A-21A6-1B96-966C-0CAB15EFB5AB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68" creationId="{3893BEE3-00D1-EB6B-6585-2CAEEF722762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69" creationId="{81E5824D-58DB-F859-2EE4-FB65E32AC4A8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70" creationId="{194BBC1B-C619-6AE1-8625-5A0216F31573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71" creationId="{7676A3FD-ACB9-2FC0-C60E-E3A4805BAD49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72" creationId="{DF69EF55-593D-9F6D-8CD6-3382A0CE9B74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73" creationId="{9BE80CB8-7561-94CE-53FE-DD44EEB06E61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74" creationId="{AD67AE53-F5AE-D2D4-C969-8AEFF2AD4A00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75" creationId="{4F525699-F9A3-FE1C-B263-EEC592485F65}"/>
          </ac:cxnSpMkLst>
        </pc:cxnChg>
        <pc:cxnChg chg="add mod">
          <ac:chgData name="Wilps, Julius" userId="6d1b960f-b4ab-492d-83e7-05f23c28b40e" providerId="ADAL" clId="{3F4FFD1E-BD3D-1A48-A91A-DD9E54F15304}" dt="2023-03-12T21:05:10.143" v="2205" actId="1035"/>
          <ac:cxnSpMkLst>
            <pc:docMk/>
            <pc:sldMk cId="2959619373" sldId="485"/>
            <ac:cxnSpMk id="76" creationId="{42AFADB4-4399-72FF-EBD8-F0351D490B71}"/>
          </ac:cxnSpMkLst>
        </pc:cxnChg>
      </pc:sldChg>
      <pc:sldMasterChg chg="delSldLayout">
        <pc:chgData name="Wilps, Julius" userId="6d1b960f-b4ab-492d-83e7-05f23c28b40e" providerId="ADAL" clId="{3F4FFD1E-BD3D-1A48-A91A-DD9E54F15304}" dt="2023-03-12T15:33:47.731" v="119" actId="2696"/>
        <pc:sldMasterMkLst>
          <pc:docMk/>
          <pc:sldMasterMk cId="1016738500" sldId="2147483714"/>
        </pc:sldMasterMkLst>
        <pc:sldLayoutChg chg="del">
          <pc:chgData name="Wilps, Julius" userId="6d1b960f-b4ab-492d-83e7-05f23c28b40e" providerId="ADAL" clId="{3F4FFD1E-BD3D-1A48-A91A-DD9E54F15304}" dt="2023-03-12T15:33:47.731" v="119" actId="2696"/>
          <pc:sldLayoutMkLst>
            <pc:docMk/>
            <pc:sldMasterMk cId="1016738500" sldId="2147483714"/>
            <pc:sldLayoutMk cId="513622774" sldId="2147483729"/>
          </pc:sldLayoutMkLst>
        </pc:sldLayoutChg>
      </pc:sldMasterChg>
    </pc:docChg>
  </pc:docChgLst>
  <pc:docChgLst>
    <pc:chgData name="Völkel, Tobias" userId="S::ru22boda@fauad.fau.de::9c02bf22-18bb-468a-b263-c51c2dc523eb" providerId="AD" clId="Web-{7936B777-4126-4FF0-B3B3-7FD48D19D4EA}"/>
    <pc:docChg chg="addSld delSld modSld modSection">
      <pc:chgData name="Völkel, Tobias" userId="S::ru22boda@fauad.fau.de::9c02bf22-18bb-468a-b263-c51c2dc523eb" providerId="AD" clId="Web-{7936B777-4126-4FF0-B3B3-7FD48D19D4EA}" dt="2023-03-12T15:39:26.736" v="1276"/>
      <pc:docMkLst>
        <pc:docMk/>
      </pc:docMkLst>
      <pc:sldChg chg="addSp delSp modSp">
        <pc:chgData name="Völkel, Tobias" userId="S::ru22boda@fauad.fau.de::9c02bf22-18bb-468a-b263-c51c2dc523eb" providerId="AD" clId="Web-{7936B777-4126-4FF0-B3B3-7FD48D19D4EA}" dt="2023-03-12T14:18:56.047" v="418" actId="20577"/>
        <pc:sldMkLst>
          <pc:docMk/>
          <pc:sldMk cId="1935823479" sldId="461"/>
        </pc:sldMkLst>
        <pc:spChg chg="add mod">
          <ac:chgData name="Völkel, Tobias" userId="S::ru22boda@fauad.fau.de::9c02bf22-18bb-468a-b263-c51c2dc523eb" providerId="AD" clId="Web-{7936B777-4126-4FF0-B3B3-7FD48D19D4EA}" dt="2023-03-12T14:14:56.584" v="253" actId="1076"/>
          <ac:spMkLst>
            <pc:docMk/>
            <pc:sldMk cId="1935823479" sldId="461"/>
            <ac:spMk id="4" creationId="{8BFEA6ED-2DB4-9F14-A0A2-05F87535397E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4:15:55.164" v="295" actId="1076"/>
          <ac:spMkLst>
            <pc:docMk/>
            <pc:sldMk cId="1935823479" sldId="461"/>
            <ac:spMk id="14" creationId="{E542D4D6-2DBF-973E-CABE-2047AAAACF06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4:17:12.760" v="367" actId="1076"/>
          <ac:spMkLst>
            <pc:docMk/>
            <pc:sldMk cId="1935823479" sldId="461"/>
            <ac:spMk id="18" creationId="{84CA336F-AD78-260F-E1CE-F3280CD63783}"/>
          </ac:spMkLst>
        </pc:spChg>
        <pc:spChg chg="mod">
          <ac:chgData name="Völkel, Tobias" userId="S::ru22boda@fauad.fau.de::9c02bf22-18bb-468a-b263-c51c2dc523eb" providerId="AD" clId="Web-{7936B777-4126-4FF0-B3B3-7FD48D19D4EA}" dt="2023-03-12T14:14:23.849" v="222" actId="1076"/>
          <ac:spMkLst>
            <pc:docMk/>
            <pc:sldMk cId="1935823479" sldId="461"/>
            <ac:spMk id="20" creationId="{090B08D9-39AA-BDDC-9807-DD7FF5928F93}"/>
          </ac:spMkLst>
        </pc:spChg>
        <pc:spChg chg="mod">
          <ac:chgData name="Völkel, Tobias" userId="S::ru22boda@fauad.fau.de::9c02bf22-18bb-468a-b263-c51c2dc523eb" providerId="AD" clId="Web-{7936B777-4126-4FF0-B3B3-7FD48D19D4EA}" dt="2023-03-12T14:10:56.892" v="149" actId="1076"/>
          <ac:spMkLst>
            <pc:docMk/>
            <pc:sldMk cId="1935823479" sldId="461"/>
            <ac:spMk id="23" creationId="{E2E54F89-0027-0F5F-A785-EB24F45D2E4F}"/>
          </ac:spMkLst>
        </pc:spChg>
        <pc:spChg chg="del">
          <ac:chgData name="Völkel, Tobias" userId="S::ru22boda@fauad.fau.de::9c02bf22-18bb-468a-b263-c51c2dc523eb" providerId="AD" clId="Web-{7936B777-4126-4FF0-B3B3-7FD48D19D4EA}" dt="2023-03-12T14:13:26.192" v="190"/>
          <ac:spMkLst>
            <pc:docMk/>
            <pc:sldMk cId="1935823479" sldId="461"/>
            <ac:spMk id="24" creationId="{DA4BF8B9-D544-85FE-2306-F85ADDDAE7A9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4:18:56.047" v="418" actId="20577"/>
          <ac:spMkLst>
            <pc:docMk/>
            <pc:sldMk cId="1935823479" sldId="461"/>
            <ac:spMk id="25" creationId="{2F7FA532-CFE6-40BF-861D-09B4882EEE78}"/>
          </ac:spMkLst>
        </pc:spChg>
        <pc:picChg chg="add del mod">
          <ac:chgData name="Völkel, Tobias" userId="S::ru22boda@fauad.fau.de::9c02bf22-18bb-468a-b263-c51c2dc523eb" providerId="AD" clId="Web-{7936B777-4126-4FF0-B3B3-7FD48D19D4EA}" dt="2023-03-12T14:17:18.964" v="368"/>
          <ac:picMkLst>
            <pc:docMk/>
            <pc:sldMk cId="1935823479" sldId="461"/>
            <ac:picMk id="16" creationId="{E76A2962-2A76-24AB-91FA-9AE985EEC4AA}"/>
          </ac:picMkLst>
        </pc:picChg>
      </pc:sldChg>
      <pc:sldChg chg="addSp delSp modSp">
        <pc:chgData name="Völkel, Tobias" userId="S::ru22boda@fauad.fau.de::9c02bf22-18bb-468a-b263-c51c2dc523eb" providerId="AD" clId="Web-{7936B777-4126-4FF0-B3B3-7FD48D19D4EA}" dt="2023-03-12T14:52:39.327" v="490" actId="20577"/>
        <pc:sldMkLst>
          <pc:docMk/>
          <pc:sldMk cId="2255513899" sldId="462"/>
        </pc:sldMkLst>
        <pc:spChg chg="del mod">
          <ac:chgData name="Völkel, Tobias" userId="S::ru22boda@fauad.fau.de::9c02bf22-18bb-468a-b263-c51c2dc523eb" providerId="AD" clId="Web-{7936B777-4126-4FF0-B3B3-7FD48D19D4EA}" dt="2023-03-12T14:52:27.295" v="482"/>
          <ac:spMkLst>
            <pc:docMk/>
            <pc:sldMk cId="2255513899" sldId="462"/>
            <ac:spMk id="3" creationId="{E09A43E2-9C11-F3A3-37E5-C7015C319743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4:43:13.761" v="470" actId="1076"/>
          <ac:spMkLst>
            <pc:docMk/>
            <pc:sldMk cId="2255513899" sldId="462"/>
            <ac:spMk id="4" creationId="{A057EA7B-7ABC-F088-A4C8-C283BE36EA33}"/>
          </ac:spMkLst>
        </pc:spChg>
        <pc:spChg chg="add del mod">
          <ac:chgData name="Völkel, Tobias" userId="S::ru22boda@fauad.fau.de::9c02bf22-18bb-468a-b263-c51c2dc523eb" providerId="AD" clId="Web-{7936B777-4126-4FF0-B3B3-7FD48D19D4EA}" dt="2023-03-12T14:43:19.605" v="471"/>
          <ac:spMkLst>
            <pc:docMk/>
            <pc:sldMk cId="2255513899" sldId="462"/>
            <ac:spMk id="5" creationId="{E2778565-6C09-523A-FB0E-447A2076C175}"/>
          </ac:spMkLst>
        </pc:spChg>
        <pc:spChg chg="mod">
          <ac:chgData name="Völkel, Tobias" userId="S::ru22boda@fauad.fau.de::9c02bf22-18bb-468a-b263-c51c2dc523eb" providerId="AD" clId="Web-{7936B777-4126-4FF0-B3B3-7FD48D19D4EA}" dt="2023-03-12T14:52:39.327" v="490" actId="20577"/>
          <ac:spMkLst>
            <pc:docMk/>
            <pc:sldMk cId="2255513899" sldId="462"/>
            <ac:spMk id="13" creationId="{211818B6-2088-5941-F410-4879ED1104A8}"/>
          </ac:spMkLst>
        </pc:spChg>
        <pc:picChg chg="add del mod">
          <ac:chgData name="Völkel, Tobias" userId="S::ru22boda@fauad.fau.de::9c02bf22-18bb-468a-b263-c51c2dc523eb" providerId="AD" clId="Web-{7936B777-4126-4FF0-B3B3-7FD48D19D4EA}" dt="2023-03-12T14:06:11.026" v="1"/>
          <ac:picMkLst>
            <pc:docMk/>
            <pc:sldMk cId="2255513899" sldId="462"/>
            <ac:picMk id="4" creationId="{2876D2EA-F213-D643-58C7-CA65633D538B}"/>
          </ac:picMkLst>
        </pc:picChg>
        <pc:picChg chg="add mod">
          <ac:chgData name="Völkel, Tobias" userId="S::ru22boda@fauad.fau.de::9c02bf22-18bb-468a-b263-c51c2dc523eb" providerId="AD" clId="Web-{7936B777-4126-4FF0-B3B3-7FD48D19D4EA}" dt="2023-03-12T14:52:32.655" v="484" actId="1076"/>
          <ac:picMkLst>
            <pc:docMk/>
            <pc:sldMk cId="2255513899" sldId="462"/>
            <ac:picMk id="6" creationId="{8D9E526E-B73C-FF50-0655-794AE74BF2A8}"/>
          </ac:picMkLst>
        </pc:picChg>
      </pc:sldChg>
      <pc:sldChg chg="addSp delSp modSp">
        <pc:chgData name="Völkel, Tobias" userId="S::ru22boda@fauad.fau.de::9c02bf22-18bb-468a-b263-c51c2dc523eb" providerId="AD" clId="Web-{7936B777-4126-4FF0-B3B3-7FD48D19D4EA}" dt="2023-03-12T15:01:11.063" v="692" actId="1076"/>
        <pc:sldMkLst>
          <pc:docMk/>
          <pc:sldMk cId="2866409584" sldId="463"/>
        </pc:sldMkLst>
        <pc:spChg chg="del">
          <ac:chgData name="Völkel, Tobias" userId="S::ru22boda@fauad.fau.de::9c02bf22-18bb-468a-b263-c51c2dc523eb" providerId="AD" clId="Web-{7936B777-4126-4FF0-B3B3-7FD48D19D4EA}" dt="2023-03-12T14:54:20.846" v="525"/>
          <ac:spMkLst>
            <pc:docMk/>
            <pc:sldMk cId="2866409584" sldId="463"/>
            <ac:spMk id="3" creationId="{E09A43E2-9C11-F3A3-37E5-C7015C319743}"/>
          </ac:spMkLst>
        </pc:spChg>
        <pc:spChg chg="mod">
          <ac:chgData name="Völkel, Tobias" userId="S::ru22boda@fauad.fau.de::9c02bf22-18bb-468a-b263-c51c2dc523eb" providerId="AD" clId="Web-{7936B777-4126-4FF0-B3B3-7FD48D19D4EA}" dt="2023-03-12T14:57:20.868" v="629" actId="1076"/>
          <ac:spMkLst>
            <pc:docMk/>
            <pc:sldMk cId="2866409584" sldId="463"/>
            <ac:spMk id="4" creationId="{E6B1F4AE-AE35-B46E-805A-E6D4E5C8BEF4}"/>
          </ac:spMkLst>
        </pc:spChg>
        <pc:spChg chg="mod">
          <ac:chgData name="Völkel, Tobias" userId="S::ru22boda@fauad.fau.de::9c02bf22-18bb-468a-b263-c51c2dc523eb" providerId="AD" clId="Web-{7936B777-4126-4FF0-B3B3-7FD48D19D4EA}" dt="2023-03-12T14:55:21.442" v="586" actId="1076"/>
          <ac:spMkLst>
            <pc:docMk/>
            <pc:sldMk cId="2866409584" sldId="463"/>
            <ac:spMk id="5" creationId="{AA8A3B1F-6523-AA95-AAE1-690F16264D94}"/>
          </ac:spMkLst>
        </pc:spChg>
        <pc:spChg chg="mod">
          <ac:chgData name="Völkel, Tobias" userId="S::ru22boda@fauad.fau.de::9c02bf22-18bb-468a-b263-c51c2dc523eb" providerId="AD" clId="Web-{7936B777-4126-4FF0-B3B3-7FD48D19D4EA}" dt="2023-03-12T14:55:21.457" v="587" actId="1076"/>
          <ac:spMkLst>
            <pc:docMk/>
            <pc:sldMk cId="2866409584" sldId="463"/>
            <ac:spMk id="6" creationId="{4C3379F3-C152-22FC-5AE6-C3BE8968FC1F}"/>
          </ac:spMkLst>
        </pc:spChg>
        <pc:spChg chg="mod">
          <ac:chgData name="Völkel, Tobias" userId="S::ru22boda@fauad.fau.de::9c02bf22-18bb-468a-b263-c51c2dc523eb" providerId="AD" clId="Web-{7936B777-4126-4FF0-B3B3-7FD48D19D4EA}" dt="2023-03-12T14:54:35.550" v="534" actId="20577"/>
          <ac:spMkLst>
            <pc:docMk/>
            <pc:sldMk cId="2866409584" sldId="463"/>
            <ac:spMk id="7" creationId="{77755B5F-5B92-9175-C19B-E27003856FAD}"/>
          </ac:spMkLst>
        </pc:spChg>
        <pc:spChg chg="mod">
          <ac:chgData name="Völkel, Tobias" userId="S::ru22boda@fauad.fau.de::9c02bf22-18bb-468a-b263-c51c2dc523eb" providerId="AD" clId="Web-{7936B777-4126-4FF0-B3B3-7FD48D19D4EA}" dt="2023-03-12T14:57:31.399" v="633" actId="1076"/>
          <ac:spMkLst>
            <pc:docMk/>
            <pc:sldMk cId="2866409584" sldId="463"/>
            <ac:spMk id="8" creationId="{CF34AFA1-3E68-7E46-F214-9F4F88A3558C}"/>
          </ac:spMkLst>
        </pc:spChg>
        <pc:spChg chg="mod">
          <ac:chgData name="Völkel, Tobias" userId="S::ru22boda@fauad.fau.de::9c02bf22-18bb-468a-b263-c51c2dc523eb" providerId="AD" clId="Web-{7936B777-4126-4FF0-B3B3-7FD48D19D4EA}" dt="2023-03-12T14:57:01.148" v="626" actId="1076"/>
          <ac:spMkLst>
            <pc:docMk/>
            <pc:sldMk cId="2866409584" sldId="463"/>
            <ac:spMk id="9" creationId="{5539DD1F-1C12-9436-6F52-48648B45A3FD}"/>
          </ac:spMkLst>
        </pc:spChg>
        <pc:spChg chg="mod">
          <ac:chgData name="Völkel, Tobias" userId="S::ru22boda@fauad.fau.de::9c02bf22-18bb-468a-b263-c51c2dc523eb" providerId="AD" clId="Web-{7936B777-4126-4FF0-B3B3-7FD48D19D4EA}" dt="2023-03-12T14:55:21.364" v="582" actId="1076"/>
          <ac:spMkLst>
            <pc:docMk/>
            <pc:sldMk cId="2866409584" sldId="463"/>
            <ac:spMk id="11" creationId="{9E862F88-2B6B-9D31-F69F-99B17FF1F480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4:56:25.522" v="623" actId="1076"/>
          <ac:spMkLst>
            <pc:docMk/>
            <pc:sldMk cId="2866409584" sldId="463"/>
            <ac:spMk id="12" creationId="{8D357758-4FEB-B762-246C-27DCEC51BF63}"/>
          </ac:spMkLst>
        </pc:spChg>
        <pc:spChg chg="mod">
          <ac:chgData name="Völkel, Tobias" userId="S::ru22boda@fauad.fau.de::9c02bf22-18bb-468a-b263-c51c2dc523eb" providerId="AD" clId="Web-{7936B777-4126-4FF0-B3B3-7FD48D19D4EA}" dt="2023-03-12T14:57:41.321" v="635" actId="1076"/>
          <ac:spMkLst>
            <pc:docMk/>
            <pc:sldMk cId="2866409584" sldId="463"/>
            <ac:spMk id="14" creationId="{36524B13-3083-EE3D-7344-3BA9222A0038}"/>
          </ac:spMkLst>
        </pc:spChg>
        <pc:spChg chg="mod">
          <ac:chgData name="Völkel, Tobias" userId="S::ru22boda@fauad.fau.de::9c02bf22-18bb-468a-b263-c51c2dc523eb" providerId="AD" clId="Web-{7936B777-4126-4FF0-B3B3-7FD48D19D4EA}" dt="2023-03-12T14:56:34.679" v="624" actId="1076"/>
          <ac:spMkLst>
            <pc:docMk/>
            <pc:sldMk cId="2866409584" sldId="463"/>
            <ac:spMk id="15" creationId="{5C7155CA-E6CA-A72D-B376-8E480BCECD96}"/>
          </ac:spMkLst>
        </pc:spChg>
        <pc:spChg chg="mod">
          <ac:chgData name="Völkel, Tobias" userId="S::ru22boda@fauad.fau.de::9c02bf22-18bb-468a-b263-c51c2dc523eb" providerId="AD" clId="Web-{7936B777-4126-4FF0-B3B3-7FD48D19D4EA}" dt="2023-03-12T14:57:12.399" v="628" actId="1076"/>
          <ac:spMkLst>
            <pc:docMk/>
            <pc:sldMk cId="2866409584" sldId="463"/>
            <ac:spMk id="16" creationId="{8777DEF9-FED8-CA10-59CE-5E1AC36B06DD}"/>
          </ac:spMkLst>
        </pc:spChg>
        <pc:spChg chg="add del mod">
          <ac:chgData name="Völkel, Tobias" userId="S::ru22boda@fauad.fau.de::9c02bf22-18bb-468a-b263-c51c2dc523eb" providerId="AD" clId="Web-{7936B777-4126-4FF0-B3B3-7FD48D19D4EA}" dt="2023-03-12T14:55:42.927" v="596"/>
          <ac:spMkLst>
            <pc:docMk/>
            <pc:sldMk cId="2866409584" sldId="463"/>
            <ac:spMk id="17" creationId="{7CC49F40-A929-4F9C-6F36-4F4B6EB164EE}"/>
          </ac:spMkLst>
        </pc:spChg>
        <pc:spChg chg="add del mod">
          <ac:chgData name="Völkel, Tobias" userId="S::ru22boda@fauad.fau.de::9c02bf22-18bb-468a-b263-c51c2dc523eb" providerId="AD" clId="Web-{7936B777-4126-4FF0-B3B3-7FD48D19D4EA}" dt="2023-03-12T14:55:41.849" v="594"/>
          <ac:spMkLst>
            <pc:docMk/>
            <pc:sldMk cId="2866409584" sldId="463"/>
            <ac:spMk id="19" creationId="{E6AC8BB6-252B-2D8B-C100-AA4B7CF01500}"/>
          </ac:spMkLst>
        </pc:spChg>
        <pc:spChg chg="add del mod">
          <ac:chgData name="Völkel, Tobias" userId="S::ru22boda@fauad.fau.de::9c02bf22-18bb-468a-b263-c51c2dc523eb" providerId="AD" clId="Web-{7936B777-4126-4FF0-B3B3-7FD48D19D4EA}" dt="2023-03-12T14:55:42.646" v="595"/>
          <ac:spMkLst>
            <pc:docMk/>
            <pc:sldMk cId="2866409584" sldId="463"/>
            <ac:spMk id="21" creationId="{3C448E1C-B707-A7CB-CAC6-F60C91199C90}"/>
          </ac:spMkLst>
        </pc:spChg>
        <pc:spChg chg="add del mod">
          <ac:chgData name="Völkel, Tobias" userId="S::ru22boda@fauad.fau.de::9c02bf22-18bb-468a-b263-c51c2dc523eb" providerId="AD" clId="Web-{7936B777-4126-4FF0-B3B3-7FD48D19D4EA}" dt="2023-03-12T14:55:41.849" v="593"/>
          <ac:spMkLst>
            <pc:docMk/>
            <pc:sldMk cId="2866409584" sldId="463"/>
            <ac:spMk id="23" creationId="{058B7BB7-277A-9B75-2630-AB7336559FD1}"/>
          </ac:spMkLst>
        </pc:spChg>
        <pc:spChg chg="add del mod">
          <ac:chgData name="Völkel, Tobias" userId="S::ru22boda@fauad.fau.de::9c02bf22-18bb-468a-b263-c51c2dc523eb" providerId="AD" clId="Web-{7936B777-4126-4FF0-B3B3-7FD48D19D4EA}" dt="2023-03-12T14:55:41.833" v="592"/>
          <ac:spMkLst>
            <pc:docMk/>
            <pc:sldMk cId="2866409584" sldId="463"/>
            <ac:spMk id="25" creationId="{A05C2B05-18DC-CFF1-CDF1-71C7A37E88F1}"/>
          </ac:spMkLst>
        </pc:spChg>
        <pc:spChg chg="add del mod">
          <ac:chgData name="Völkel, Tobias" userId="S::ru22boda@fauad.fau.de::9c02bf22-18bb-468a-b263-c51c2dc523eb" providerId="AD" clId="Web-{7936B777-4126-4FF0-B3B3-7FD48D19D4EA}" dt="2023-03-12T14:55:41.833" v="591"/>
          <ac:spMkLst>
            <pc:docMk/>
            <pc:sldMk cId="2866409584" sldId="463"/>
            <ac:spMk id="27" creationId="{97986829-83DA-AD9E-A48F-C4E9AE84524F}"/>
          </ac:spMkLst>
        </pc:spChg>
        <pc:spChg chg="add del mod">
          <ac:chgData name="Völkel, Tobias" userId="S::ru22boda@fauad.fau.de::9c02bf22-18bb-468a-b263-c51c2dc523eb" providerId="AD" clId="Web-{7936B777-4126-4FF0-B3B3-7FD48D19D4EA}" dt="2023-03-12T14:55:41.833" v="590"/>
          <ac:spMkLst>
            <pc:docMk/>
            <pc:sldMk cId="2866409584" sldId="463"/>
            <ac:spMk id="29" creationId="{839B6D6B-CE89-1C5A-9603-6ED70A2E8FEC}"/>
          </ac:spMkLst>
        </pc:spChg>
        <pc:spChg chg="add del mod">
          <ac:chgData name="Völkel, Tobias" userId="S::ru22boda@fauad.fau.de::9c02bf22-18bb-468a-b263-c51c2dc523eb" providerId="AD" clId="Web-{7936B777-4126-4FF0-B3B3-7FD48D19D4EA}" dt="2023-03-12T14:55:45.255" v="600"/>
          <ac:spMkLst>
            <pc:docMk/>
            <pc:sldMk cId="2866409584" sldId="463"/>
            <ac:spMk id="31" creationId="{1864F286-64F4-8FF2-CC3A-5AD87FBE8BCD}"/>
          </ac:spMkLst>
        </pc:spChg>
        <pc:spChg chg="add del mod">
          <ac:chgData name="Völkel, Tobias" userId="S::ru22boda@fauad.fau.de::9c02bf22-18bb-468a-b263-c51c2dc523eb" providerId="AD" clId="Web-{7936B777-4126-4FF0-B3B3-7FD48D19D4EA}" dt="2023-03-12T14:55:44.318" v="599"/>
          <ac:spMkLst>
            <pc:docMk/>
            <pc:sldMk cId="2866409584" sldId="463"/>
            <ac:spMk id="33" creationId="{1462CD45-E8AA-9FCD-2679-48B725B8E3F8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4:57:07.805" v="627" actId="1076"/>
          <ac:spMkLst>
            <pc:docMk/>
            <pc:sldMk cId="2866409584" sldId="463"/>
            <ac:spMk id="35" creationId="{F7946DF9-B47B-2657-E73E-6A40968F73B3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00:59.562" v="688" actId="1076"/>
          <ac:spMkLst>
            <pc:docMk/>
            <pc:sldMk cId="2866409584" sldId="463"/>
            <ac:spMk id="37" creationId="{1BD8A7A6-FE50-B1C8-1AFF-271D3DA6DBE1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4:56:21.522" v="622" actId="14100"/>
          <ac:spMkLst>
            <pc:docMk/>
            <pc:sldMk cId="2866409584" sldId="463"/>
            <ac:spMk id="39" creationId="{BFC955CF-80FF-1280-73C3-22C5A2600C33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4:55:55.349" v="613" actId="1076"/>
          <ac:spMkLst>
            <pc:docMk/>
            <pc:sldMk cId="2866409584" sldId="463"/>
            <ac:spMk id="41" creationId="{DE7004E2-199E-6CE2-A51A-ED1911AC8214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4:57:48.134" v="636" actId="1076"/>
          <ac:spMkLst>
            <pc:docMk/>
            <pc:sldMk cId="2866409584" sldId="463"/>
            <ac:spMk id="43" creationId="{8B8D3BC8-0FD2-485E-5DC0-6849420CAC42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01:05.063" v="690" actId="1076"/>
          <ac:spMkLst>
            <pc:docMk/>
            <pc:sldMk cId="2866409584" sldId="463"/>
            <ac:spMk id="45" creationId="{3A1BAEA4-69FC-1257-4928-85E3900F16A3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01:02.969" v="689" actId="1076"/>
          <ac:spMkLst>
            <pc:docMk/>
            <pc:sldMk cId="2866409584" sldId="463"/>
            <ac:spMk id="47" creationId="{CD9EF60A-CE22-2478-F8E4-D0C97C47E573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01:07.703" v="691" actId="1076"/>
          <ac:spMkLst>
            <pc:docMk/>
            <pc:sldMk cId="2866409584" sldId="463"/>
            <ac:spMk id="49" creationId="{C2D251FA-5B20-E766-32CF-774E1A12EBC7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01:11.063" v="692" actId="1076"/>
          <ac:spMkLst>
            <pc:docMk/>
            <pc:sldMk cId="2866409584" sldId="463"/>
            <ac:spMk id="51" creationId="{18886323-BEEE-8EAE-F32E-209EFCAB56D6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4:59:10.512" v="655" actId="1076"/>
          <ac:spMkLst>
            <pc:docMk/>
            <pc:sldMk cId="2866409584" sldId="463"/>
            <ac:spMk id="54" creationId="{2BD66993-A970-317F-9AE8-7315DE173F59}"/>
          </ac:spMkLst>
        </pc:spChg>
        <pc:picChg chg="add del mod">
          <ac:chgData name="Völkel, Tobias" userId="S::ru22boda@fauad.fau.de::9c02bf22-18bb-468a-b263-c51c2dc523eb" providerId="AD" clId="Web-{7936B777-4126-4FF0-B3B3-7FD48D19D4EA}" dt="2023-03-12T14:54:39.722" v="536"/>
          <ac:picMkLst>
            <pc:docMk/>
            <pc:sldMk cId="2866409584" sldId="463"/>
            <ac:picMk id="10" creationId="{5AF736EA-48F3-8642-6FB1-2F9EE648DBF1}"/>
          </ac:picMkLst>
        </pc:picChg>
        <pc:picChg chg="add mod">
          <ac:chgData name="Völkel, Tobias" userId="S::ru22boda@fauad.fau.de::9c02bf22-18bb-468a-b263-c51c2dc523eb" providerId="AD" clId="Web-{7936B777-4126-4FF0-B3B3-7FD48D19D4EA}" dt="2023-03-12T14:59:32.810" v="662" actId="1076"/>
          <ac:picMkLst>
            <pc:docMk/>
            <pc:sldMk cId="2866409584" sldId="463"/>
            <ac:picMk id="52" creationId="{35688383-0AB7-998C-6F53-407E6CCA2047}"/>
          </ac:picMkLst>
        </pc:picChg>
        <pc:picChg chg="add mod">
          <ac:chgData name="Völkel, Tobias" userId="S::ru22boda@fauad.fau.de::9c02bf22-18bb-468a-b263-c51c2dc523eb" providerId="AD" clId="Web-{7936B777-4126-4FF0-B3B3-7FD48D19D4EA}" dt="2023-03-12T14:59:18.403" v="658" actId="1076"/>
          <ac:picMkLst>
            <pc:docMk/>
            <pc:sldMk cId="2866409584" sldId="463"/>
            <ac:picMk id="53" creationId="{A5F421C8-152C-2903-892A-1E00E90A27DA}"/>
          </ac:picMkLst>
        </pc:picChg>
      </pc:sldChg>
      <pc:sldChg chg="del">
        <pc:chgData name="Völkel, Tobias" userId="S::ru22boda@fauad.fau.de::9c02bf22-18bb-468a-b263-c51c2dc523eb" providerId="AD" clId="Web-{7936B777-4126-4FF0-B3B3-7FD48D19D4EA}" dt="2023-03-12T14:59:39.154" v="663"/>
        <pc:sldMkLst>
          <pc:docMk/>
          <pc:sldMk cId="1034242858" sldId="464"/>
        </pc:sldMkLst>
      </pc:sldChg>
      <pc:sldChg chg="addSp delSp modSp del">
        <pc:chgData name="Völkel, Tobias" userId="S::ru22boda@fauad.fau.de::9c02bf22-18bb-468a-b263-c51c2dc523eb" providerId="AD" clId="Web-{7936B777-4126-4FF0-B3B3-7FD48D19D4EA}" dt="2023-03-12T14:13:10.598" v="189"/>
        <pc:sldMkLst>
          <pc:docMk/>
          <pc:sldMk cId="3694086407" sldId="465"/>
        </pc:sldMkLst>
        <pc:spChg chg="del">
          <ac:chgData name="Völkel, Tobias" userId="S::ru22boda@fauad.fau.de::9c02bf22-18bb-468a-b263-c51c2dc523eb" providerId="AD" clId="Web-{7936B777-4126-4FF0-B3B3-7FD48D19D4EA}" dt="2023-03-12T14:09:47.203" v="142"/>
          <ac:spMkLst>
            <pc:docMk/>
            <pc:sldMk cId="3694086407" sldId="465"/>
            <ac:spMk id="6" creationId="{D8CF220D-4D7C-1261-5A8E-533D4566EE2E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4:09:04.483" v="139" actId="1076"/>
          <ac:spMkLst>
            <pc:docMk/>
            <pc:sldMk cId="3694086407" sldId="465"/>
            <ac:spMk id="10" creationId="{FF060FAA-0839-7235-BBDE-CA8ACCC5ED39}"/>
          </ac:spMkLst>
        </pc:spChg>
        <pc:spChg chg="mod">
          <ac:chgData name="Völkel, Tobias" userId="S::ru22boda@fauad.fau.de::9c02bf22-18bb-468a-b263-c51c2dc523eb" providerId="AD" clId="Web-{7936B777-4126-4FF0-B3B3-7FD48D19D4EA}" dt="2023-03-12T14:06:56.714" v="17" actId="20577"/>
          <ac:spMkLst>
            <pc:docMk/>
            <pc:sldMk cId="3694086407" sldId="465"/>
            <ac:spMk id="11" creationId="{EAE8AD44-10D7-EC1B-B3BC-B13D69F9AA31}"/>
          </ac:spMkLst>
        </pc:spChg>
        <pc:picChg chg="add del mod">
          <ac:chgData name="Völkel, Tobias" userId="S::ru22boda@fauad.fau.de::9c02bf22-18bb-468a-b263-c51c2dc523eb" providerId="AD" clId="Web-{7936B777-4126-4FF0-B3B3-7FD48D19D4EA}" dt="2023-03-12T14:06:27.276" v="6"/>
          <ac:picMkLst>
            <pc:docMk/>
            <pc:sldMk cId="3694086407" sldId="465"/>
            <ac:picMk id="4" creationId="{AC453164-05EC-D7F1-AB56-7D528032D015}"/>
          </ac:picMkLst>
        </pc:picChg>
        <pc:picChg chg="add mod">
          <ac:chgData name="Völkel, Tobias" userId="S::ru22boda@fauad.fau.de::9c02bf22-18bb-468a-b263-c51c2dc523eb" providerId="AD" clId="Web-{7936B777-4126-4FF0-B3B3-7FD48D19D4EA}" dt="2023-03-12T14:09:14.624" v="141" actId="1076"/>
          <ac:picMkLst>
            <pc:docMk/>
            <pc:sldMk cId="3694086407" sldId="465"/>
            <ac:picMk id="7" creationId="{920E470E-8068-CBDF-9EB0-0ACBDA9D41EC}"/>
          </ac:picMkLst>
        </pc:picChg>
        <pc:picChg chg="add mod">
          <ac:chgData name="Völkel, Tobias" userId="S::ru22boda@fauad.fau.de::9c02bf22-18bb-468a-b263-c51c2dc523eb" providerId="AD" clId="Web-{7936B777-4126-4FF0-B3B3-7FD48D19D4EA}" dt="2023-03-12T14:09:56.750" v="148" actId="1076"/>
          <ac:picMkLst>
            <pc:docMk/>
            <pc:sldMk cId="3694086407" sldId="465"/>
            <ac:picMk id="14" creationId="{27A6EFCF-D7CE-680C-C5BB-4B150A79656B}"/>
          </ac:picMkLst>
        </pc:picChg>
        <pc:picChg chg="add mod">
          <ac:chgData name="Völkel, Tobias" userId="S::ru22boda@fauad.fau.de::9c02bf22-18bb-468a-b263-c51c2dc523eb" providerId="AD" clId="Web-{7936B777-4126-4FF0-B3B3-7FD48D19D4EA}" dt="2023-03-12T14:09:54.109" v="147" actId="1076"/>
          <ac:picMkLst>
            <pc:docMk/>
            <pc:sldMk cId="3694086407" sldId="465"/>
            <ac:picMk id="18" creationId="{9D1A3F15-BB1F-12D5-A3F7-2B7CDCC42CF8}"/>
          </ac:picMkLst>
        </pc:picChg>
      </pc:sldChg>
      <pc:sldChg chg="addSp delSp modSp">
        <pc:chgData name="Völkel, Tobias" userId="S::ru22boda@fauad.fau.de::9c02bf22-18bb-468a-b263-c51c2dc523eb" providerId="AD" clId="Web-{7936B777-4126-4FF0-B3B3-7FD48D19D4EA}" dt="2023-03-12T15:20:52.196" v="1252" actId="1076"/>
        <pc:sldMkLst>
          <pc:docMk/>
          <pc:sldMk cId="1610430565" sldId="466"/>
        </pc:sldMkLst>
        <pc:spChg chg="del">
          <ac:chgData name="Völkel, Tobias" userId="S::ru22boda@fauad.fau.de::9c02bf22-18bb-468a-b263-c51c2dc523eb" providerId="AD" clId="Web-{7936B777-4126-4FF0-B3B3-7FD48D19D4EA}" dt="2023-03-12T15:01:44.408" v="694"/>
          <ac:spMkLst>
            <pc:docMk/>
            <pc:sldMk cId="1610430565" sldId="466"/>
            <ac:spMk id="3" creationId="{E09A43E2-9C11-F3A3-37E5-C7015C319743}"/>
          </ac:spMkLst>
        </pc:spChg>
        <pc:spChg chg="mod">
          <ac:chgData name="Völkel, Tobias" userId="S::ru22boda@fauad.fau.de::9c02bf22-18bb-468a-b263-c51c2dc523eb" providerId="AD" clId="Web-{7936B777-4126-4FF0-B3B3-7FD48D19D4EA}" dt="2023-03-12T15:01:21.907" v="693" actId="1076"/>
          <ac:spMkLst>
            <pc:docMk/>
            <pc:sldMk cId="1610430565" sldId="466"/>
            <ac:spMk id="7" creationId="{77755B5F-5B92-9175-C19B-E27003856FAD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05:21.509" v="736" actId="1076"/>
          <ac:spMkLst>
            <pc:docMk/>
            <pc:sldMk cId="1610430565" sldId="466"/>
            <ac:spMk id="8" creationId="{8B82F416-85EC-89D0-4DA8-E8DF89A8B5F7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19:16.740" v="1202" actId="20577"/>
          <ac:spMkLst>
            <pc:docMk/>
            <pc:sldMk cId="1610430565" sldId="466"/>
            <ac:spMk id="11" creationId="{A0A93DC1-0775-F42A-84E8-46D46BCEB8E3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09:55.783" v="1003" actId="20577"/>
          <ac:spMkLst>
            <pc:docMk/>
            <pc:sldMk cId="1610430565" sldId="466"/>
            <ac:spMk id="13" creationId="{72E3A46A-7F70-7A06-F7ED-EC2EE4FFF64E}"/>
          </ac:spMkLst>
        </pc:spChg>
        <pc:spChg chg="add del mod">
          <ac:chgData name="Völkel, Tobias" userId="S::ru22boda@fauad.fau.de::9c02bf22-18bb-468a-b263-c51c2dc523eb" providerId="AD" clId="Web-{7936B777-4126-4FF0-B3B3-7FD48D19D4EA}" dt="2023-03-12T15:09:34.673" v="1001"/>
          <ac:spMkLst>
            <pc:docMk/>
            <pc:sldMk cId="1610430565" sldId="466"/>
            <ac:spMk id="14" creationId="{6370D2A5-66A1-7B98-035C-AD4165FA5AB3}"/>
          </ac:spMkLst>
        </pc:spChg>
        <pc:spChg chg="mod">
          <ac:chgData name="Völkel, Tobias" userId="S::ru22boda@fauad.fau.de::9c02bf22-18bb-468a-b263-c51c2dc523eb" providerId="AD" clId="Web-{7936B777-4126-4FF0-B3B3-7FD48D19D4EA}" dt="2023-03-12T15:19:04.161" v="1197"/>
          <ac:spMkLst>
            <pc:docMk/>
            <pc:sldMk cId="1610430565" sldId="466"/>
            <ac:spMk id="15" creationId="{5C7155CA-E6CA-A72D-B376-8E480BCECD96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09:33.595" v="1000" actId="20577"/>
          <ac:spMkLst>
            <pc:docMk/>
            <pc:sldMk cId="1610430565" sldId="466"/>
            <ac:spMk id="16" creationId="{8DA56F8F-900A-C97D-06EF-891F22FCBA9A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10:20.409" v="1056" actId="20577"/>
          <ac:spMkLst>
            <pc:docMk/>
            <pc:sldMk cId="1610430565" sldId="466"/>
            <ac:spMk id="17" creationId="{CD83D319-F12A-1AA2-D827-2FF291AFC538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14:16.058" v="1070"/>
          <ac:spMkLst>
            <pc:docMk/>
            <pc:sldMk cId="1610430565" sldId="466"/>
            <ac:spMk id="19" creationId="{0E697923-2C6B-7E5D-5EAB-9A3A48A2CF79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14:21.777" v="1071"/>
          <ac:spMkLst>
            <pc:docMk/>
            <pc:sldMk cId="1610430565" sldId="466"/>
            <ac:spMk id="20" creationId="{2D020922-9790-FA06-69E6-D95B9E5DBBE5}"/>
          </ac:spMkLst>
        </pc:spChg>
        <pc:spChg chg="add del mod">
          <ac:chgData name="Völkel, Tobias" userId="S::ru22boda@fauad.fau.de::9c02bf22-18bb-468a-b263-c51c2dc523eb" providerId="AD" clId="Web-{7936B777-4126-4FF0-B3B3-7FD48D19D4EA}" dt="2023-03-12T15:18:52.129" v="1193"/>
          <ac:spMkLst>
            <pc:docMk/>
            <pc:sldMk cId="1610430565" sldId="466"/>
            <ac:spMk id="21" creationId="{D2BA1D3A-4677-9594-33FD-BEC3BE7D9262}"/>
          </ac:spMkLst>
        </pc:spChg>
        <pc:spChg chg="add del mod">
          <ac:chgData name="Völkel, Tobias" userId="S::ru22boda@fauad.fau.de::9c02bf22-18bb-468a-b263-c51c2dc523eb" providerId="AD" clId="Web-{7936B777-4126-4FF0-B3B3-7FD48D19D4EA}" dt="2023-03-12T15:19:28.678" v="1206" actId="1076"/>
          <ac:spMkLst>
            <pc:docMk/>
            <pc:sldMk cId="1610430565" sldId="466"/>
            <ac:spMk id="22" creationId="{45C4492B-81F3-C8F9-C8C4-B07E84CAB7F4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19:52.694" v="1215" actId="1076"/>
          <ac:spMkLst>
            <pc:docMk/>
            <pc:sldMk cId="1610430565" sldId="466"/>
            <ac:spMk id="23" creationId="{05DDE25B-51F1-D0E1-6C59-34A73D2B892B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17:22.502" v="1147" actId="1076"/>
          <ac:spMkLst>
            <pc:docMk/>
            <pc:sldMk cId="1610430565" sldId="466"/>
            <ac:spMk id="24" creationId="{9B54641F-D5E5-CF13-ED20-525296D1786B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19:32.521" v="1207" actId="1076"/>
          <ac:spMkLst>
            <pc:docMk/>
            <pc:sldMk cId="1610430565" sldId="466"/>
            <ac:spMk id="26" creationId="{70020BB5-B308-A2E2-F4C8-90579362E27E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19:42.631" v="1212" actId="1076"/>
          <ac:spMkLst>
            <pc:docMk/>
            <pc:sldMk cId="1610430565" sldId="466"/>
            <ac:spMk id="27" creationId="{68A0F021-536D-3056-8100-39E0842AFEE7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20:05.866" v="1218" actId="1076"/>
          <ac:spMkLst>
            <pc:docMk/>
            <pc:sldMk cId="1610430565" sldId="466"/>
            <ac:spMk id="28" creationId="{021F9344-DF2C-5C22-6319-F615685D7A06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20:15.507" v="1228" actId="1076"/>
          <ac:spMkLst>
            <pc:docMk/>
            <pc:sldMk cId="1610430565" sldId="466"/>
            <ac:spMk id="29" creationId="{4748B73F-241C-BAB3-5D60-76AFFB1D4EC7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20:25.898" v="1230" actId="1076"/>
          <ac:spMkLst>
            <pc:docMk/>
            <pc:sldMk cId="1610430565" sldId="466"/>
            <ac:spMk id="30" creationId="{09670C48-1A79-65FA-36CD-F7D15F34C862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20:52.196" v="1252" actId="1076"/>
          <ac:spMkLst>
            <pc:docMk/>
            <pc:sldMk cId="1610430565" sldId="466"/>
            <ac:spMk id="31" creationId="{0F9FA094-390E-C960-7F9B-1C384516A0D0}"/>
          </ac:spMkLst>
        </pc:spChg>
        <pc:picChg chg="add mod">
          <ac:chgData name="Völkel, Tobias" userId="S::ru22boda@fauad.fau.de::9c02bf22-18bb-468a-b263-c51c2dc523eb" providerId="AD" clId="Web-{7936B777-4126-4FF0-B3B3-7FD48D19D4EA}" dt="2023-03-12T15:10:27.753" v="1057" actId="1076"/>
          <ac:picMkLst>
            <pc:docMk/>
            <pc:sldMk cId="1610430565" sldId="466"/>
            <ac:picMk id="4" creationId="{6DC72998-D0BF-EB22-7D3C-442490F25D1C}"/>
          </ac:picMkLst>
        </pc:picChg>
        <pc:picChg chg="add mod">
          <ac:chgData name="Völkel, Tobias" userId="S::ru22boda@fauad.fau.de::9c02bf22-18bb-468a-b263-c51c2dc523eb" providerId="AD" clId="Web-{7936B777-4126-4FF0-B3B3-7FD48D19D4EA}" dt="2023-03-12T15:10:30.347" v="1058" actId="1076"/>
          <ac:picMkLst>
            <pc:docMk/>
            <pc:sldMk cId="1610430565" sldId="466"/>
            <ac:picMk id="5" creationId="{D42BDF2D-E3E0-C2F2-DA0C-E701488467D5}"/>
          </ac:picMkLst>
        </pc:picChg>
        <pc:picChg chg="add mod">
          <ac:chgData name="Völkel, Tobias" userId="S::ru22boda@fauad.fau.de::9c02bf22-18bb-468a-b263-c51c2dc523eb" providerId="AD" clId="Web-{7936B777-4126-4FF0-B3B3-7FD48D19D4EA}" dt="2023-03-12T15:13:23.040" v="1061" actId="1076"/>
          <ac:picMkLst>
            <pc:docMk/>
            <pc:sldMk cId="1610430565" sldId="466"/>
            <ac:picMk id="18" creationId="{50CCC360-5856-10C9-1630-CD3487779812}"/>
          </ac:picMkLst>
        </pc:picChg>
        <pc:cxnChg chg="add del">
          <ac:chgData name="Völkel, Tobias" userId="S::ru22boda@fauad.fau.de::9c02bf22-18bb-468a-b263-c51c2dc523eb" providerId="AD" clId="Web-{7936B777-4126-4FF0-B3B3-7FD48D19D4EA}" dt="2023-03-12T15:17:39.830" v="1150"/>
          <ac:cxnSpMkLst>
            <pc:docMk/>
            <pc:sldMk cId="1610430565" sldId="466"/>
            <ac:cxnSpMk id="25" creationId="{9EB04165-8B0D-4FBB-C38A-25AEAA8253C8}"/>
          </ac:cxnSpMkLst>
        </pc:cxnChg>
      </pc:sldChg>
      <pc:sldChg chg="addSp delSp modSp add replId">
        <pc:chgData name="Völkel, Tobias" userId="S::ru22boda@fauad.fau.de::9c02bf22-18bb-468a-b263-c51c2dc523eb" providerId="AD" clId="Web-{7936B777-4126-4FF0-B3B3-7FD48D19D4EA}" dt="2023-03-12T14:47:32.988" v="472"/>
        <pc:sldMkLst>
          <pc:docMk/>
          <pc:sldMk cId="37830688" sldId="468"/>
        </pc:sldMkLst>
        <pc:spChg chg="mod">
          <ac:chgData name="Völkel, Tobias" userId="S::ru22boda@fauad.fau.de::9c02bf22-18bb-468a-b263-c51c2dc523eb" providerId="AD" clId="Web-{7936B777-4126-4FF0-B3B3-7FD48D19D4EA}" dt="2023-03-12T14:12:38.472" v="176" actId="20577"/>
          <ac:spMkLst>
            <pc:docMk/>
            <pc:sldMk cId="37830688" sldId="468"/>
            <ac:spMk id="3" creationId="{75AAEFF0-7421-C140-30C7-7F433E6FDB49}"/>
          </ac:spMkLst>
        </pc:spChg>
        <pc:spChg chg="add del mod">
          <ac:chgData name="Völkel, Tobias" userId="S::ru22boda@fauad.fau.de::9c02bf22-18bb-468a-b263-c51c2dc523eb" providerId="AD" clId="Web-{7936B777-4126-4FF0-B3B3-7FD48D19D4EA}" dt="2023-03-12T14:47:32.988" v="472"/>
          <ac:spMkLst>
            <pc:docMk/>
            <pc:sldMk cId="37830688" sldId="468"/>
            <ac:spMk id="6" creationId="{672B7608-9411-C8D6-6544-38DFA51AE001}"/>
          </ac:spMkLst>
        </pc:spChg>
      </pc:sldChg>
      <pc:sldChg chg="addSp delSp modSp new">
        <pc:chgData name="Völkel, Tobias" userId="S::ru22boda@fauad.fau.de::9c02bf22-18bb-468a-b263-c51c2dc523eb" providerId="AD" clId="Web-{7936B777-4126-4FF0-B3B3-7FD48D19D4EA}" dt="2023-03-12T15:39:26.736" v="1276"/>
        <pc:sldMkLst>
          <pc:docMk/>
          <pc:sldMk cId="4024365205" sldId="469"/>
        </pc:sldMkLst>
        <pc:spChg chg="mod">
          <ac:chgData name="Völkel, Tobias" userId="S::ru22boda@fauad.fau.de::9c02bf22-18bb-468a-b263-c51c2dc523eb" providerId="AD" clId="Web-{7936B777-4126-4FF0-B3B3-7FD48D19D4EA}" dt="2023-03-12T15:00:01.748" v="675" actId="20577"/>
          <ac:spMkLst>
            <pc:docMk/>
            <pc:sldMk cId="4024365205" sldId="469"/>
            <ac:spMk id="2" creationId="{4C6C724A-482F-2622-964F-44332F01CE78}"/>
          </ac:spMkLst>
        </pc:spChg>
        <pc:spChg chg="del">
          <ac:chgData name="Völkel, Tobias" userId="S::ru22boda@fauad.fau.de::9c02bf22-18bb-468a-b263-c51c2dc523eb" providerId="AD" clId="Web-{7936B777-4126-4FF0-B3B3-7FD48D19D4EA}" dt="2023-03-12T15:00:11.217" v="677"/>
          <ac:spMkLst>
            <pc:docMk/>
            <pc:sldMk cId="4024365205" sldId="469"/>
            <ac:spMk id="3" creationId="{9A5D0E5D-DBA0-A444-A935-30A8D9F9B964}"/>
          </ac:spMkLst>
        </pc:spChg>
        <pc:spChg chg="add mod">
          <ac:chgData name="Völkel, Tobias" userId="S::ru22boda@fauad.fau.de::9c02bf22-18bb-468a-b263-c51c2dc523eb" providerId="AD" clId="Web-{7936B777-4126-4FF0-B3B3-7FD48D19D4EA}" dt="2023-03-12T15:26:44.895" v="1253" actId="1076"/>
          <ac:spMkLst>
            <pc:docMk/>
            <pc:sldMk cId="4024365205" sldId="469"/>
            <ac:spMk id="8" creationId="{A4835BCA-B4EA-BE05-C4DA-A4FD2A5C6F25}"/>
          </ac:spMkLst>
        </pc:spChg>
        <pc:spChg chg="add del mod">
          <ac:chgData name="Völkel, Tobias" userId="S::ru22boda@fauad.fau.de::9c02bf22-18bb-468a-b263-c51c2dc523eb" providerId="AD" clId="Web-{7936B777-4126-4FF0-B3B3-7FD48D19D4EA}" dt="2023-03-12T15:39:26.736" v="1276"/>
          <ac:spMkLst>
            <pc:docMk/>
            <pc:sldMk cId="4024365205" sldId="469"/>
            <ac:spMk id="10" creationId="{C4089706-D1CC-AEF8-E23A-56BA3F41D93F}"/>
          </ac:spMkLst>
        </pc:spChg>
        <pc:spChg chg="add">
          <ac:chgData name="Völkel, Tobias" userId="S::ru22boda@fauad.fau.de::9c02bf22-18bb-468a-b263-c51c2dc523eb" providerId="AD" clId="Web-{7936B777-4126-4FF0-B3B3-7FD48D19D4EA}" dt="2023-03-12T15:38:52.563" v="1268"/>
          <ac:spMkLst>
            <pc:docMk/>
            <pc:sldMk cId="4024365205" sldId="469"/>
            <ac:spMk id="17" creationId="{FD8FCB0B-8F6B-1197-143A-77F500887F29}"/>
          </ac:spMkLst>
        </pc:spChg>
        <pc:spChg chg="add">
          <ac:chgData name="Völkel, Tobias" userId="S::ru22boda@fauad.fau.de::9c02bf22-18bb-468a-b263-c51c2dc523eb" providerId="AD" clId="Web-{7936B777-4126-4FF0-B3B3-7FD48D19D4EA}" dt="2023-03-12T15:38:52.579" v="1269"/>
          <ac:spMkLst>
            <pc:docMk/>
            <pc:sldMk cId="4024365205" sldId="469"/>
            <ac:spMk id="19" creationId="{0FDF5EDB-A23F-3743-69BE-8D8027AC259C}"/>
          </ac:spMkLst>
        </pc:spChg>
        <pc:picChg chg="add mod">
          <ac:chgData name="Völkel, Tobias" userId="S::ru22boda@fauad.fau.de::9c02bf22-18bb-468a-b263-c51c2dc523eb" providerId="AD" clId="Web-{7936B777-4126-4FF0-B3B3-7FD48D19D4EA}" dt="2023-03-12T15:39:11.767" v="1274" actId="1076"/>
          <ac:picMkLst>
            <pc:docMk/>
            <pc:sldMk cId="4024365205" sldId="469"/>
            <ac:picMk id="11" creationId="{3D83DBF4-FA1C-E08D-39D9-334340A4CA86}"/>
          </ac:picMkLst>
        </pc:picChg>
        <pc:picChg chg="add mod">
          <ac:chgData name="Völkel, Tobias" userId="S::ru22boda@fauad.fau.de::9c02bf22-18bb-468a-b263-c51c2dc523eb" providerId="AD" clId="Web-{7936B777-4126-4FF0-B3B3-7FD48D19D4EA}" dt="2023-03-12T15:39:16.064" v="1275" actId="1076"/>
          <ac:picMkLst>
            <pc:docMk/>
            <pc:sldMk cId="4024365205" sldId="469"/>
            <ac:picMk id="12" creationId="{706BF049-0BDD-A0D3-5AAA-7BF43667FB40}"/>
          </ac:picMkLst>
        </pc:picChg>
        <pc:picChg chg="add mod">
          <ac:chgData name="Völkel, Tobias" userId="S::ru22boda@fauad.fau.de::9c02bf22-18bb-468a-b263-c51c2dc523eb" providerId="AD" clId="Web-{7936B777-4126-4FF0-B3B3-7FD48D19D4EA}" dt="2023-03-12T15:38:55.391" v="1270" actId="1076"/>
          <ac:picMkLst>
            <pc:docMk/>
            <pc:sldMk cId="4024365205" sldId="469"/>
            <ac:picMk id="13" creationId="{79C463A9-7D6F-21B5-4D15-B8DD55937582}"/>
          </ac:picMkLst>
        </pc:picChg>
        <pc:picChg chg="add mod">
          <ac:chgData name="Völkel, Tobias" userId="S::ru22boda@fauad.fau.de::9c02bf22-18bb-468a-b263-c51c2dc523eb" providerId="AD" clId="Web-{7936B777-4126-4FF0-B3B3-7FD48D19D4EA}" dt="2023-03-12T15:39:06.845" v="1273" actId="14100"/>
          <ac:picMkLst>
            <pc:docMk/>
            <pc:sldMk cId="4024365205" sldId="469"/>
            <ac:picMk id="14" creationId="{028A1DD6-58A4-AFF9-DC86-289EBD7E5848}"/>
          </ac:picMkLst>
        </pc:picChg>
        <pc:picChg chg="add mod">
          <ac:chgData name="Völkel, Tobias" userId="S::ru22boda@fauad.fau.de::9c02bf22-18bb-468a-b263-c51c2dc523eb" providerId="AD" clId="Web-{7936B777-4126-4FF0-B3B3-7FD48D19D4EA}" dt="2023-03-12T15:38:56.954" v="1271" actId="1076"/>
          <ac:picMkLst>
            <pc:docMk/>
            <pc:sldMk cId="4024365205" sldId="469"/>
            <ac:picMk id="15" creationId="{7480244B-E8DD-64DE-467D-BBC7714CF86F}"/>
          </ac:picMkLst>
        </pc:picChg>
      </pc:sldChg>
    </pc:docChg>
  </pc:docChgLst>
  <pc:docChgLst>
    <pc:chgData name="Fourati, Omar" userId="S::oz48ohuv@fauad.fau.de::543b926d-baf3-4e4d-861e-19746c37446c" providerId="AD" clId="Web-{DF2B53B9-A3EC-4A02-AB5A-6C77E4CAC9E2}"/>
    <pc:docChg chg="modSld">
      <pc:chgData name="Fourati, Omar" userId="S::oz48ohuv@fauad.fau.de::543b926d-baf3-4e4d-861e-19746c37446c" providerId="AD" clId="Web-{DF2B53B9-A3EC-4A02-AB5A-6C77E4CAC9E2}" dt="2023-03-12T10:55:30.177" v="489" actId="20577"/>
      <pc:docMkLst>
        <pc:docMk/>
      </pc:docMkLst>
      <pc:sldChg chg="addSp delSp modSp">
        <pc:chgData name="Fourati, Omar" userId="S::oz48ohuv@fauad.fau.de::543b926d-baf3-4e4d-861e-19746c37446c" providerId="AD" clId="Web-{DF2B53B9-A3EC-4A02-AB5A-6C77E4CAC9E2}" dt="2023-03-12T10:55:30.177" v="489" actId="20577"/>
        <pc:sldMkLst>
          <pc:docMk/>
          <pc:sldMk cId="634732272" sldId="458"/>
        </pc:sldMkLst>
        <pc:spChg chg="add del mod">
          <ac:chgData name="Fourati, Omar" userId="S::oz48ohuv@fauad.fau.de::543b926d-baf3-4e4d-861e-19746c37446c" providerId="AD" clId="Web-{DF2B53B9-A3EC-4A02-AB5A-6C77E4CAC9E2}" dt="2023-03-12T10:40:10.154" v="474"/>
          <ac:spMkLst>
            <pc:docMk/>
            <pc:sldMk cId="634732272" sldId="458"/>
            <ac:spMk id="3" creationId="{C2ED5E64-AD3A-A9F2-7E96-8965EF5AE371}"/>
          </ac:spMkLst>
        </pc:spChg>
        <pc:spChg chg="mod">
          <ac:chgData name="Fourati, Omar" userId="S::oz48ohuv@fauad.fau.de::543b926d-baf3-4e4d-861e-19746c37446c" providerId="AD" clId="Web-{DF2B53B9-A3EC-4A02-AB5A-6C77E4CAC9E2}" dt="2023-03-12T10:05:06.633" v="3" actId="14100"/>
          <ac:spMkLst>
            <pc:docMk/>
            <pc:sldMk cId="634732272" sldId="458"/>
            <ac:spMk id="4" creationId="{620F3424-E32B-4DE8-BF4D-4918B7628D43}"/>
          </ac:spMkLst>
        </pc:spChg>
        <pc:spChg chg="add del mod">
          <ac:chgData name="Fourati, Omar" userId="S::oz48ohuv@fauad.fau.de::543b926d-baf3-4e4d-861e-19746c37446c" providerId="AD" clId="Web-{DF2B53B9-A3EC-4A02-AB5A-6C77E4CAC9E2}" dt="2023-03-12T10:20:00.624" v="42"/>
          <ac:spMkLst>
            <pc:docMk/>
            <pc:sldMk cId="634732272" sldId="458"/>
            <ac:spMk id="5" creationId="{F9B5288D-8A93-3EE3-F2D6-1483F5AFBFEC}"/>
          </ac:spMkLst>
        </pc:spChg>
        <pc:spChg chg="mod">
          <ac:chgData name="Fourati, Omar" userId="S::oz48ohuv@fauad.fau.de::543b926d-baf3-4e4d-861e-19746c37446c" providerId="AD" clId="Web-{DF2B53B9-A3EC-4A02-AB5A-6C77E4CAC9E2}" dt="2023-03-12T10:24:37.959" v="242" actId="1076"/>
          <ac:spMkLst>
            <pc:docMk/>
            <pc:sldMk cId="634732272" sldId="458"/>
            <ac:spMk id="6" creationId="{1CC6A956-A954-4940-A619-381D56C1A856}"/>
          </ac:spMkLst>
        </pc:spChg>
        <pc:spChg chg="add del mod">
          <ac:chgData name="Fourati, Omar" userId="S::oz48ohuv@fauad.fau.de::543b926d-baf3-4e4d-861e-19746c37446c" providerId="AD" clId="Web-{DF2B53B9-A3EC-4A02-AB5A-6C77E4CAC9E2}" dt="2023-03-12T10:24:10.990" v="236" actId="20577"/>
          <ac:spMkLst>
            <pc:docMk/>
            <pc:sldMk cId="634732272" sldId="458"/>
            <ac:spMk id="7" creationId="{A2FADCE3-E850-4784-8F2E-D7BF01E4852E}"/>
          </ac:spMkLst>
        </pc:spChg>
        <pc:spChg chg="add mod">
          <ac:chgData name="Fourati, Omar" userId="S::oz48ohuv@fauad.fau.de::543b926d-baf3-4e4d-861e-19746c37446c" providerId="AD" clId="Web-{DF2B53B9-A3EC-4A02-AB5A-6C77E4CAC9E2}" dt="2023-03-12T10:21:06.845" v="79" actId="1076"/>
          <ac:spMkLst>
            <pc:docMk/>
            <pc:sldMk cId="634732272" sldId="458"/>
            <ac:spMk id="8" creationId="{D77BA092-77CE-A6B8-F8C8-B4C49350BFAA}"/>
          </ac:spMkLst>
        </pc:spChg>
        <pc:spChg chg="add mod">
          <ac:chgData name="Fourati, Omar" userId="S::oz48ohuv@fauad.fau.de::543b926d-baf3-4e4d-861e-19746c37446c" providerId="AD" clId="Web-{DF2B53B9-A3EC-4A02-AB5A-6C77E4CAC9E2}" dt="2023-03-12T10:21:37.127" v="108" actId="1076"/>
          <ac:spMkLst>
            <pc:docMk/>
            <pc:sldMk cId="634732272" sldId="458"/>
            <ac:spMk id="10" creationId="{62DCCDA5-4D22-2FBA-E491-7DBC17CCC5D3}"/>
          </ac:spMkLst>
        </pc:spChg>
        <pc:spChg chg="add mod">
          <ac:chgData name="Fourati, Omar" userId="S::oz48ohuv@fauad.fau.de::543b926d-baf3-4e4d-861e-19746c37446c" providerId="AD" clId="Web-{DF2B53B9-A3EC-4A02-AB5A-6C77E4CAC9E2}" dt="2023-03-12T10:21:59.549" v="127" actId="1076"/>
          <ac:spMkLst>
            <pc:docMk/>
            <pc:sldMk cId="634732272" sldId="458"/>
            <ac:spMk id="11" creationId="{2CD9DC8D-81D0-946B-4502-23E8F159A816}"/>
          </ac:spMkLst>
        </pc:spChg>
        <pc:spChg chg="add del">
          <ac:chgData name="Fourati, Omar" userId="S::oz48ohuv@fauad.fau.de::543b926d-baf3-4e4d-861e-19746c37446c" providerId="AD" clId="Web-{DF2B53B9-A3EC-4A02-AB5A-6C77E4CAC9E2}" dt="2023-03-12T10:23:52.286" v="228"/>
          <ac:spMkLst>
            <pc:docMk/>
            <pc:sldMk cId="634732272" sldId="458"/>
            <ac:spMk id="12" creationId="{84B00638-22A1-A28B-19EB-79427A20D38F}"/>
          </ac:spMkLst>
        </pc:spChg>
        <pc:spChg chg="add mod">
          <ac:chgData name="Fourati, Omar" userId="S::oz48ohuv@fauad.fau.de::543b926d-baf3-4e4d-861e-19746c37446c" providerId="AD" clId="Web-{DF2B53B9-A3EC-4A02-AB5A-6C77E4CAC9E2}" dt="2023-03-12T10:24:24.303" v="241" actId="1076"/>
          <ac:spMkLst>
            <pc:docMk/>
            <pc:sldMk cId="634732272" sldId="458"/>
            <ac:spMk id="13" creationId="{CCFD94EF-8A4B-1B70-B6D3-C7A5ED72BC14}"/>
          </ac:spMkLst>
        </pc:spChg>
        <pc:spChg chg="del mod">
          <ac:chgData name="Fourati, Omar" userId="S::oz48ohuv@fauad.fau.de::543b926d-baf3-4e4d-861e-19746c37446c" providerId="AD" clId="Web-{DF2B53B9-A3EC-4A02-AB5A-6C77E4CAC9E2}" dt="2023-03-12T10:04:59.446" v="1"/>
          <ac:spMkLst>
            <pc:docMk/>
            <pc:sldMk cId="634732272" sldId="458"/>
            <ac:spMk id="14" creationId="{B600814F-C5FB-A5A6-C7E7-672B5C1EA70C}"/>
          </ac:spMkLst>
        </pc:spChg>
        <pc:spChg chg="mod">
          <ac:chgData name="Fourati, Omar" userId="S::oz48ohuv@fauad.fau.de::543b926d-baf3-4e4d-861e-19746c37446c" providerId="AD" clId="Web-{DF2B53B9-A3EC-4A02-AB5A-6C77E4CAC9E2}" dt="2023-03-12T10:30:25.515" v="248" actId="20577"/>
          <ac:spMkLst>
            <pc:docMk/>
            <pc:sldMk cId="634732272" sldId="458"/>
            <ac:spMk id="19" creationId="{9C574363-8D56-4907-88DB-F19E396AEB20}"/>
          </ac:spMkLst>
        </pc:spChg>
        <pc:spChg chg="mod">
          <ac:chgData name="Fourati, Omar" userId="S::oz48ohuv@fauad.fau.de::543b926d-baf3-4e4d-861e-19746c37446c" providerId="AD" clId="Web-{DF2B53B9-A3EC-4A02-AB5A-6C77E4CAC9E2}" dt="2023-03-12T10:55:30.177" v="489" actId="20577"/>
          <ac:spMkLst>
            <pc:docMk/>
            <pc:sldMk cId="634732272" sldId="458"/>
            <ac:spMk id="20" creationId="{2AD08722-C387-44A0-8955-313CD959C971}"/>
          </ac:spMkLst>
        </pc:spChg>
        <pc:spChg chg="mod">
          <ac:chgData name="Fourati, Omar" userId="S::oz48ohuv@fauad.fau.de::543b926d-baf3-4e4d-861e-19746c37446c" providerId="AD" clId="Web-{DF2B53B9-A3EC-4A02-AB5A-6C77E4CAC9E2}" dt="2023-03-12T10:05:14.852" v="5" actId="14100"/>
          <ac:spMkLst>
            <pc:docMk/>
            <pc:sldMk cId="634732272" sldId="458"/>
            <ac:spMk id="21" creationId="{03AEB1A7-4A22-4EA3-B891-8CE774B86F7E}"/>
          </ac:spMkLst>
        </pc:spChg>
      </pc:sldChg>
    </pc:docChg>
  </pc:docChgLst>
  <pc:docChgLst>
    <pc:chgData name="Fourati, Omar" userId="S::oz48ohuv@fauad.fau.de::543b926d-baf3-4e4d-861e-19746c37446c" providerId="AD" clId="Web-{31FD1291-4061-49C4-AB1B-B9E38B26E01E}"/>
    <pc:docChg chg="modSld">
      <pc:chgData name="Fourati, Omar" userId="S::oz48ohuv@fauad.fau.de::543b926d-baf3-4e4d-861e-19746c37446c" providerId="AD" clId="Web-{31FD1291-4061-49C4-AB1B-B9E38B26E01E}" dt="2023-03-12T19:15:20.359" v="134" actId="1076"/>
      <pc:docMkLst>
        <pc:docMk/>
      </pc:docMkLst>
      <pc:sldChg chg="modSp">
        <pc:chgData name="Fourati, Omar" userId="S::oz48ohuv@fauad.fau.de::543b926d-baf3-4e4d-861e-19746c37446c" providerId="AD" clId="Web-{31FD1291-4061-49C4-AB1B-B9E38B26E01E}" dt="2023-03-12T19:09:58.863" v="12" actId="20577"/>
        <pc:sldMkLst>
          <pc:docMk/>
          <pc:sldMk cId="4251489337" sldId="454"/>
        </pc:sldMkLst>
        <pc:spChg chg="mod">
          <ac:chgData name="Fourati, Omar" userId="S::oz48ohuv@fauad.fau.de::543b926d-baf3-4e4d-861e-19746c37446c" providerId="AD" clId="Web-{31FD1291-4061-49C4-AB1B-B9E38B26E01E}" dt="2023-03-12T19:09:58.863" v="12" actId="20577"/>
          <ac:spMkLst>
            <pc:docMk/>
            <pc:sldMk cId="4251489337" sldId="454"/>
            <ac:spMk id="11" creationId="{318B7312-9E49-377E-6D95-00D0F5667CEE}"/>
          </ac:spMkLst>
        </pc:spChg>
      </pc:sldChg>
      <pc:sldChg chg="addSp modSp">
        <pc:chgData name="Fourati, Omar" userId="S::oz48ohuv@fauad.fau.de::543b926d-baf3-4e4d-861e-19746c37446c" providerId="AD" clId="Web-{31FD1291-4061-49C4-AB1B-B9E38B26E01E}" dt="2023-03-12T19:15:20.359" v="134" actId="1076"/>
        <pc:sldMkLst>
          <pc:docMk/>
          <pc:sldMk cId="634732272" sldId="458"/>
        </pc:sldMkLst>
        <pc:spChg chg="mod">
          <ac:chgData name="Fourati, Omar" userId="S::oz48ohuv@fauad.fau.de::543b926d-baf3-4e4d-861e-19746c37446c" providerId="AD" clId="Web-{31FD1291-4061-49C4-AB1B-B9E38B26E01E}" dt="2023-03-12T19:15:20.359" v="134" actId="1076"/>
          <ac:spMkLst>
            <pc:docMk/>
            <pc:sldMk cId="634732272" sldId="458"/>
            <ac:spMk id="2" creationId="{43D8B240-1629-E169-EE71-AB2BD3929CAF}"/>
          </ac:spMkLst>
        </pc:spChg>
        <pc:spChg chg="add mod">
          <ac:chgData name="Fourati, Omar" userId="S::oz48ohuv@fauad.fau.de::543b926d-baf3-4e4d-861e-19746c37446c" providerId="AD" clId="Web-{31FD1291-4061-49C4-AB1B-B9E38B26E01E}" dt="2023-03-12T19:15:00.937" v="130" actId="1076"/>
          <ac:spMkLst>
            <pc:docMk/>
            <pc:sldMk cId="634732272" sldId="458"/>
            <ac:spMk id="3" creationId="{83D95EDE-35B4-B8D3-18D4-F5B20590716A}"/>
          </ac:spMkLst>
        </pc:spChg>
        <pc:spChg chg="mod">
          <ac:chgData name="Fourati, Omar" userId="S::oz48ohuv@fauad.fau.de::543b926d-baf3-4e4d-861e-19746c37446c" providerId="AD" clId="Web-{31FD1291-4061-49C4-AB1B-B9E38B26E01E}" dt="2023-03-12T19:10:36.677" v="19" actId="14100"/>
          <ac:spMkLst>
            <pc:docMk/>
            <pc:sldMk cId="634732272" sldId="458"/>
            <ac:spMk id="4" creationId="{620F3424-E32B-4DE8-BF4D-4918B7628D43}"/>
          </ac:spMkLst>
        </pc:spChg>
        <pc:spChg chg="mod">
          <ac:chgData name="Fourati, Omar" userId="S::oz48ohuv@fauad.fau.de::543b926d-baf3-4e4d-861e-19746c37446c" providerId="AD" clId="Web-{31FD1291-4061-49C4-AB1B-B9E38B26E01E}" dt="2023-03-12T19:10:23.083" v="14" actId="1076"/>
          <ac:spMkLst>
            <pc:docMk/>
            <pc:sldMk cId="634732272" sldId="458"/>
            <ac:spMk id="6" creationId="{1CC6A956-A954-4940-A619-381D56C1A856}"/>
          </ac:spMkLst>
        </pc:spChg>
        <pc:spChg chg="mod">
          <ac:chgData name="Fourati, Omar" userId="S::oz48ohuv@fauad.fau.de::543b926d-baf3-4e4d-861e-19746c37446c" providerId="AD" clId="Web-{31FD1291-4061-49C4-AB1B-B9E38B26E01E}" dt="2023-03-12T19:14:42.233" v="126" actId="20577"/>
          <ac:spMkLst>
            <pc:docMk/>
            <pc:sldMk cId="634732272" sldId="458"/>
            <ac:spMk id="7" creationId="{A2FADCE3-E850-4784-8F2E-D7BF01E4852E}"/>
          </ac:spMkLst>
        </pc:spChg>
        <pc:spChg chg="mod">
          <ac:chgData name="Fourati, Omar" userId="S::oz48ohuv@fauad.fau.de::543b926d-baf3-4e4d-861e-19746c37446c" providerId="AD" clId="Web-{31FD1291-4061-49C4-AB1B-B9E38B26E01E}" dt="2023-03-12T19:15:16.234" v="133" actId="1076"/>
          <ac:spMkLst>
            <pc:docMk/>
            <pc:sldMk cId="634732272" sldId="458"/>
            <ac:spMk id="8" creationId="{D77BA092-77CE-A6B8-F8C8-B4C49350BFAA}"/>
          </ac:spMkLst>
        </pc:spChg>
        <pc:spChg chg="mod">
          <ac:chgData name="Fourati, Omar" userId="S::oz48ohuv@fauad.fau.de::543b926d-baf3-4e4d-861e-19746c37446c" providerId="AD" clId="Web-{31FD1291-4061-49C4-AB1B-B9E38B26E01E}" dt="2023-03-12T19:15:12.406" v="132" actId="1076"/>
          <ac:spMkLst>
            <pc:docMk/>
            <pc:sldMk cId="634732272" sldId="458"/>
            <ac:spMk id="10" creationId="{62DCCDA5-4D22-2FBA-E491-7DBC17CCC5D3}"/>
          </ac:spMkLst>
        </pc:spChg>
        <pc:spChg chg="mod">
          <ac:chgData name="Fourati, Omar" userId="S::oz48ohuv@fauad.fau.de::543b926d-baf3-4e4d-861e-19746c37446c" providerId="AD" clId="Web-{31FD1291-4061-49C4-AB1B-B9E38B26E01E}" dt="2023-03-12T19:14:21.732" v="94" actId="1076"/>
          <ac:spMkLst>
            <pc:docMk/>
            <pc:sldMk cId="634732272" sldId="458"/>
            <ac:spMk id="11" creationId="{2CD9DC8D-81D0-946B-4502-23E8F159A816}"/>
          </ac:spMkLst>
        </pc:spChg>
        <pc:spChg chg="mod">
          <ac:chgData name="Fourati, Omar" userId="S::oz48ohuv@fauad.fau.de::543b926d-baf3-4e4d-861e-19746c37446c" providerId="AD" clId="Web-{31FD1291-4061-49C4-AB1B-B9E38B26E01E}" dt="2023-03-12T19:10:41.084" v="20" actId="1076"/>
          <ac:spMkLst>
            <pc:docMk/>
            <pc:sldMk cId="634732272" sldId="458"/>
            <ac:spMk id="21" creationId="{03AEB1A7-4A22-4EA3-B891-8CE774B86F7E}"/>
          </ac:spMkLst>
        </pc:spChg>
      </pc:sldChg>
    </pc:docChg>
  </pc:docChgLst>
  <pc:docChgLst>
    <pc:chgData name="Tobias Völkel" userId="9c02bf22-18bb-468a-b263-c51c2dc523eb" providerId="ADAL" clId="{BE69AB25-F628-3E42-9366-704B6B9C1D66}"/>
    <pc:docChg chg="undo custSel modSld">
      <pc:chgData name="Tobias Völkel" userId="9c02bf22-18bb-468a-b263-c51c2dc523eb" providerId="ADAL" clId="{BE69AB25-F628-3E42-9366-704B6B9C1D66}" dt="2023-01-15T18:04:48.628" v="269" actId="20577"/>
      <pc:docMkLst>
        <pc:docMk/>
      </pc:docMkLst>
      <pc:sldChg chg="addSp delSp modSp mod">
        <pc:chgData name="Tobias Völkel" userId="9c02bf22-18bb-468a-b263-c51c2dc523eb" providerId="ADAL" clId="{BE69AB25-F628-3E42-9366-704B6B9C1D66}" dt="2023-01-15T17:55:29.488" v="129" actId="20577"/>
        <pc:sldMkLst>
          <pc:docMk/>
          <pc:sldMk cId="609627312" sldId="320"/>
        </pc:sldMkLst>
        <pc:spChg chg="mod">
          <ac:chgData name="Tobias Völkel" userId="9c02bf22-18bb-468a-b263-c51c2dc523eb" providerId="ADAL" clId="{BE69AB25-F628-3E42-9366-704B6B9C1D66}" dt="2023-01-15T17:54:07.805" v="98" actId="20577"/>
          <ac:spMkLst>
            <pc:docMk/>
            <pc:sldMk cId="609627312" sldId="320"/>
            <ac:spMk id="6" creationId="{D369FE0A-FF5C-FCD4-4A5F-84D5E00774CA}"/>
          </ac:spMkLst>
        </pc:spChg>
        <pc:spChg chg="mod">
          <ac:chgData name="Tobias Völkel" userId="9c02bf22-18bb-468a-b263-c51c2dc523eb" providerId="ADAL" clId="{BE69AB25-F628-3E42-9366-704B6B9C1D66}" dt="2023-01-15T17:55:29.488" v="129" actId="20577"/>
          <ac:spMkLst>
            <pc:docMk/>
            <pc:sldMk cId="609627312" sldId="320"/>
            <ac:spMk id="8" creationId="{9C89D76A-099C-A12E-D3F0-827E546A6BF0}"/>
          </ac:spMkLst>
        </pc:spChg>
        <pc:spChg chg="add mod">
          <ac:chgData name="Tobias Völkel" userId="9c02bf22-18bb-468a-b263-c51c2dc523eb" providerId="ADAL" clId="{BE69AB25-F628-3E42-9366-704B6B9C1D66}" dt="2023-01-15T17:52:49.196" v="67" actId="14100"/>
          <ac:spMkLst>
            <pc:docMk/>
            <pc:sldMk cId="609627312" sldId="320"/>
            <ac:spMk id="13" creationId="{DB2CA731-309B-C304-DE2C-00A4AA767D1A}"/>
          </ac:spMkLst>
        </pc:spChg>
        <pc:spChg chg="add mod">
          <ac:chgData name="Tobias Völkel" userId="9c02bf22-18bb-468a-b263-c51c2dc523eb" providerId="ADAL" clId="{BE69AB25-F628-3E42-9366-704B6B9C1D66}" dt="2023-01-15T17:52:53.652" v="68" actId="1076"/>
          <ac:spMkLst>
            <pc:docMk/>
            <pc:sldMk cId="609627312" sldId="320"/>
            <ac:spMk id="15" creationId="{7B333FE6-6275-DB56-874F-0395F2E51342}"/>
          </ac:spMkLst>
        </pc:spChg>
        <pc:picChg chg="add mod">
          <ac:chgData name="Tobias Völkel" userId="9c02bf22-18bb-468a-b263-c51c2dc523eb" providerId="ADAL" clId="{BE69AB25-F628-3E42-9366-704B6B9C1D66}" dt="2023-01-15T17:48:12.725" v="20" actId="167"/>
          <ac:picMkLst>
            <pc:docMk/>
            <pc:sldMk cId="609627312" sldId="320"/>
            <ac:picMk id="5" creationId="{6D218D37-3029-1725-4A25-8F19EB186F66}"/>
          </ac:picMkLst>
        </pc:picChg>
        <pc:picChg chg="add del mod">
          <ac:chgData name="Tobias Völkel" userId="9c02bf22-18bb-468a-b263-c51c2dc523eb" providerId="ADAL" clId="{BE69AB25-F628-3E42-9366-704B6B9C1D66}" dt="2023-01-15T17:48:55.269" v="26" actId="478"/>
          <ac:picMkLst>
            <pc:docMk/>
            <pc:sldMk cId="609627312" sldId="320"/>
            <ac:picMk id="7" creationId="{57B07B13-4B44-B280-243A-F7B150EFBADF}"/>
          </ac:picMkLst>
        </pc:picChg>
        <pc:picChg chg="mod">
          <ac:chgData name="Tobias Völkel" userId="9c02bf22-18bb-468a-b263-c51c2dc523eb" providerId="ADAL" clId="{BE69AB25-F628-3E42-9366-704B6B9C1D66}" dt="2023-01-15T17:49:13.730" v="30" actId="1076"/>
          <ac:picMkLst>
            <pc:docMk/>
            <pc:sldMk cId="609627312" sldId="320"/>
            <ac:picMk id="9" creationId="{FD219B74-D2A2-84E2-A313-D254B5F8D557}"/>
          </ac:picMkLst>
        </pc:picChg>
        <pc:picChg chg="add del mod">
          <ac:chgData name="Tobias Völkel" userId="9c02bf22-18bb-468a-b263-c51c2dc523eb" providerId="ADAL" clId="{BE69AB25-F628-3E42-9366-704B6B9C1D66}" dt="2023-01-15T17:48:56.243" v="27" actId="478"/>
          <ac:picMkLst>
            <pc:docMk/>
            <pc:sldMk cId="609627312" sldId="320"/>
            <ac:picMk id="10" creationId="{03E299A5-3783-6A9B-9318-C86DB1A99AD9}"/>
          </ac:picMkLst>
        </pc:picChg>
        <pc:picChg chg="mod">
          <ac:chgData name="Tobias Völkel" userId="9c02bf22-18bb-468a-b263-c51c2dc523eb" providerId="ADAL" clId="{BE69AB25-F628-3E42-9366-704B6B9C1D66}" dt="2023-01-15T17:49:00.819" v="28" actId="1076"/>
          <ac:picMkLst>
            <pc:docMk/>
            <pc:sldMk cId="609627312" sldId="320"/>
            <ac:picMk id="11" creationId="{27923154-3C01-C437-0988-CBF9B444741E}"/>
          </ac:picMkLst>
        </pc:picChg>
        <pc:picChg chg="mod">
          <ac:chgData name="Tobias Völkel" userId="9c02bf22-18bb-468a-b263-c51c2dc523eb" providerId="ADAL" clId="{BE69AB25-F628-3E42-9366-704B6B9C1D66}" dt="2023-01-15T17:48:46.588" v="24" actId="1076"/>
          <ac:picMkLst>
            <pc:docMk/>
            <pc:sldMk cId="609627312" sldId="320"/>
            <ac:picMk id="12" creationId="{6E116DBA-4519-2AE8-F543-0C638F5D40A3}"/>
          </ac:picMkLst>
        </pc:picChg>
      </pc:sldChg>
      <pc:sldChg chg="addSp modSp mod">
        <pc:chgData name="Tobias Völkel" userId="9c02bf22-18bb-468a-b263-c51c2dc523eb" providerId="ADAL" clId="{BE69AB25-F628-3E42-9366-704B6B9C1D66}" dt="2023-01-15T17:53:49.447" v="96" actId="20577"/>
        <pc:sldMkLst>
          <pc:docMk/>
          <pc:sldMk cId="1209725749" sldId="321"/>
        </pc:sldMkLst>
        <pc:spChg chg="add mod">
          <ac:chgData name="Tobias Völkel" userId="9c02bf22-18bb-468a-b263-c51c2dc523eb" providerId="ADAL" clId="{BE69AB25-F628-3E42-9366-704B6B9C1D66}" dt="2023-01-15T17:52:08.689" v="53" actId="1076"/>
          <ac:spMkLst>
            <pc:docMk/>
            <pc:sldMk cId="1209725749" sldId="321"/>
            <ac:spMk id="5" creationId="{83932955-5AF3-1585-C9E7-BD566C42D02F}"/>
          </ac:spMkLst>
        </pc:spChg>
        <pc:spChg chg="add mod">
          <ac:chgData name="Tobias Völkel" userId="9c02bf22-18bb-468a-b263-c51c2dc523eb" providerId="ADAL" clId="{BE69AB25-F628-3E42-9366-704B6B9C1D66}" dt="2023-01-15T17:52:21.049" v="62" actId="1037"/>
          <ac:spMkLst>
            <pc:docMk/>
            <pc:sldMk cId="1209725749" sldId="321"/>
            <ac:spMk id="7" creationId="{C859253F-B27D-F205-4DBC-6D1A7AA5B96B}"/>
          </ac:spMkLst>
        </pc:spChg>
        <pc:spChg chg="mod">
          <ac:chgData name="Tobias Völkel" userId="9c02bf22-18bb-468a-b263-c51c2dc523eb" providerId="ADAL" clId="{BE69AB25-F628-3E42-9366-704B6B9C1D66}" dt="2023-01-15T17:53:49.447" v="96" actId="20577"/>
          <ac:spMkLst>
            <pc:docMk/>
            <pc:sldMk cId="1209725749" sldId="321"/>
            <ac:spMk id="8" creationId="{148C5908-9D0B-D297-435F-5D34ED4435D8}"/>
          </ac:spMkLst>
        </pc:spChg>
        <pc:picChg chg="mod modCrop">
          <ac:chgData name="Tobias Völkel" userId="9c02bf22-18bb-468a-b263-c51c2dc523eb" providerId="ADAL" clId="{BE69AB25-F628-3E42-9366-704B6B9C1D66}" dt="2023-01-15T17:46:58.229" v="11" actId="1076"/>
          <ac:picMkLst>
            <pc:docMk/>
            <pc:sldMk cId="1209725749" sldId="321"/>
            <ac:picMk id="9" creationId="{3D2F41C3-7E70-6FDB-452E-BDFD33CFF21E}"/>
          </ac:picMkLst>
        </pc:picChg>
        <pc:picChg chg="mod">
          <ac:chgData name="Tobias Völkel" userId="9c02bf22-18bb-468a-b263-c51c2dc523eb" providerId="ADAL" clId="{BE69AB25-F628-3E42-9366-704B6B9C1D66}" dt="2023-01-15T17:47:13.415" v="17" actId="1076"/>
          <ac:picMkLst>
            <pc:docMk/>
            <pc:sldMk cId="1209725749" sldId="321"/>
            <ac:picMk id="10" creationId="{EFA847B1-540B-D2E1-FAD7-5AEE114AE388}"/>
          </ac:picMkLst>
        </pc:picChg>
        <pc:picChg chg="mod">
          <ac:chgData name="Tobias Völkel" userId="9c02bf22-18bb-468a-b263-c51c2dc523eb" providerId="ADAL" clId="{BE69AB25-F628-3E42-9366-704B6B9C1D66}" dt="2023-01-15T17:47:10.036" v="16" actId="14100"/>
          <ac:picMkLst>
            <pc:docMk/>
            <pc:sldMk cId="1209725749" sldId="321"/>
            <ac:picMk id="11" creationId="{15E64D0D-3D59-9791-5FED-8CCB01D288B6}"/>
          </ac:picMkLst>
        </pc:picChg>
      </pc:sldChg>
      <pc:sldChg chg="addSp delSp modSp mod">
        <pc:chgData name="Tobias Völkel" userId="9c02bf22-18bb-468a-b263-c51c2dc523eb" providerId="ADAL" clId="{BE69AB25-F628-3E42-9366-704B6B9C1D66}" dt="2023-01-15T17:56:32.021" v="181" actId="20577"/>
        <pc:sldMkLst>
          <pc:docMk/>
          <pc:sldMk cId="1876030968" sldId="322"/>
        </pc:sldMkLst>
        <pc:spChg chg="mod">
          <ac:chgData name="Tobias Völkel" userId="9c02bf22-18bb-468a-b263-c51c2dc523eb" providerId="ADAL" clId="{BE69AB25-F628-3E42-9366-704B6B9C1D66}" dt="2023-01-15T17:54:20.697" v="123" actId="20577"/>
          <ac:spMkLst>
            <pc:docMk/>
            <pc:sldMk cId="1876030968" sldId="322"/>
            <ac:spMk id="6" creationId="{48C6A416-692B-28B3-F477-85D1A3ABCF46}"/>
          </ac:spMkLst>
        </pc:spChg>
        <pc:spChg chg="mod">
          <ac:chgData name="Tobias Völkel" userId="9c02bf22-18bb-468a-b263-c51c2dc523eb" providerId="ADAL" clId="{BE69AB25-F628-3E42-9366-704B6B9C1D66}" dt="2023-01-15T17:56:32.021" v="181" actId="20577"/>
          <ac:spMkLst>
            <pc:docMk/>
            <pc:sldMk cId="1876030968" sldId="322"/>
            <ac:spMk id="8" creationId="{52F0BB77-CBF2-FFD6-CD07-8E097BDCA192}"/>
          </ac:spMkLst>
        </pc:spChg>
        <pc:spChg chg="add mod">
          <ac:chgData name="Tobias Völkel" userId="9c02bf22-18bb-468a-b263-c51c2dc523eb" providerId="ADAL" clId="{BE69AB25-F628-3E42-9366-704B6B9C1D66}" dt="2023-01-15T17:53:06.951" v="72" actId="1076"/>
          <ac:spMkLst>
            <pc:docMk/>
            <pc:sldMk cId="1876030968" sldId="322"/>
            <ac:spMk id="13" creationId="{A3725037-405D-44B6-BC4E-76491365198B}"/>
          </ac:spMkLst>
        </pc:spChg>
        <pc:spChg chg="add mod">
          <ac:chgData name="Tobias Völkel" userId="9c02bf22-18bb-468a-b263-c51c2dc523eb" providerId="ADAL" clId="{BE69AB25-F628-3E42-9366-704B6B9C1D66}" dt="2023-01-15T17:53:28.259" v="77" actId="1076"/>
          <ac:spMkLst>
            <pc:docMk/>
            <pc:sldMk cId="1876030968" sldId="322"/>
            <ac:spMk id="14" creationId="{1AD06636-8128-2798-71A0-312AB3F1598A}"/>
          </ac:spMkLst>
        </pc:spChg>
        <pc:picChg chg="add mod">
          <ac:chgData name="Tobias Völkel" userId="9c02bf22-18bb-468a-b263-c51c2dc523eb" providerId="ADAL" clId="{BE69AB25-F628-3E42-9366-704B6B9C1D66}" dt="2023-01-15T17:49:23.161" v="32" actId="167"/>
          <ac:picMkLst>
            <pc:docMk/>
            <pc:sldMk cId="1876030968" sldId="322"/>
            <ac:picMk id="5" creationId="{EF0E54E2-BE69-FEB0-2655-5593CC5F1668}"/>
          </ac:picMkLst>
        </pc:picChg>
        <pc:picChg chg="add del mod">
          <ac:chgData name="Tobias Völkel" userId="9c02bf22-18bb-468a-b263-c51c2dc523eb" providerId="ADAL" clId="{BE69AB25-F628-3E42-9366-704B6B9C1D66}" dt="2023-01-15T17:49:50.697" v="38" actId="478"/>
          <ac:picMkLst>
            <pc:docMk/>
            <pc:sldMk cId="1876030968" sldId="322"/>
            <ac:picMk id="7" creationId="{9A008520-E822-7941-D94E-9E91815F1D19}"/>
          </ac:picMkLst>
        </pc:picChg>
        <pc:picChg chg="mod">
          <ac:chgData name="Tobias Völkel" userId="9c02bf22-18bb-468a-b263-c51c2dc523eb" providerId="ADAL" clId="{BE69AB25-F628-3E42-9366-704B6B9C1D66}" dt="2023-01-15T17:53:12.148" v="74" actId="1076"/>
          <ac:picMkLst>
            <pc:docMk/>
            <pc:sldMk cId="1876030968" sldId="322"/>
            <ac:picMk id="9" creationId="{2D01A94A-C0FF-FB83-AC26-61E2CB521D95}"/>
          </ac:picMkLst>
        </pc:picChg>
        <pc:picChg chg="mod">
          <ac:chgData name="Tobias Völkel" userId="9c02bf22-18bb-468a-b263-c51c2dc523eb" providerId="ADAL" clId="{BE69AB25-F628-3E42-9366-704B6B9C1D66}" dt="2023-01-15T17:49:46.667" v="35" actId="1076"/>
          <ac:picMkLst>
            <pc:docMk/>
            <pc:sldMk cId="1876030968" sldId="322"/>
            <ac:picMk id="10" creationId="{A1FB7AD5-32E2-CD6E-E576-47418447E5FA}"/>
          </ac:picMkLst>
        </pc:picChg>
        <pc:picChg chg="mod">
          <ac:chgData name="Tobias Völkel" userId="9c02bf22-18bb-468a-b263-c51c2dc523eb" providerId="ADAL" clId="{BE69AB25-F628-3E42-9366-704B6B9C1D66}" dt="2023-01-15T17:50:01.870" v="39" actId="1076"/>
          <ac:picMkLst>
            <pc:docMk/>
            <pc:sldMk cId="1876030968" sldId="322"/>
            <ac:picMk id="11" creationId="{602560C8-8985-0E02-F64E-F8B2C7968569}"/>
          </ac:picMkLst>
        </pc:picChg>
        <pc:picChg chg="add del mod">
          <ac:chgData name="Tobias Völkel" userId="9c02bf22-18bb-468a-b263-c51c2dc523eb" providerId="ADAL" clId="{BE69AB25-F628-3E42-9366-704B6B9C1D66}" dt="2023-01-15T17:49:49.641" v="37" actId="478"/>
          <ac:picMkLst>
            <pc:docMk/>
            <pc:sldMk cId="1876030968" sldId="322"/>
            <ac:picMk id="12" creationId="{9F90BFF9-880A-0833-B7B8-68190513445D}"/>
          </ac:picMkLst>
        </pc:picChg>
      </pc:sldChg>
      <pc:sldChg chg="addSp delSp modSp mod">
        <pc:chgData name="Tobias Völkel" userId="9c02bf22-18bb-468a-b263-c51c2dc523eb" providerId="ADAL" clId="{BE69AB25-F628-3E42-9366-704B6B9C1D66}" dt="2023-01-15T18:04:48.628" v="269" actId="20577"/>
        <pc:sldMkLst>
          <pc:docMk/>
          <pc:sldMk cId="2294660800" sldId="323"/>
        </pc:sldMkLst>
        <pc:spChg chg="del">
          <ac:chgData name="Tobias Völkel" userId="9c02bf22-18bb-468a-b263-c51c2dc523eb" providerId="ADAL" clId="{BE69AB25-F628-3E42-9366-704B6B9C1D66}" dt="2023-01-15T17:58:38.724" v="186" actId="26606"/>
          <ac:spMkLst>
            <pc:docMk/>
            <pc:sldMk cId="2294660800" sldId="323"/>
            <ac:spMk id="5" creationId="{273647B4-C84F-10C8-CAD6-35BD0C061470}"/>
          </ac:spMkLst>
        </pc:spChg>
        <pc:spChg chg="del">
          <ac:chgData name="Tobias Völkel" userId="9c02bf22-18bb-468a-b263-c51c2dc523eb" providerId="ADAL" clId="{BE69AB25-F628-3E42-9366-704B6B9C1D66}" dt="2023-01-15T17:58:08.500" v="182" actId="931"/>
          <ac:spMkLst>
            <pc:docMk/>
            <pc:sldMk cId="2294660800" sldId="323"/>
            <ac:spMk id="7" creationId="{117BE756-16B3-0F94-02F6-A00ACE41EF1F}"/>
          </ac:spMkLst>
        </pc:spChg>
        <pc:spChg chg="add del mod">
          <ac:chgData name="Tobias Völkel" userId="9c02bf22-18bb-468a-b263-c51c2dc523eb" providerId="ADAL" clId="{BE69AB25-F628-3E42-9366-704B6B9C1D66}" dt="2023-01-15T17:59:04.742" v="188" actId="931"/>
          <ac:spMkLst>
            <pc:docMk/>
            <pc:sldMk cId="2294660800" sldId="323"/>
            <ac:spMk id="12" creationId="{593D0EC3-7A18-CFD7-896E-DAE03AB8F10A}"/>
          </ac:spMkLst>
        </pc:spChg>
        <pc:spChg chg="add del mod">
          <ac:chgData name="Tobias Völkel" userId="9c02bf22-18bb-468a-b263-c51c2dc523eb" providerId="ADAL" clId="{BE69AB25-F628-3E42-9366-704B6B9C1D66}" dt="2023-01-15T17:59:38.258" v="193" actId="931"/>
          <ac:spMkLst>
            <pc:docMk/>
            <pc:sldMk cId="2294660800" sldId="323"/>
            <ac:spMk id="17" creationId="{4D9136E5-6FCE-5FDB-43C4-28DA7FD0F6F2}"/>
          </ac:spMkLst>
        </pc:spChg>
        <pc:spChg chg="add del mod">
          <ac:chgData name="Tobias Völkel" userId="9c02bf22-18bb-468a-b263-c51c2dc523eb" providerId="ADAL" clId="{BE69AB25-F628-3E42-9366-704B6B9C1D66}" dt="2023-01-15T17:59:40.793" v="195" actId="478"/>
          <ac:spMkLst>
            <pc:docMk/>
            <pc:sldMk cId="2294660800" sldId="323"/>
            <ac:spMk id="21" creationId="{4D0232E1-28C3-5B0E-3699-7537D1AD71CF}"/>
          </ac:spMkLst>
        </pc:spChg>
        <pc:graphicFrameChg chg="add mod">
          <ac:chgData name="Tobias Völkel" userId="9c02bf22-18bb-468a-b263-c51c2dc523eb" providerId="ADAL" clId="{BE69AB25-F628-3E42-9366-704B6B9C1D66}" dt="2023-01-15T18:04:48.628" v="269" actId="20577"/>
          <ac:graphicFrameMkLst>
            <pc:docMk/>
            <pc:sldMk cId="2294660800" sldId="323"/>
            <ac:graphicFrameMk id="14" creationId="{BF2AB114-9326-561E-290E-9A98FFC53AD2}"/>
          </ac:graphicFrameMkLst>
        </pc:graphicFrameChg>
        <pc:picChg chg="add del mod">
          <ac:chgData name="Tobias Völkel" userId="9c02bf22-18bb-468a-b263-c51c2dc523eb" providerId="ADAL" clId="{BE69AB25-F628-3E42-9366-704B6B9C1D66}" dt="2023-01-15T17:58:14.269" v="185" actId="478"/>
          <ac:picMkLst>
            <pc:docMk/>
            <pc:sldMk cId="2294660800" sldId="323"/>
            <ac:picMk id="10" creationId="{1D9B9498-4C2E-EAA5-E427-77F4AC52D6F0}"/>
          </ac:picMkLst>
        </pc:picChg>
        <pc:picChg chg="add del mod">
          <ac:chgData name="Tobias Völkel" userId="9c02bf22-18bb-468a-b263-c51c2dc523eb" providerId="ADAL" clId="{BE69AB25-F628-3E42-9366-704B6B9C1D66}" dt="2023-01-15T17:59:06.525" v="189" actId="478"/>
          <ac:picMkLst>
            <pc:docMk/>
            <pc:sldMk cId="2294660800" sldId="323"/>
            <ac:picMk id="15" creationId="{FEDF8EEF-F4C5-05CE-D26C-8FAB06DD377D}"/>
          </ac:picMkLst>
        </pc:picChg>
        <pc:picChg chg="add del mod">
          <ac:chgData name="Tobias Völkel" userId="9c02bf22-18bb-468a-b263-c51c2dc523eb" providerId="ADAL" clId="{BE69AB25-F628-3E42-9366-704B6B9C1D66}" dt="2023-01-15T17:59:39.821" v="194" actId="478"/>
          <ac:picMkLst>
            <pc:docMk/>
            <pc:sldMk cId="2294660800" sldId="323"/>
            <ac:picMk id="19" creationId="{CC789A9C-C79A-CAA4-170A-6E07479C0668}"/>
          </ac:picMkLst>
        </pc:picChg>
        <pc:picChg chg="add del mod">
          <ac:chgData name="Tobias Völkel" userId="9c02bf22-18bb-468a-b263-c51c2dc523eb" providerId="ADAL" clId="{BE69AB25-F628-3E42-9366-704B6B9C1D66}" dt="2023-01-15T18:00:02.343" v="202" actId="478"/>
          <ac:picMkLst>
            <pc:docMk/>
            <pc:sldMk cId="2294660800" sldId="323"/>
            <ac:picMk id="23" creationId="{1E2CD562-3049-24A2-BE95-AC9407065917}"/>
          </ac:picMkLst>
        </pc:picChg>
        <pc:picChg chg="add del mod">
          <ac:chgData name="Tobias Völkel" userId="9c02bf22-18bb-468a-b263-c51c2dc523eb" providerId="ADAL" clId="{BE69AB25-F628-3E42-9366-704B6B9C1D66}" dt="2023-01-15T18:01:06.101" v="206" actId="478"/>
          <ac:picMkLst>
            <pc:docMk/>
            <pc:sldMk cId="2294660800" sldId="323"/>
            <ac:picMk id="25" creationId="{1CAB6F83-2F76-5801-FC9C-52753AAB193E}"/>
          </ac:picMkLst>
        </pc:picChg>
        <pc:picChg chg="add del mod">
          <ac:chgData name="Tobias Völkel" userId="9c02bf22-18bb-468a-b263-c51c2dc523eb" providerId="ADAL" clId="{BE69AB25-F628-3E42-9366-704B6B9C1D66}" dt="2023-01-15T18:01:37.933" v="210" actId="478"/>
          <ac:picMkLst>
            <pc:docMk/>
            <pc:sldMk cId="2294660800" sldId="323"/>
            <ac:picMk id="27" creationId="{EF5137C6-8000-44A9-0510-3DBBAEFB81CE}"/>
          </ac:picMkLst>
        </pc:picChg>
        <pc:picChg chg="add del mod">
          <ac:chgData name="Tobias Völkel" userId="9c02bf22-18bb-468a-b263-c51c2dc523eb" providerId="ADAL" clId="{BE69AB25-F628-3E42-9366-704B6B9C1D66}" dt="2023-01-15T18:02:01.685" v="214" actId="478"/>
          <ac:picMkLst>
            <pc:docMk/>
            <pc:sldMk cId="2294660800" sldId="323"/>
            <ac:picMk id="29" creationId="{D51C1DB6-C98E-C9D0-4AA5-DFB266597B0D}"/>
          </ac:picMkLst>
        </pc:picChg>
        <pc:picChg chg="add del mod">
          <ac:chgData name="Tobias Völkel" userId="9c02bf22-18bb-468a-b263-c51c2dc523eb" providerId="ADAL" clId="{BE69AB25-F628-3E42-9366-704B6B9C1D66}" dt="2023-01-15T18:02:50.016" v="246" actId="478"/>
          <ac:picMkLst>
            <pc:docMk/>
            <pc:sldMk cId="2294660800" sldId="323"/>
            <ac:picMk id="31" creationId="{876F7973-C974-78F0-AEC6-69EDA2B29556}"/>
          </ac:picMkLst>
        </pc:picChg>
      </pc:sldChg>
    </pc:docChg>
  </pc:docChgLst>
  <pc:docChgLst>
    <pc:chgData name="Völkel, Tobias" userId="S::ru22boda@fauad.fau.de::9c02bf22-18bb-468a-b263-c51c2dc523eb" providerId="AD" clId="Web-{4B5669EF-CB47-49EC-BC41-4521711B497A}"/>
    <pc:docChg chg="addSld delSld modSld sldOrd addMainMaster">
      <pc:chgData name="Völkel, Tobias" userId="S::ru22boda@fauad.fau.de::9c02bf22-18bb-468a-b263-c51c2dc523eb" providerId="AD" clId="Web-{4B5669EF-CB47-49EC-BC41-4521711B497A}" dt="2023-03-12T11:35:44.410" v="160"/>
      <pc:docMkLst>
        <pc:docMk/>
      </pc:docMkLst>
      <pc:sldChg chg="ord">
        <pc:chgData name="Völkel, Tobias" userId="S::ru22boda@fauad.fau.de::9c02bf22-18bb-468a-b263-c51c2dc523eb" providerId="AD" clId="Web-{4B5669EF-CB47-49EC-BC41-4521711B497A}" dt="2023-03-12T11:15:46.240" v="2"/>
        <pc:sldMkLst>
          <pc:docMk/>
          <pc:sldMk cId="3319547006" sldId="440"/>
        </pc:sldMkLst>
      </pc:sldChg>
      <pc:sldChg chg="addSp delSp modSp new">
        <pc:chgData name="Völkel, Tobias" userId="S::ru22boda@fauad.fau.de::9c02bf22-18bb-468a-b263-c51c2dc523eb" providerId="AD" clId="Web-{4B5669EF-CB47-49EC-BC41-4521711B497A}" dt="2023-03-12T11:16:23.866" v="11"/>
        <pc:sldMkLst>
          <pc:docMk/>
          <pc:sldMk cId="3039751810" sldId="460"/>
        </pc:sldMkLst>
        <pc:picChg chg="add del mod">
          <ac:chgData name="Völkel, Tobias" userId="S::ru22boda@fauad.fau.de::9c02bf22-18bb-468a-b263-c51c2dc523eb" providerId="AD" clId="Web-{4B5669EF-CB47-49EC-BC41-4521711B497A}" dt="2023-03-12T11:16:10.834" v="8"/>
          <ac:picMkLst>
            <pc:docMk/>
            <pc:sldMk cId="3039751810" sldId="460"/>
            <ac:picMk id="5" creationId="{BAC55030-69EF-7428-EB76-D26D19BBA7A8}"/>
          </ac:picMkLst>
        </pc:picChg>
        <pc:picChg chg="add del mod">
          <ac:chgData name="Völkel, Tobias" userId="S::ru22boda@fauad.fau.de::9c02bf22-18bb-468a-b263-c51c2dc523eb" providerId="AD" clId="Web-{4B5669EF-CB47-49EC-BC41-4521711B497A}" dt="2023-03-12T11:16:23.866" v="11"/>
          <ac:picMkLst>
            <pc:docMk/>
            <pc:sldMk cId="3039751810" sldId="460"/>
            <ac:picMk id="6" creationId="{55398F3C-D5B9-2C36-B075-B186B5F66541}"/>
          </ac:picMkLst>
        </pc:picChg>
      </pc:sldChg>
      <pc:sldChg chg="addSp delSp modSp add">
        <pc:chgData name="Völkel, Tobias" userId="S::ru22boda@fauad.fau.de::9c02bf22-18bb-468a-b263-c51c2dc523eb" providerId="AD" clId="Web-{4B5669EF-CB47-49EC-BC41-4521711B497A}" dt="2023-03-12T11:35:44.410" v="160"/>
        <pc:sldMkLst>
          <pc:docMk/>
          <pc:sldMk cId="1935823479" sldId="461"/>
        </pc:sldMkLst>
        <pc:spChg chg="mod">
          <ac:chgData name="Völkel, Tobias" userId="S::ru22boda@fauad.fau.de::9c02bf22-18bb-468a-b263-c51c2dc523eb" providerId="AD" clId="Web-{4B5669EF-CB47-49EC-BC41-4521711B497A}" dt="2023-03-12T11:17:34.461" v="20" actId="20577"/>
          <ac:spMkLst>
            <pc:docMk/>
            <pc:sldMk cId="1935823479" sldId="461"/>
            <ac:spMk id="2" creationId="{B4EAAE7E-8825-1C20-CF47-B7D63ADF20C8}"/>
          </ac:spMkLst>
        </pc:spChg>
        <pc:spChg chg="add del">
          <ac:chgData name="Völkel, Tobias" userId="S::ru22boda@fauad.fau.de::9c02bf22-18bb-468a-b263-c51c2dc523eb" providerId="AD" clId="Web-{4B5669EF-CB47-49EC-BC41-4521711B497A}" dt="2023-03-12T11:18:20.884" v="30"/>
          <ac:spMkLst>
            <pc:docMk/>
            <pc:sldMk cId="1935823479" sldId="461"/>
            <ac:spMk id="3" creationId="{A6DB4E7E-9222-521D-C4C5-1EA9850F5280}"/>
          </ac:spMkLst>
        </pc:spChg>
        <pc:spChg chg="del mod">
          <ac:chgData name="Völkel, Tobias" userId="S::ru22boda@fauad.fau.de::9c02bf22-18bb-468a-b263-c51c2dc523eb" providerId="AD" clId="Web-{4B5669EF-CB47-49EC-BC41-4521711B497A}" dt="2023-03-12T11:23:03.363" v="39"/>
          <ac:spMkLst>
            <pc:docMk/>
            <pc:sldMk cId="1935823479" sldId="461"/>
            <ac:spMk id="4" creationId="{C1823C05-607E-B711-D4A9-26DC6D5649FE}"/>
          </ac:spMkLst>
        </pc:spChg>
        <pc:spChg chg="del">
          <ac:chgData name="Völkel, Tobias" userId="S::ru22boda@fauad.fau.de::9c02bf22-18bb-468a-b263-c51c2dc523eb" providerId="AD" clId="Web-{4B5669EF-CB47-49EC-BC41-4521711B497A}" dt="2023-03-12T11:27:02.415" v="94"/>
          <ac:spMkLst>
            <pc:docMk/>
            <pc:sldMk cId="1935823479" sldId="461"/>
            <ac:spMk id="5" creationId="{5EB4B674-4FDF-E056-BDFB-56764567FF38}"/>
          </ac:spMkLst>
        </pc:spChg>
        <pc:spChg chg="mod">
          <ac:chgData name="Völkel, Tobias" userId="S::ru22boda@fauad.fau.de::9c02bf22-18bb-468a-b263-c51c2dc523eb" providerId="AD" clId="Web-{4B5669EF-CB47-49EC-BC41-4521711B497A}" dt="2023-03-12T11:23:30.941" v="45" actId="1076"/>
          <ac:spMkLst>
            <pc:docMk/>
            <pc:sldMk cId="1935823479" sldId="461"/>
            <ac:spMk id="6" creationId="{D8CF220D-4D7C-1261-5A8E-533D4566EE2E}"/>
          </ac:spMkLst>
        </pc:spChg>
        <pc:spChg chg="mod">
          <ac:chgData name="Völkel, Tobias" userId="S::ru22boda@fauad.fau.de::9c02bf22-18bb-468a-b263-c51c2dc523eb" providerId="AD" clId="Web-{4B5669EF-CB47-49EC-BC41-4521711B497A}" dt="2023-03-12T11:23:57.020" v="51" actId="1076"/>
          <ac:spMkLst>
            <pc:docMk/>
            <pc:sldMk cId="1935823479" sldId="461"/>
            <ac:spMk id="7" creationId="{377FD9EF-52ED-9BA1-2193-21FC03A2A87C}"/>
          </ac:spMkLst>
        </pc:spChg>
        <pc:spChg chg="mod">
          <ac:chgData name="Völkel, Tobias" userId="S::ru22boda@fauad.fau.de::9c02bf22-18bb-468a-b263-c51c2dc523eb" providerId="AD" clId="Web-{4B5669EF-CB47-49EC-BC41-4521711B497A}" dt="2023-03-12T11:23:48.364" v="49" actId="1076"/>
          <ac:spMkLst>
            <pc:docMk/>
            <pc:sldMk cId="1935823479" sldId="461"/>
            <ac:spMk id="8" creationId="{9DF27481-03DD-D88B-D221-CA9A8BD55E7D}"/>
          </ac:spMkLst>
        </pc:spChg>
        <pc:spChg chg="mod">
          <ac:chgData name="Völkel, Tobias" userId="S::ru22boda@fauad.fau.de::9c02bf22-18bb-468a-b263-c51c2dc523eb" providerId="AD" clId="Web-{4B5669EF-CB47-49EC-BC41-4521711B497A}" dt="2023-03-12T11:24:43.443" v="62" actId="1076"/>
          <ac:spMkLst>
            <pc:docMk/>
            <pc:sldMk cId="1935823479" sldId="461"/>
            <ac:spMk id="9" creationId="{E20AA695-7706-0067-1672-3305255F0C50}"/>
          </ac:spMkLst>
        </pc:spChg>
        <pc:spChg chg="mod">
          <ac:chgData name="Völkel, Tobias" userId="S::ru22boda@fauad.fau.de::9c02bf22-18bb-468a-b263-c51c2dc523eb" providerId="AD" clId="Web-{4B5669EF-CB47-49EC-BC41-4521711B497A}" dt="2023-03-12T11:24:14.458" v="55" actId="1076"/>
          <ac:spMkLst>
            <pc:docMk/>
            <pc:sldMk cId="1935823479" sldId="461"/>
            <ac:spMk id="10" creationId="{F4BB34C1-4621-72B9-420C-60378EB82964}"/>
          </ac:spMkLst>
        </pc:spChg>
        <pc:spChg chg="mod">
          <ac:chgData name="Völkel, Tobias" userId="S::ru22boda@fauad.fau.de::9c02bf22-18bb-468a-b263-c51c2dc523eb" providerId="AD" clId="Web-{4B5669EF-CB47-49EC-BC41-4521711B497A}" dt="2023-03-12T11:24:17.177" v="56" actId="1076"/>
          <ac:spMkLst>
            <pc:docMk/>
            <pc:sldMk cId="1935823479" sldId="461"/>
            <ac:spMk id="11" creationId="{0EC5A77C-6968-3140-5531-246EEC7D31FE}"/>
          </ac:spMkLst>
        </pc:spChg>
        <pc:spChg chg="mod">
          <ac:chgData name="Völkel, Tobias" userId="S::ru22boda@fauad.fau.de::9c02bf22-18bb-468a-b263-c51c2dc523eb" providerId="AD" clId="Web-{4B5669EF-CB47-49EC-BC41-4521711B497A}" dt="2023-03-12T11:24:06.864" v="53" actId="1076"/>
          <ac:spMkLst>
            <pc:docMk/>
            <pc:sldMk cId="1935823479" sldId="461"/>
            <ac:spMk id="12" creationId="{E77991CF-1CF2-2A7E-9E6D-2B67698BA382}"/>
          </ac:spMkLst>
        </pc:spChg>
        <pc:spChg chg="mod">
          <ac:chgData name="Völkel, Tobias" userId="S::ru22boda@fauad.fau.de::9c02bf22-18bb-468a-b263-c51c2dc523eb" providerId="AD" clId="Web-{4B5669EF-CB47-49EC-BC41-4521711B497A}" dt="2023-03-12T11:24:52.740" v="64" actId="20577"/>
          <ac:spMkLst>
            <pc:docMk/>
            <pc:sldMk cId="1935823479" sldId="461"/>
            <ac:spMk id="13" creationId="{14F350ED-E11A-7F3E-D6D1-7AC8ABBAB3DC}"/>
          </ac:spMkLst>
        </pc:spChg>
        <pc:spChg chg="add del mod ord">
          <ac:chgData name="Völkel, Tobias" userId="S::ru22boda@fauad.fau.de::9c02bf22-18bb-468a-b263-c51c2dc523eb" providerId="AD" clId="Web-{4B5669EF-CB47-49EC-BC41-4521711B497A}" dt="2023-03-12T11:23:23.175" v="43"/>
          <ac:spMkLst>
            <pc:docMk/>
            <pc:sldMk cId="1935823479" sldId="461"/>
            <ac:spMk id="14" creationId="{1A03B5A3-1207-6165-D607-44F2EE293BEA}"/>
          </ac:spMkLst>
        </pc:spChg>
        <pc:spChg chg="add del mod">
          <ac:chgData name="Völkel, Tobias" userId="S::ru22boda@fauad.fau.de::9c02bf22-18bb-468a-b263-c51c2dc523eb" providerId="AD" clId="Web-{4B5669EF-CB47-49EC-BC41-4521711B497A}" dt="2023-03-12T11:20:42.922" v="34"/>
          <ac:spMkLst>
            <pc:docMk/>
            <pc:sldMk cId="1935823479" sldId="461"/>
            <ac:spMk id="15" creationId="{9075B47C-C9CA-0D47-E643-15639B8EEA69}"/>
          </ac:spMkLst>
        </pc:spChg>
        <pc:spChg chg="add mod ord">
          <ac:chgData name="Völkel, Tobias" userId="S::ru22boda@fauad.fau.de::9c02bf22-18bb-468a-b263-c51c2dc523eb" providerId="AD" clId="Web-{4B5669EF-CB47-49EC-BC41-4521711B497A}" dt="2023-03-12T11:24:44.333" v="63"/>
          <ac:spMkLst>
            <pc:docMk/>
            <pc:sldMk cId="1935823479" sldId="461"/>
            <ac:spMk id="15" creationId="{C6D351DB-5CEB-943E-A3C9-52A637C07A33}"/>
          </ac:spMkLst>
        </pc:spChg>
        <pc:spChg chg="add mod">
          <ac:chgData name="Völkel, Tobias" userId="S::ru22boda@fauad.fau.de::9c02bf22-18bb-468a-b263-c51c2dc523eb" providerId="AD" clId="Web-{4B5669EF-CB47-49EC-BC41-4521711B497A}" dt="2023-03-12T11:25:33.678" v="93" actId="1076"/>
          <ac:spMkLst>
            <pc:docMk/>
            <pc:sldMk cId="1935823479" sldId="461"/>
            <ac:spMk id="17" creationId="{321B00DA-0C54-1DFD-FF85-36DC175FF2E1}"/>
          </ac:spMkLst>
        </pc:spChg>
        <pc:spChg chg="add del mod">
          <ac:chgData name="Völkel, Tobias" userId="S::ru22boda@fauad.fau.de::9c02bf22-18bb-468a-b263-c51c2dc523eb" providerId="AD" clId="Web-{4B5669EF-CB47-49EC-BC41-4521711B497A}" dt="2023-03-12T11:29:43.262" v="98"/>
          <ac:spMkLst>
            <pc:docMk/>
            <pc:sldMk cId="1935823479" sldId="461"/>
            <ac:spMk id="18" creationId="{92C4A0B7-DF9F-D4A6-B7DD-00C9FA40C949}"/>
          </ac:spMkLst>
        </pc:spChg>
        <pc:spChg chg="add">
          <ac:chgData name="Völkel, Tobias" userId="S::ru22boda@fauad.fau.de::9c02bf22-18bb-468a-b263-c51c2dc523eb" providerId="AD" clId="Web-{4B5669EF-CB47-49EC-BC41-4521711B497A}" dt="2023-03-12T11:29:47.700" v="99"/>
          <ac:spMkLst>
            <pc:docMk/>
            <pc:sldMk cId="1935823479" sldId="461"/>
            <ac:spMk id="20" creationId="{090B08D9-39AA-BDDC-9807-DD7FF5928F93}"/>
          </ac:spMkLst>
        </pc:spChg>
        <pc:spChg chg="add mod">
          <ac:chgData name="Völkel, Tobias" userId="S::ru22boda@fauad.fau.de::9c02bf22-18bb-468a-b263-c51c2dc523eb" providerId="AD" clId="Web-{4B5669EF-CB47-49EC-BC41-4521711B497A}" dt="2023-03-12T11:30:13.919" v="115" actId="20577"/>
          <ac:spMkLst>
            <pc:docMk/>
            <pc:sldMk cId="1935823479" sldId="461"/>
            <ac:spMk id="21" creationId="{8DB80EA5-9653-305E-BC65-CB041F34AB12}"/>
          </ac:spMkLst>
        </pc:spChg>
        <pc:spChg chg="add mod">
          <ac:chgData name="Völkel, Tobias" userId="S::ru22boda@fauad.fau.de::9c02bf22-18bb-468a-b263-c51c2dc523eb" providerId="AD" clId="Web-{4B5669EF-CB47-49EC-BC41-4521711B497A}" dt="2023-03-12T11:35:21.582" v="154" actId="20577"/>
          <ac:spMkLst>
            <pc:docMk/>
            <pc:sldMk cId="1935823479" sldId="461"/>
            <ac:spMk id="22" creationId="{A766D317-FA3A-2906-C098-6CE25A4ED5B7}"/>
          </ac:spMkLst>
        </pc:spChg>
        <pc:spChg chg="add mod">
          <ac:chgData name="Völkel, Tobias" userId="S::ru22boda@fauad.fau.de::9c02bf22-18bb-468a-b263-c51c2dc523eb" providerId="AD" clId="Web-{4B5669EF-CB47-49EC-BC41-4521711B497A}" dt="2023-03-12T11:35:32.894" v="159" actId="1076"/>
          <ac:spMkLst>
            <pc:docMk/>
            <pc:sldMk cId="1935823479" sldId="461"/>
            <ac:spMk id="23" creationId="{E2E54F89-0027-0F5F-A785-EB24F45D2E4F}"/>
          </ac:spMkLst>
        </pc:spChg>
        <pc:spChg chg="add">
          <ac:chgData name="Völkel, Tobias" userId="S::ru22boda@fauad.fau.de::9c02bf22-18bb-468a-b263-c51c2dc523eb" providerId="AD" clId="Web-{4B5669EF-CB47-49EC-BC41-4521711B497A}" dt="2023-03-12T11:35:44.410" v="160"/>
          <ac:spMkLst>
            <pc:docMk/>
            <pc:sldMk cId="1935823479" sldId="461"/>
            <ac:spMk id="24" creationId="{DA4BF8B9-D544-85FE-2306-F85ADDDAE7A9}"/>
          </ac:spMkLst>
        </pc:spChg>
      </pc:sldChg>
      <pc:sldChg chg="add del">
        <pc:chgData name="Völkel, Tobias" userId="S::ru22boda@fauad.fau.de::9c02bf22-18bb-468a-b263-c51c2dc523eb" providerId="AD" clId="Web-{4B5669EF-CB47-49EC-BC41-4521711B497A}" dt="2023-03-12T11:16:46.194" v="13"/>
        <pc:sldMkLst>
          <pc:docMk/>
          <pc:sldMk cId="2485218554" sldId="461"/>
        </pc:sldMkLst>
      </pc:sldChg>
      <pc:sldChg chg="add del">
        <pc:chgData name="Völkel, Tobias" userId="S::ru22boda@fauad.fau.de::9c02bf22-18bb-468a-b263-c51c2dc523eb" providerId="AD" clId="Web-{4B5669EF-CB47-49EC-BC41-4521711B497A}" dt="2023-03-12T11:16:56.413" v="15"/>
        <pc:sldMkLst>
          <pc:docMk/>
          <pc:sldMk cId="3967071761" sldId="461"/>
        </pc:sldMkLst>
      </pc:sldChg>
      <pc:sldMasterChg chg="add addSldLayout">
        <pc:chgData name="Völkel, Tobias" userId="S::ru22boda@fauad.fau.de::9c02bf22-18bb-468a-b263-c51c2dc523eb" providerId="AD" clId="Web-{4B5669EF-CB47-49EC-BC41-4521711B497A}" dt="2023-03-12T11:16:41.163" v="12"/>
        <pc:sldMasterMkLst>
          <pc:docMk/>
          <pc:sldMasterMk cId="3064486021" sldId="2147483648"/>
        </pc:sldMasterMkLst>
        <pc:sldLayoutChg chg="add">
          <pc:chgData name="Völkel, Tobias" userId="S::ru22boda@fauad.fau.de::9c02bf22-18bb-468a-b263-c51c2dc523eb" providerId="AD" clId="Web-{4B5669EF-CB47-49EC-BC41-4521711B497A}" dt="2023-03-12T11:16:41.163" v="12"/>
          <pc:sldLayoutMkLst>
            <pc:docMk/>
            <pc:sldMasterMk cId="3064486021" sldId="2147483648"/>
            <pc:sldLayoutMk cId="3913447195" sldId="2147483649"/>
          </pc:sldLayoutMkLst>
        </pc:sldLayoutChg>
        <pc:sldLayoutChg chg="add">
          <pc:chgData name="Völkel, Tobias" userId="S::ru22boda@fauad.fau.de::9c02bf22-18bb-468a-b263-c51c2dc523eb" providerId="AD" clId="Web-{4B5669EF-CB47-49EC-BC41-4521711B497A}" dt="2023-03-12T11:16:41.163" v="12"/>
          <pc:sldLayoutMkLst>
            <pc:docMk/>
            <pc:sldMasterMk cId="3064486021" sldId="2147483648"/>
            <pc:sldLayoutMk cId="4194010606" sldId="2147483650"/>
          </pc:sldLayoutMkLst>
        </pc:sldLayoutChg>
        <pc:sldLayoutChg chg="add">
          <pc:chgData name="Völkel, Tobias" userId="S::ru22boda@fauad.fau.de::9c02bf22-18bb-468a-b263-c51c2dc523eb" providerId="AD" clId="Web-{4B5669EF-CB47-49EC-BC41-4521711B497A}" dt="2023-03-12T11:16:41.163" v="12"/>
          <pc:sldLayoutMkLst>
            <pc:docMk/>
            <pc:sldMasterMk cId="3064486021" sldId="2147483648"/>
            <pc:sldLayoutMk cId="4267182102" sldId="2147483651"/>
          </pc:sldLayoutMkLst>
        </pc:sldLayoutChg>
        <pc:sldLayoutChg chg="add">
          <pc:chgData name="Völkel, Tobias" userId="S::ru22boda@fauad.fau.de::9c02bf22-18bb-468a-b263-c51c2dc523eb" providerId="AD" clId="Web-{4B5669EF-CB47-49EC-BC41-4521711B497A}" dt="2023-03-12T11:16:41.163" v="12"/>
          <pc:sldLayoutMkLst>
            <pc:docMk/>
            <pc:sldMasterMk cId="3064486021" sldId="2147483648"/>
            <pc:sldLayoutMk cId="3033080970" sldId="2147483652"/>
          </pc:sldLayoutMkLst>
        </pc:sldLayoutChg>
        <pc:sldLayoutChg chg="add">
          <pc:chgData name="Völkel, Tobias" userId="S::ru22boda@fauad.fau.de::9c02bf22-18bb-468a-b263-c51c2dc523eb" providerId="AD" clId="Web-{4B5669EF-CB47-49EC-BC41-4521711B497A}" dt="2023-03-12T11:16:41.163" v="12"/>
          <pc:sldLayoutMkLst>
            <pc:docMk/>
            <pc:sldMasterMk cId="3064486021" sldId="2147483648"/>
            <pc:sldLayoutMk cId="3508393294" sldId="2147483653"/>
          </pc:sldLayoutMkLst>
        </pc:sldLayoutChg>
        <pc:sldLayoutChg chg="add">
          <pc:chgData name="Völkel, Tobias" userId="S::ru22boda@fauad.fau.de::9c02bf22-18bb-468a-b263-c51c2dc523eb" providerId="AD" clId="Web-{4B5669EF-CB47-49EC-BC41-4521711B497A}" dt="2023-03-12T11:16:41.163" v="12"/>
          <pc:sldLayoutMkLst>
            <pc:docMk/>
            <pc:sldMasterMk cId="3064486021" sldId="2147483648"/>
            <pc:sldLayoutMk cId="3149628092" sldId="2147483654"/>
          </pc:sldLayoutMkLst>
        </pc:sldLayoutChg>
        <pc:sldLayoutChg chg="add">
          <pc:chgData name="Völkel, Tobias" userId="S::ru22boda@fauad.fau.de::9c02bf22-18bb-468a-b263-c51c2dc523eb" providerId="AD" clId="Web-{4B5669EF-CB47-49EC-BC41-4521711B497A}" dt="2023-03-12T11:16:41.163" v="12"/>
          <pc:sldLayoutMkLst>
            <pc:docMk/>
            <pc:sldMasterMk cId="3064486021" sldId="2147483648"/>
            <pc:sldLayoutMk cId="4229741412" sldId="2147483655"/>
          </pc:sldLayoutMkLst>
        </pc:sldLayoutChg>
        <pc:sldLayoutChg chg="add">
          <pc:chgData name="Völkel, Tobias" userId="S::ru22boda@fauad.fau.de::9c02bf22-18bb-468a-b263-c51c2dc523eb" providerId="AD" clId="Web-{4B5669EF-CB47-49EC-BC41-4521711B497A}" dt="2023-03-12T11:16:41.163" v="12"/>
          <pc:sldLayoutMkLst>
            <pc:docMk/>
            <pc:sldMasterMk cId="3064486021" sldId="2147483648"/>
            <pc:sldLayoutMk cId="3110134367" sldId="2147483656"/>
          </pc:sldLayoutMkLst>
        </pc:sldLayoutChg>
        <pc:sldLayoutChg chg="add">
          <pc:chgData name="Völkel, Tobias" userId="S::ru22boda@fauad.fau.de::9c02bf22-18bb-468a-b263-c51c2dc523eb" providerId="AD" clId="Web-{4B5669EF-CB47-49EC-BC41-4521711B497A}" dt="2023-03-12T11:16:41.163" v="12"/>
          <pc:sldLayoutMkLst>
            <pc:docMk/>
            <pc:sldMasterMk cId="3064486021" sldId="2147483648"/>
            <pc:sldLayoutMk cId="2299126901" sldId="2147483657"/>
          </pc:sldLayoutMkLst>
        </pc:sldLayoutChg>
        <pc:sldLayoutChg chg="add">
          <pc:chgData name="Völkel, Tobias" userId="S::ru22boda@fauad.fau.de::9c02bf22-18bb-468a-b263-c51c2dc523eb" providerId="AD" clId="Web-{4B5669EF-CB47-49EC-BC41-4521711B497A}" dt="2023-03-12T11:16:41.163" v="12"/>
          <pc:sldLayoutMkLst>
            <pc:docMk/>
            <pc:sldMasterMk cId="3064486021" sldId="2147483648"/>
            <pc:sldLayoutMk cId="1761014575" sldId="2147483658"/>
          </pc:sldLayoutMkLst>
        </pc:sldLayoutChg>
        <pc:sldLayoutChg chg="add">
          <pc:chgData name="Völkel, Tobias" userId="S::ru22boda@fauad.fau.de::9c02bf22-18bb-468a-b263-c51c2dc523eb" providerId="AD" clId="Web-{4B5669EF-CB47-49EC-BC41-4521711B497A}" dt="2023-03-12T11:16:41.163" v="12"/>
          <pc:sldLayoutMkLst>
            <pc:docMk/>
            <pc:sldMasterMk cId="3064486021" sldId="2147483648"/>
            <pc:sldLayoutMk cId="2409701839" sldId="2147483659"/>
          </pc:sldLayoutMkLst>
        </pc:sldLayoutChg>
      </pc:sldMasterChg>
      <pc:sldMasterChg chg="addSldLayout">
        <pc:chgData name="Völkel, Tobias" userId="S::ru22boda@fauad.fau.de::9c02bf22-18bb-468a-b263-c51c2dc523eb" providerId="AD" clId="Web-{4B5669EF-CB47-49EC-BC41-4521711B497A}" dt="2023-03-12T11:17:09.242" v="16"/>
        <pc:sldMasterMkLst>
          <pc:docMk/>
          <pc:sldMasterMk cId="159005196" sldId="2147483693"/>
        </pc:sldMasterMkLst>
        <pc:sldLayoutChg chg="add replId">
          <pc:chgData name="Völkel, Tobias" userId="S::ru22boda@fauad.fau.de::9c02bf22-18bb-468a-b263-c51c2dc523eb" providerId="AD" clId="Web-{4B5669EF-CB47-49EC-BC41-4521711B497A}" dt="2023-03-12T11:17:09.242" v="16"/>
          <pc:sldLayoutMkLst>
            <pc:docMk/>
            <pc:sldMasterMk cId="159005196" sldId="2147483693"/>
            <pc:sldLayoutMk cId="1670996305" sldId="2147483730"/>
          </pc:sldLayoutMkLst>
        </pc:sldLayoutChg>
      </pc:sldMasterChg>
    </pc:docChg>
  </pc:docChgLst>
  <pc:docChgLst>
    <pc:chgData name="Völkel, Tobias" userId="S::ru22boda@fauad.fau.de::9c02bf22-18bb-468a-b263-c51c2dc523eb" providerId="AD" clId="Web-{CA0D1811-428C-4D1A-A09C-18C4470312A6}"/>
    <pc:docChg chg="addSld modSld modSection">
      <pc:chgData name="Völkel, Tobias" userId="S::ru22boda@fauad.fau.de::9c02bf22-18bb-468a-b263-c51c2dc523eb" providerId="AD" clId="Web-{CA0D1811-428C-4D1A-A09C-18C4470312A6}" dt="2023-03-12T19:18:29.287" v="215" actId="1076"/>
      <pc:docMkLst>
        <pc:docMk/>
      </pc:docMkLst>
      <pc:sldChg chg="addSp modSp">
        <pc:chgData name="Völkel, Tobias" userId="S::ru22boda@fauad.fau.de::9c02bf22-18bb-468a-b263-c51c2dc523eb" providerId="AD" clId="Web-{CA0D1811-428C-4D1A-A09C-18C4470312A6}" dt="2023-03-12T19:18:29.287" v="215" actId="1076"/>
        <pc:sldMkLst>
          <pc:docMk/>
          <pc:sldMk cId="2255513899" sldId="462"/>
        </pc:sldMkLst>
        <pc:spChg chg="add mod">
          <ac:chgData name="Völkel, Tobias" userId="S::ru22boda@fauad.fau.de::9c02bf22-18bb-468a-b263-c51c2dc523eb" providerId="AD" clId="Web-{CA0D1811-428C-4D1A-A09C-18C4470312A6}" dt="2023-03-12T19:09:56.135" v="131" actId="1076"/>
          <ac:spMkLst>
            <pc:docMk/>
            <pc:sldMk cId="2255513899" sldId="462"/>
            <ac:spMk id="3" creationId="{EE180FFC-22C3-39C5-158A-D8C59240CDF0}"/>
          </ac:spMkLst>
        </pc:spChg>
        <pc:spChg chg="add mod">
          <ac:chgData name="Völkel, Tobias" userId="S::ru22boda@fauad.fau.de::9c02bf22-18bb-468a-b263-c51c2dc523eb" providerId="AD" clId="Web-{CA0D1811-428C-4D1A-A09C-18C4470312A6}" dt="2023-03-12T19:10:03.807" v="134" actId="1076"/>
          <ac:spMkLst>
            <pc:docMk/>
            <pc:sldMk cId="2255513899" sldId="462"/>
            <ac:spMk id="5" creationId="{7B967B7F-EA3A-10A9-0AAF-AAEAD6E5E112}"/>
          </ac:spMkLst>
        </pc:spChg>
        <pc:spChg chg="add mod">
          <ac:chgData name="Völkel, Tobias" userId="S::ru22boda@fauad.fau.de::9c02bf22-18bb-468a-b263-c51c2dc523eb" providerId="AD" clId="Web-{CA0D1811-428C-4D1A-A09C-18C4470312A6}" dt="2023-03-12T19:10:01.854" v="133" actId="1076"/>
          <ac:spMkLst>
            <pc:docMk/>
            <pc:sldMk cId="2255513899" sldId="462"/>
            <ac:spMk id="8" creationId="{4321C14A-EB5A-8F13-B2E7-A9C88BB56F89}"/>
          </ac:spMkLst>
        </pc:spChg>
        <pc:spChg chg="add mod">
          <ac:chgData name="Völkel, Tobias" userId="S::ru22boda@fauad.fau.de::9c02bf22-18bb-468a-b263-c51c2dc523eb" providerId="AD" clId="Web-{CA0D1811-428C-4D1A-A09C-18C4470312A6}" dt="2023-03-12T19:17:29.942" v="191" actId="20577"/>
          <ac:spMkLst>
            <pc:docMk/>
            <pc:sldMk cId="2255513899" sldId="462"/>
            <ac:spMk id="10" creationId="{C23D945F-A9FC-B5C3-8177-C98B9DF15A13}"/>
          </ac:spMkLst>
        </pc:spChg>
        <pc:spChg chg="add mod">
          <ac:chgData name="Völkel, Tobias" userId="S::ru22boda@fauad.fau.de::9c02bf22-18bb-468a-b263-c51c2dc523eb" providerId="AD" clId="Web-{CA0D1811-428C-4D1A-A09C-18C4470312A6}" dt="2023-03-12T19:17:54.692" v="207" actId="1076"/>
          <ac:spMkLst>
            <pc:docMk/>
            <pc:sldMk cId="2255513899" sldId="462"/>
            <ac:spMk id="14" creationId="{8E26F25B-7A53-DB6E-64C7-23C5619740E2}"/>
          </ac:spMkLst>
        </pc:spChg>
        <pc:spChg chg="add mod">
          <ac:chgData name="Völkel, Tobias" userId="S::ru22boda@fauad.fau.de::9c02bf22-18bb-468a-b263-c51c2dc523eb" providerId="AD" clId="Web-{CA0D1811-428C-4D1A-A09C-18C4470312A6}" dt="2023-03-12T19:18:23.959" v="213" actId="1076"/>
          <ac:spMkLst>
            <pc:docMk/>
            <pc:sldMk cId="2255513899" sldId="462"/>
            <ac:spMk id="18" creationId="{334EAF19-5489-C25D-16B8-E9AA11F00DEE}"/>
          </ac:spMkLst>
        </pc:spChg>
        <pc:spChg chg="add mod">
          <ac:chgData name="Völkel, Tobias" userId="S::ru22boda@fauad.fau.de::9c02bf22-18bb-468a-b263-c51c2dc523eb" providerId="AD" clId="Web-{CA0D1811-428C-4D1A-A09C-18C4470312A6}" dt="2023-03-12T19:18:29.287" v="215" actId="1076"/>
          <ac:spMkLst>
            <pc:docMk/>
            <pc:sldMk cId="2255513899" sldId="462"/>
            <ac:spMk id="22" creationId="{82E9FE5C-5BF8-5601-A242-B1BBDD169603}"/>
          </ac:spMkLst>
        </pc:spChg>
        <pc:picChg chg="mod modCrop">
          <ac:chgData name="Völkel, Tobias" userId="S::ru22boda@fauad.fau.de::9c02bf22-18bb-468a-b263-c51c2dc523eb" providerId="AD" clId="Web-{CA0D1811-428C-4D1A-A09C-18C4470312A6}" dt="2023-03-12T19:10:31.604" v="142" actId="14100"/>
          <ac:picMkLst>
            <pc:docMk/>
            <pc:sldMk cId="2255513899" sldId="462"/>
            <ac:picMk id="6" creationId="{8D9E526E-B73C-FF50-0655-794AE74BF2A8}"/>
          </ac:picMkLst>
        </pc:picChg>
        <pc:picChg chg="add mod">
          <ac:chgData name="Völkel, Tobias" userId="S::ru22boda@fauad.fau.de::9c02bf22-18bb-468a-b263-c51c2dc523eb" providerId="AD" clId="Web-{CA0D1811-428C-4D1A-A09C-18C4470312A6}" dt="2023-03-12T19:15:59.940" v="181" actId="1076"/>
          <ac:picMkLst>
            <pc:docMk/>
            <pc:sldMk cId="2255513899" sldId="462"/>
            <ac:picMk id="12" creationId="{A6881213-B28A-36B7-5E4D-75D3A30A1964}"/>
          </ac:picMkLst>
        </pc:picChg>
      </pc:sldChg>
      <pc:sldChg chg="addSp delSp modSp">
        <pc:chgData name="Völkel, Tobias" userId="S::ru22boda@fauad.fau.de::9c02bf22-18bb-468a-b263-c51c2dc523eb" providerId="AD" clId="Web-{CA0D1811-428C-4D1A-A09C-18C4470312A6}" dt="2023-03-12T18:27:00.906" v="13" actId="1076"/>
        <pc:sldMkLst>
          <pc:docMk/>
          <pc:sldMk cId="2866409584" sldId="463"/>
        </pc:sldMkLst>
        <pc:graphicFrameChg chg="add mod modGraphic">
          <ac:chgData name="Völkel, Tobias" userId="S::ru22boda@fauad.fau.de::9c02bf22-18bb-468a-b263-c51c2dc523eb" providerId="AD" clId="Web-{CA0D1811-428C-4D1A-A09C-18C4470312A6}" dt="2023-03-12T18:26:09.671" v="4" actId="1076"/>
          <ac:graphicFrameMkLst>
            <pc:docMk/>
            <pc:sldMk cId="2866409584" sldId="463"/>
            <ac:graphicFrameMk id="10" creationId="{9D2FE82C-A508-B4E7-6DC1-12C70F41D85D}"/>
          </ac:graphicFrameMkLst>
        </pc:graphicFrameChg>
        <pc:graphicFrameChg chg="add mod modGraphic">
          <ac:chgData name="Völkel, Tobias" userId="S::ru22boda@fauad.fau.de::9c02bf22-18bb-468a-b263-c51c2dc523eb" providerId="AD" clId="Web-{CA0D1811-428C-4D1A-A09C-18C4470312A6}" dt="2023-03-12T18:27:00.906" v="13" actId="1076"/>
          <ac:graphicFrameMkLst>
            <pc:docMk/>
            <pc:sldMk cId="2866409584" sldId="463"/>
            <ac:graphicFrameMk id="17" creationId="{1A72981D-85A2-0BDE-D0D9-3C526F5FD55B}"/>
          </ac:graphicFrameMkLst>
        </pc:graphicFrameChg>
        <pc:picChg chg="del">
          <ac:chgData name="Völkel, Tobias" userId="S::ru22boda@fauad.fau.de::9c02bf22-18bb-468a-b263-c51c2dc523eb" providerId="AD" clId="Web-{CA0D1811-428C-4D1A-A09C-18C4470312A6}" dt="2023-03-12T18:26:22.812" v="5"/>
          <ac:picMkLst>
            <pc:docMk/>
            <pc:sldMk cId="2866409584" sldId="463"/>
            <ac:picMk id="52" creationId="{35688383-0AB7-998C-6F53-407E6CCA2047}"/>
          </ac:picMkLst>
        </pc:picChg>
        <pc:picChg chg="del">
          <ac:chgData name="Völkel, Tobias" userId="S::ru22boda@fauad.fau.de::9c02bf22-18bb-468a-b263-c51c2dc523eb" providerId="AD" clId="Web-{CA0D1811-428C-4D1A-A09C-18C4470312A6}" dt="2023-03-12T18:26:01.139" v="1"/>
          <ac:picMkLst>
            <pc:docMk/>
            <pc:sldMk cId="2866409584" sldId="463"/>
            <ac:picMk id="53" creationId="{A5F421C8-152C-2903-892A-1E00E90A27DA}"/>
          </ac:picMkLst>
        </pc:picChg>
      </pc:sldChg>
      <pc:sldChg chg="addSp delSp modSp">
        <pc:chgData name="Völkel, Tobias" userId="S::ru22boda@fauad.fau.de::9c02bf22-18bb-468a-b263-c51c2dc523eb" providerId="AD" clId="Web-{CA0D1811-428C-4D1A-A09C-18C4470312A6}" dt="2023-03-12T18:27:25.251" v="18" actId="1076"/>
        <pc:sldMkLst>
          <pc:docMk/>
          <pc:sldMk cId="37830688" sldId="468"/>
        </pc:sldMkLst>
        <pc:graphicFrameChg chg="add mod modGraphic">
          <ac:chgData name="Völkel, Tobias" userId="S::ru22boda@fauad.fau.de::9c02bf22-18bb-468a-b263-c51c2dc523eb" providerId="AD" clId="Web-{CA0D1811-428C-4D1A-A09C-18C4470312A6}" dt="2023-03-12T18:27:25.251" v="18" actId="1076"/>
          <ac:graphicFrameMkLst>
            <pc:docMk/>
            <pc:sldMk cId="37830688" sldId="468"/>
            <ac:graphicFrameMk id="6" creationId="{6DA70F5C-C36A-0908-15F7-DCADB4D18BD9}"/>
          </ac:graphicFrameMkLst>
        </pc:graphicFrameChg>
        <pc:picChg chg="del">
          <ac:chgData name="Völkel, Tobias" userId="S::ru22boda@fauad.fau.de::9c02bf22-18bb-468a-b263-c51c2dc523eb" providerId="AD" clId="Web-{CA0D1811-428C-4D1A-A09C-18C4470312A6}" dt="2023-03-12T18:27:14.938" v="14"/>
          <ac:picMkLst>
            <pc:docMk/>
            <pc:sldMk cId="37830688" sldId="468"/>
            <ac:picMk id="7" creationId="{920E470E-8068-CBDF-9EB0-0ACBDA9D41EC}"/>
          </ac:picMkLst>
        </pc:picChg>
      </pc:sldChg>
      <pc:sldChg chg="modSp new">
        <pc:chgData name="Völkel, Tobias" userId="S::ru22boda@fauad.fau.de::9c02bf22-18bb-468a-b263-c51c2dc523eb" providerId="AD" clId="Web-{CA0D1811-428C-4D1A-A09C-18C4470312A6}" dt="2023-03-12T19:17:16.848" v="185" actId="20577"/>
        <pc:sldMkLst>
          <pc:docMk/>
          <pc:sldMk cId="3141209888" sldId="481"/>
        </pc:sldMkLst>
        <pc:spChg chg="mod">
          <ac:chgData name="Völkel, Tobias" userId="S::ru22boda@fauad.fau.de::9c02bf22-18bb-468a-b263-c51c2dc523eb" providerId="AD" clId="Web-{CA0D1811-428C-4D1A-A09C-18C4470312A6}" dt="2023-03-12T19:17:16.848" v="185" actId="20577"/>
          <ac:spMkLst>
            <pc:docMk/>
            <pc:sldMk cId="3141209888" sldId="481"/>
            <ac:spMk id="5" creationId="{C34CBE17-A962-00FC-F27F-463C0EFFDC4F}"/>
          </ac:spMkLst>
        </pc:spChg>
        <pc:spChg chg="mod">
          <ac:chgData name="Völkel, Tobias" userId="S::ru22boda@fauad.fau.de::9c02bf22-18bb-468a-b263-c51c2dc523eb" providerId="AD" clId="Web-{CA0D1811-428C-4D1A-A09C-18C4470312A6}" dt="2023-03-12T19:14:24.641" v="151" actId="20577"/>
          <ac:spMkLst>
            <pc:docMk/>
            <pc:sldMk cId="3141209888" sldId="481"/>
            <ac:spMk id="6" creationId="{CC4BEF75-BA05-F792-771D-66A9B14F1480}"/>
          </ac:spMkLst>
        </pc:spChg>
      </pc:sldChg>
    </pc:docChg>
  </pc:docChgLst>
  <pc:docChgLst>
    <pc:chgData name="Fourati, Omar" userId="S::oz48ohuv@fauad.fau.de::543b926d-baf3-4e4d-861e-19746c37446c" providerId="AD" clId="Web-{5B1C926A-DCAF-4023-BC7C-CFD11994337E}"/>
    <pc:docChg chg="modSld">
      <pc:chgData name="Fourati, Omar" userId="S::oz48ohuv@fauad.fau.de::543b926d-baf3-4e4d-861e-19746c37446c" providerId="AD" clId="Web-{5B1C926A-DCAF-4023-BC7C-CFD11994337E}" dt="2023-03-12T20:29:01.231" v="0" actId="1076"/>
      <pc:docMkLst>
        <pc:docMk/>
      </pc:docMkLst>
      <pc:sldChg chg="modSp">
        <pc:chgData name="Fourati, Omar" userId="S::oz48ohuv@fauad.fau.de::543b926d-baf3-4e4d-861e-19746c37446c" providerId="AD" clId="Web-{5B1C926A-DCAF-4023-BC7C-CFD11994337E}" dt="2023-03-12T20:29:01.231" v="0" actId="1076"/>
        <pc:sldMkLst>
          <pc:docMk/>
          <pc:sldMk cId="2567389131" sldId="470"/>
        </pc:sldMkLst>
        <pc:picChg chg="mod">
          <ac:chgData name="Fourati, Omar" userId="S::oz48ohuv@fauad.fau.de::543b926d-baf3-4e4d-861e-19746c37446c" providerId="AD" clId="Web-{5B1C926A-DCAF-4023-BC7C-CFD11994337E}" dt="2023-03-12T20:29:01.231" v="0" actId="1076"/>
          <ac:picMkLst>
            <pc:docMk/>
            <pc:sldMk cId="2567389131" sldId="470"/>
            <ac:picMk id="18" creationId="{49E40777-857C-6E44-7AF1-4F159F5F9188}"/>
          </ac:picMkLst>
        </pc:picChg>
      </pc:sldChg>
    </pc:docChg>
  </pc:docChgLst>
  <pc:docChgLst>
    <pc:chgData name="Völkel, Tobias" userId="S::ru22boda@fauad.fau.de::9c02bf22-18bb-468a-b263-c51c2dc523eb" providerId="AD" clId="Web-{A3D56828-E0DD-4FAB-A2DE-61893D728347}"/>
    <pc:docChg chg="addSld modSld">
      <pc:chgData name="Völkel, Tobias" userId="S::ru22boda@fauad.fau.de::9c02bf22-18bb-468a-b263-c51c2dc523eb" providerId="AD" clId="Web-{A3D56828-E0DD-4FAB-A2DE-61893D728347}" dt="2023-01-07T15:35:34.397" v="219" actId="20577"/>
      <pc:docMkLst>
        <pc:docMk/>
      </pc:docMkLst>
      <pc:sldChg chg="modSp new">
        <pc:chgData name="Völkel, Tobias" userId="S::ru22boda@fauad.fau.de::9c02bf22-18bb-468a-b263-c51c2dc523eb" providerId="AD" clId="Web-{A3D56828-E0DD-4FAB-A2DE-61893D728347}" dt="2023-01-07T15:28:50.090" v="57" actId="20577"/>
        <pc:sldMkLst>
          <pc:docMk/>
          <pc:sldMk cId="1105244631" sldId="309"/>
        </pc:sldMkLst>
        <pc:spChg chg="mod">
          <ac:chgData name="Völkel, Tobias" userId="S::ru22boda@fauad.fau.de::9c02bf22-18bb-468a-b263-c51c2dc523eb" providerId="AD" clId="Web-{A3D56828-E0DD-4FAB-A2DE-61893D728347}" dt="2023-01-07T15:28:50.090" v="57" actId="20577"/>
          <ac:spMkLst>
            <pc:docMk/>
            <pc:sldMk cId="1105244631" sldId="309"/>
            <ac:spMk id="5" creationId="{D72A2961-34FB-E12D-E8F3-6E546353D453}"/>
          </ac:spMkLst>
        </pc:spChg>
        <pc:spChg chg="mod">
          <ac:chgData name="Völkel, Tobias" userId="S::ru22boda@fauad.fau.de::9c02bf22-18bb-468a-b263-c51c2dc523eb" providerId="AD" clId="Web-{A3D56828-E0DD-4FAB-A2DE-61893D728347}" dt="2023-01-07T15:26:11.712" v="39" actId="20577"/>
          <ac:spMkLst>
            <pc:docMk/>
            <pc:sldMk cId="1105244631" sldId="309"/>
            <ac:spMk id="9" creationId="{33E94CDB-D766-DC89-60AE-36C16CE935AF}"/>
          </ac:spMkLst>
        </pc:spChg>
        <pc:spChg chg="mod">
          <ac:chgData name="Völkel, Tobias" userId="S::ru22boda@fauad.fau.de::9c02bf22-18bb-468a-b263-c51c2dc523eb" providerId="AD" clId="Web-{A3D56828-E0DD-4FAB-A2DE-61893D728347}" dt="2023-01-07T15:24:22.601" v="19" actId="20577"/>
          <ac:spMkLst>
            <pc:docMk/>
            <pc:sldMk cId="1105244631" sldId="309"/>
            <ac:spMk id="29" creationId="{6661A591-9035-1BE9-0290-5D1460701517}"/>
          </ac:spMkLst>
        </pc:spChg>
      </pc:sldChg>
      <pc:sldChg chg="delSp modSp new mod modClrScheme chgLayout">
        <pc:chgData name="Völkel, Tobias" userId="S::ru22boda@fauad.fau.de::9c02bf22-18bb-468a-b263-c51c2dc523eb" providerId="AD" clId="Web-{A3D56828-E0DD-4FAB-A2DE-61893D728347}" dt="2023-01-07T15:34:45.896" v="154" actId="20577"/>
        <pc:sldMkLst>
          <pc:docMk/>
          <pc:sldMk cId="2822663259" sldId="310"/>
        </pc:sldMkLst>
        <pc:spChg chg="mod ord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2" creationId="{306065E5-A5F2-B6CA-39F8-241C86D31857}"/>
          </ac:spMkLst>
        </pc:spChg>
        <pc:spChg chg="mod ord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3" creationId="{974109D1-5C01-8163-C271-A68A1873CC11}"/>
          </ac:spMkLst>
        </pc:spChg>
        <pc:spChg chg="mod ord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4" creationId="{9C9A532B-7344-9F90-96AF-CBC3BCF37830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5" creationId="{0D2015D1-D858-48AE-9765-BD30A10F345C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6" creationId="{642C5413-7044-3B79-1362-8E76F9F82393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7" creationId="{78739C3C-439C-EEA4-C83C-AFD77684898B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8" creationId="{666B7C45-49A0-5A48-BF04-CF166A7900DB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9" creationId="{0721C071-1D9B-A598-09AD-DEE1F73298F4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10" creationId="{22454603-F52A-05A8-6245-0FBF8567BC16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11" creationId="{8AB80852-619E-5BCD-F9AA-1F40E90A7706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12" creationId="{EF9A174F-2C57-C8AB-70A4-DA47E05DE074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13" creationId="{7C83B435-886F-036D-C220-493EA807EAB3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14" creationId="{F2AF0961-844B-7084-661E-CEC4693EAA92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15" creationId="{EF07E5DE-A69D-A82A-6626-F00C4547D5D2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16" creationId="{2F2DBAA6-6BF6-4763-9AE0-0FCCFF2D8926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17" creationId="{7BD5AA38-A540-CBC4-2A6D-F8B2382DCE44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18" creationId="{7C557CAD-C197-56D7-DE58-2F44785024E3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19" creationId="{7FD227AB-4929-E704-4A0E-7C3C08E211A3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20" creationId="{EFFF6EF7-1696-7FD6-0864-02C2E39B915B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21" creationId="{4F72F78B-68D1-AC85-9844-1B5F34FDE06F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22" creationId="{733FC978-51D5-1828-75A4-4BB04E2FFE01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23" creationId="{96316610-FB9C-104E-753C-DDDF116F97A0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24" creationId="{06D0FE62-886B-7180-4667-83D28ACE74AA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25" creationId="{47B649BF-52A9-02D5-7C9B-3894DE51A52F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26" creationId="{18B8B4AD-DACF-7253-2A91-9B49BFFB1E3C}"/>
          </ac:spMkLst>
        </pc:spChg>
        <pc:spChg chg="mod ord">
          <ac:chgData name="Völkel, Tobias" userId="S::ru22boda@fauad.fau.de::9c02bf22-18bb-468a-b263-c51c2dc523eb" providerId="AD" clId="Web-{A3D56828-E0DD-4FAB-A2DE-61893D728347}" dt="2023-01-07T15:33:11.801" v="62" actId="20577"/>
          <ac:spMkLst>
            <pc:docMk/>
            <pc:sldMk cId="2822663259" sldId="310"/>
            <ac:spMk id="27" creationId="{3E42329F-F9FA-34EA-70BC-4571D1E23889}"/>
          </ac:spMkLst>
        </pc:spChg>
        <pc:spChg chg="del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28" creationId="{B36EE3DD-352B-B1D2-EF30-E7DA0F1E3CBF}"/>
          </ac:spMkLst>
        </pc:spChg>
        <pc:spChg chg="mod ord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29" creationId="{22E2A163-C4FA-1F8B-18FE-0C8C53976A74}"/>
          </ac:spMkLst>
        </pc:spChg>
        <pc:spChg chg="mod ord">
          <ac:chgData name="Völkel, Tobias" userId="S::ru22boda@fauad.fau.de::9c02bf22-18bb-468a-b263-c51c2dc523eb" providerId="AD" clId="Web-{A3D56828-E0DD-4FAB-A2DE-61893D728347}" dt="2023-01-07T15:34:45.896" v="154" actId="20577"/>
          <ac:spMkLst>
            <pc:docMk/>
            <pc:sldMk cId="2822663259" sldId="310"/>
            <ac:spMk id="30" creationId="{3074F503-72E7-E7F2-242A-5DE4260BF763}"/>
          </ac:spMkLst>
        </pc:spChg>
        <pc:spChg chg="mod ord">
          <ac:chgData name="Völkel, Tobias" userId="S::ru22boda@fauad.fau.de::9c02bf22-18bb-468a-b263-c51c2dc523eb" providerId="AD" clId="Web-{A3D56828-E0DD-4FAB-A2DE-61893D728347}" dt="2023-01-07T15:31:27.830" v="59"/>
          <ac:spMkLst>
            <pc:docMk/>
            <pc:sldMk cId="2822663259" sldId="310"/>
            <ac:spMk id="31" creationId="{5F196243-A699-9549-5A54-8DD1B4554C52}"/>
          </ac:spMkLst>
        </pc:spChg>
      </pc:sldChg>
      <pc:sldChg chg="modSp new">
        <pc:chgData name="Völkel, Tobias" userId="S::ru22boda@fauad.fau.de::9c02bf22-18bb-468a-b263-c51c2dc523eb" providerId="AD" clId="Web-{A3D56828-E0DD-4FAB-A2DE-61893D728347}" dt="2023-01-07T15:35:20.928" v="202" actId="20577"/>
        <pc:sldMkLst>
          <pc:docMk/>
          <pc:sldMk cId="1510801200" sldId="311"/>
        </pc:sldMkLst>
        <pc:spChg chg="mod">
          <ac:chgData name="Völkel, Tobias" userId="S::ru22boda@fauad.fau.de::9c02bf22-18bb-468a-b263-c51c2dc523eb" providerId="AD" clId="Web-{A3D56828-E0DD-4FAB-A2DE-61893D728347}" dt="2023-01-07T15:35:20.928" v="202" actId="20577"/>
          <ac:spMkLst>
            <pc:docMk/>
            <pc:sldMk cId="1510801200" sldId="311"/>
            <ac:spMk id="5" creationId="{024A0388-5EF3-F640-5502-0706C50F48A2}"/>
          </ac:spMkLst>
        </pc:spChg>
        <pc:spChg chg="mod">
          <ac:chgData name="Völkel, Tobias" userId="S::ru22boda@fauad.fau.de::9c02bf22-18bb-468a-b263-c51c2dc523eb" providerId="AD" clId="Web-{A3D56828-E0DD-4FAB-A2DE-61893D728347}" dt="2023-01-07T15:34:54.115" v="158" actId="20577"/>
          <ac:spMkLst>
            <pc:docMk/>
            <pc:sldMk cId="1510801200" sldId="311"/>
            <ac:spMk id="6" creationId="{36323343-9287-6C38-7C59-5A52BF91792E}"/>
          </ac:spMkLst>
        </pc:spChg>
      </pc:sldChg>
      <pc:sldChg chg="modSp new">
        <pc:chgData name="Völkel, Tobias" userId="S::ru22boda@fauad.fau.de::9c02bf22-18bb-468a-b263-c51c2dc523eb" providerId="AD" clId="Web-{A3D56828-E0DD-4FAB-A2DE-61893D728347}" dt="2023-01-07T15:35:34.397" v="219" actId="20577"/>
        <pc:sldMkLst>
          <pc:docMk/>
          <pc:sldMk cId="2990817436" sldId="312"/>
        </pc:sldMkLst>
        <pc:spChg chg="mod">
          <ac:chgData name="Völkel, Tobias" userId="S::ru22boda@fauad.fau.de::9c02bf22-18bb-468a-b263-c51c2dc523eb" providerId="AD" clId="Web-{A3D56828-E0DD-4FAB-A2DE-61893D728347}" dt="2023-01-07T15:35:34.397" v="219" actId="20577"/>
          <ac:spMkLst>
            <pc:docMk/>
            <pc:sldMk cId="2990817436" sldId="312"/>
            <ac:spMk id="5" creationId="{93D59644-4EA0-BF3B-4C9A-D37103EA8A5D}"/>
          </ac:spMkLst>
        </pc:spChg>
        <pc:spChg chg="mod">
          <ac:chgData name="Völkel, Tobias" userId="S::ru22boda@fauad.fau.de::9c02bf22-18bb-468a-b263-c51c2dc523eb" providerId="AD" clId="Web-{A3D56828-E0DD-4FAB-A2DE-61893D728347}" dt="2023-01-07T15:35:28.006" v="204" actId="20577"/>
          <ac:spMkLst>
            <pc:docMk/>
            <pc:sldMk cId="2990817436" sldId="312"/>
            <ac:spMk id="6" creationId="{23FE206C-B268-5661-D628-37222B58D28E}"/>
          </ac:spMkLst>
        </pc:spChg>
      </pc:sldChg>
    </pc:docChg>
  </pc:docChgLst>
  <pc:docChgLst>
    <pc:chgData clId="Web-{7936B777-4126-4FF0-B3B3-7FD48D19D4EA}"/>
    <pc:docChg chg="modSld">
      <pc:chgData name="" userId="" providerId="" clId="Web-{7936B777-4126-4FF0-B3B3-7FD48D19D4EA}" dt="2023-03-12T14:41:43.258" v="0" actId="20577"/>
      <pc:docMkLst>
        <pc:docMk/>
      </pc:docMkLst>
      <pc:sldChg chg="modSp">
        <pc:chgData name="" userId="" providerId="" clId="Web-{7936B777-4126-4FF0-B3B3-7FD48D19D4EA}" dt="2023-03-12T14:41:43.258" v="0" actId="20577"/>
        <pc:sldMkLst>
          <pc:docMk/>
          <pc:sldMk cId="2255513899" sldId="462"/>
        </pc:sldMkLst>
        <pc:spChg chg="mod">
          <ac:chgData name="" userId="" providerId="" clId="Web-{7936B777-4126-4FF0-B3B3-7FD48D19D4EA}" dt="2023-03-12T14:41:43.258" v="0" actId="20577"/>
          <ac:spMkLst>
            <pc:docMk/>
            <pc:sldMk cId="2255513899" sldId="462"/>
            <ac:spMk id="5" creationId="{E2778565-6C09-523A-FB0E-447A2076C175}"/>
          </ac:spMkLst>
        </pc:spChg>
      </pc:sldChg>
    </pc:docChg>
  </pc:docChgLst>
  <pc:docChgLst>
    <pc:chgData name="Völkel, Tobias" userId="S::ru22boda@fauad.fau.de::9c02bf22-18bb-468a-b263-c51c2dc523eb" providerId="AD" clId="Web-{23667C43-438C-4BF7-B680-7231CCD76D7A}"/>
    <pc:docChg chg="addSld delSld modSld addMainMaster modMainMaster modSection">
      <pc:chgData name="Völkel, Tobias" userId="S::ru22boda@fauad.fau.de::9c02bf22-18bb-468a-b263-c51c2dc523eb" providerId="AD" clId="Web-{23667C43-438C-4BF7-B680-7231CCD76D7A}" dt="2023-03-12T20:58:11.758" v="20"/>
      <pc:docMkLst>
        <pc:docMk/>
      </pc:docMkLst>
      <pc:sldChg chg="del">
        <pc:chgData name="Völkel, Tobias" userId="S::ru22boda@fauad.fau.de::9c02bf22-18bb-468a-b263-c51c2dc523eb" providerId="AD" clId="Web-{23667C43-438C-4BF7-B680-7231CCD76D7A}" dt="2023-03-12T20:58:11.758" v="20"/>
        <pc:sldMkLst>
          <pc:docMk/>
          <pc:sldMk cId="3005408630" sldId="482"/>
        </pc:sldMkLst>
      </pc:sldChg>
      <pc:sldChg chg="addSp delSp modSp add">
        <pc:chgData name="Völkel, Tobias" userId="S::ru22boda@fauad.fau.de::9c02bf22-18bb-468a-b263-c51c2dc523eb" providerId="AD" clId="Web-{23667C43-438C-4BF7-B680-7231CCD76D7A}" dt="2023-03-12T20:58:04.961" v="19"/>
        <pc:sldMkLst>
          <pc:docMk/>
          <pc:sldMk cId="1358568689" sldId="483"/>
        </pc:sldMkLst>
        <pc:spChg chg="mod">
          <ac:chgData name="Völkel, Tobias" userId="S::ru22boda@fauad.fau.de::9c02bf22-18bb-468a-b263-c51c2dc523eb" providerId="AD" clId="Web-{23667C43-438C-4BF7-B680-7231CCD76D7A}" dt="2023-03-12T20:57:45.413" v="9" actId="20577"/>
          <ac:spMkLst>
            <pc:docMk/>
            <pc:sldMk cId="1358568689" sldId="483"/>
            <ac:spMk id="7" creationId="{E2AA8519-58F1-8711-EDA8-7D459D8F4089}"/>
          </ac:spMkLst>
        </pc:spChg>
        <pc:spChg chg="mod">
          <ac:chgData name="Völkel, Tobias" userId="S::ru22boda@fauad.fau.de::9c02bf22-18bb-468a-b263-c51c2dc523eb" providerId="AD" clId="Web-{23667C43-438C-4BF7-B680-7231CCD76D7A}" dt="2023-03-12T20:57:51.773" v="14" actId="20577"/>
          <ac:spMkLst>
            <pc:docMk/>
            <pc:sldMk cId="1358568689" sldId="483"/>
            <ac:spMk id="9" creationId="{8391E5F6-6DCF-CA36-9BF1-D97A66BF3DCE}"/>
          </ac:spMkLst>
        </pc:spChg>
        <pc:spChg chg="add mod">
          <ac:chgData name="Völkel, Tobias" userId="S::ru22boda@fauad.fau.de::9c02bf22-18bb-468a-b263-c51c2dc523eb" providerId="AD" clId="Web-{23667C43-438C-4BF7-B680-7231CCD76D7A}" dt="2023-03-12T20:58:04.695" v="18"/>
          <ac:spMkLst>
            <pc:docMk/>
            <pc:sldMk cId="1358568689" sldId="483"/>
            <ac:spMk id="10" creationId="{D78018F5-FD3B-C4D8-4EA8-74A68A440C69}"/>
          </ac:spMkLst>
        </pc:spChg>
        <pc:spChg chg="mod">
          <ac:chgData name="Völkel, Tobias" userId="S::ru22boda@fauad.fau.de::9c02bf22-18bb-468a-b263-c51c2dc523eb" providerId="AD" clId="Web-{23667C43-438C-4BF7-B680-7231CCD76D7A}" dt="2023-03-12T20:57:53.413" v="17" actId="20577"/>
          <ac:spMkLst>
            <pc:docMk/>
            <pc:sldMk cId="1358568689" sldId="483"/>
            <ac:spMk id="11" creationId="{578007E2-35AC-E558-621C-1D05C013F7A5}"/>
          </ac:spMkLst>
        </pc:spChg>
        <pc:spChg chg="add">
          <ac:chgData name="Völkel, Tobias" userId="S::ru22boda@fauad.fau.de::9c02bf22-18bb-468a-b263-c51c2dc523eb" providerId="AD" clId="Web-{23667C43-438C-4BF7-B680-7231CCD76D7A}" dt="2023-03-12T20:58:04.961" v="19"/>
          <ac:spMkLst>
            <pc:docMk/>
            <pc:sldMk cId="1358568689" sldId="483"/>
            <ac:spMk id="15" creationId="{134A1ADE-3275-F7CE-AE39-0089BD5D3328}"/>
          </ac:spMkLst>
        </pc:spChg>
        <pc:spChg chg="del">
          <ac:chgData name="Völkel, Tobias" userId="S::ru22boda@fauad.fau.de::9c02bf22-18bb-468a-b263-c51c2dc523eb" providerId="AD" clId="Web-{23667C43-438C-4BF7-B680-7231CCD76D7A}" dt="2023-03-12T20:58:04.695" v="18"/>
          <ac:spMkLst>
            <pc:docMk/>
            <pc:sldMk cId="1358568689" sldId="483"/>
            <ac:spMk id="27" creationId="{FF9E8EA7-C52F-DB2F-DDE4-6630E69E3238}"/>
          </ac:spMkLst>
        </pc:spChg>
        <pc:picChg chg="del">
          <ac:chgData name="Völkel, Tobias" userId="S::ru22boda@fauad.fau.de::9c02bf22-18bb-468a-b263-c51c2dc523eb" providerId="AD" clId="Web-{23667C43-438C-4BF7-B680-7231CCD76D7A}" dt="2023-03-12T20:57:19.553" v="2"/>
          <ac:picMkLst>
            <pc:docMk/>
            <pc:sldMk cId="1358568689" sldId="483"/>
            <ac:picMk id="13" creationId="{7168173A-DDEA-7ACA-65BD-1F6E4BE088E0}"/>
          </ac:picMkLst>
        </pc:picChg>
        <pc:picChg chg="del">
          <ac:chgData name="Völkel, Tobias" userId="S::ru22boda@fauad.fau.de::9c02bf22-18bb-468a-b263-c51c2dc523eb" providerId="AD" clId="Web-{23667C43-438C-4BF7-B680-7231CCD76D7A}" dt="2023-03-12T20:57:20.975" v="4"/>
          <ac:picMkLst>
            <pc:docMk/>
            <pc:sldMk cId="1358568689" sldId="483"/>
            <ac:picMk id="18" creationId="{D159D757-817D-1536-F1A0-7E6486061BB2}"/>
          </ac:picMkLst>
        </pc:picChg>
        <pc:picChg chg="del">
          <ac:chgData name="Völkel, Tobias" userId="S::ru22boda@fauad.fau.de::9c02bf22-18bb-468a-b263-c51c2dc523eb" providerId="AD" clId="Web-{23667C43-438C-4BF7-B680-7231CCD76D7A}" dt="2023-03-12T20:57:20.084" v="3"/>
          <ac:picMkLst>
            <pc:docMk/>
            <pc:sldMk cId="1358568689" sldId="483"/>
            <ac:picMk id="21" creationId="{38D19055-2890-4971-9793-ED069FE7E800}"/>
          </ac:picMkLst>
        </pc:picChg>
      </pc:sldChg>
      <pc:sldMasterChg chg="modSldLayout">
        <pc:chgData name="Völkel, Tobias" userId="S::ru22boda@fauad.fau.de::9c02bf22-18bb-468a-b263-c51c2dc523eb" providerId="AD" clId="Web-{23667C43-438C-4BF7-B680-7231CCD76D7A}" dt="2023-03-12T20:57:07.943" v="0"/>
        <pc:sldMasterMkLst>
          <pc:docMk/>
          <pc:sldMasterMk cId="159005196" sldId="2147483693"/>
        </pc:sldMasterMkLst>
        <pc:sldLayoutChg chg="replI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693"/>
            <pc:sldLayoutMk cId="2613470765" sldId="2147483754"/>
          </pc:sldLayoutMkLst>
        </pc:sldLayoutChg>
        <pc:sldLayoutChg chg="replI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693"/>
            <pc:sldLayoutMk cId="1670996305" sldId="2147483756"/>
          </pc:sldLayoutMkLst>
        </pc:sldLayoutChg>
      </pc:sldMasterChg>
      <pc:sldMasterChg chg="modSldLayout">
        <pc:chgData name="Völkel, Tobias" userId="S::ru22boda@fauad.fau.de::9c02bf22-18bb-468a-b263-c51c2dc523eb" providerId="AD" clId="Web-{23667C43-438C-4BF7-B680-7231CCD76D7A}" dt="2023-03-12T20:57:07.943" v="0"/>
        <pc:sldMasterMkLst>
          <pc:docMk/>
          <pc:sldMasterMk cId="1016738500" sldId="2147483714"/>
        </pc:sldMasterMkLst>
        <pc:sldLayoutChg chg="replI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016738500" sldId="2147483714"/>
            <pc:sldLayoutMk cId="1902471215" sldId="2147483744"/>
          </pc:sldLayoutMkLst>
        </pc:sldLayoutChg>
        <pc:sldLayoutChg chg="replI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016738500" sldId="2147483714"/>
            <pc:sldLayoutMk cId="1524250908" sldId="2147483745"/>
          </pc:sldLayoutMkLst>
        </pc:sldLayoutChg>
        <pc:sldLayoutChg chg="replI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016738500" sldId="2147483714"/>
            <pc:sldLayoutMk cId="2522782098" sldId="2147483746"/>
          </pc:sldLayoutMkLst>
        </pc:sldLayoutChg>
        <pc:sldLayoutChg chg="replI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016738500" sldId="2147483714"/>
            <pc:sldLayoutMk cId="4118276604" sldId="2147483747"/>
          </pc:sldLayoutMkLst>
        </pc:sldLayoutChg>
        <pc:sldLayoutChg chg="replI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016738500" sldId="2147483714"/>
            <pc:sldLayoutMk cId="3075989512" sldId="2147483748"/>
          </pc:sldLayoutMkLst>
        </pc:sldLayoutChg>
        <pc:sldLayoutChg chg="replI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016738500" sldId="2147483714"/>
            <pc:sldLayoutMk cId="2767164233" sldId="2147483749"/>
          </pc:sldLayoutMkLst>
        </pc:sldLayoutChg>
        <pc:sldLayoutChg chg="replI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016738500" sldId="2147483714"/>
            <pc:sldLayoutMk cId="3214534937" sldId="2147483750"/>
          </pc:sldLayoutMkLst>
        </pc:sldLayoutChg>
        <pc:sldLayoutChg chg="replI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016738500" sldId="2147483714"/>
            <pc:sldLayoutMk cId="257834382" sldId="2147483751"/>
          </pc:sldLayoutMkLst>
        </pc:sldLayoutChg>
        <pc:sldLayoutChg chg="replI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016738500" sldId="2147483714"/>
            <pc:sldLayoutMk cId="1473669642" sldId="2147483752"/>
          </pc:sldLayoutMkLst>
        </pc:sldLayoutChg>
        <pc:sldLayoutChg chg="replI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016738500" sldId="2147483714"/>
            <pc:sldLayoutMk cId="2219523400" sldId="2147483753"/>
          </pc:sldLayoutMkLst>
        </pc:sldLayoutChg>
        <pc:sldLayoutChg chg="replI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016738500" sldId="2147483714"/>
            <pc:sldLayoutMk cId="1259187842" sldId="2147483755"/>
          </pc:sldLayoutMkLst>
        </pc:sldLayoutChg>
        <pc:sldLayoutChg chg="replI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016738500" sldId="2147483714"/>
            <pc:sldLayoutMk cId="630209616" sldId="2147483757"/>
          </pc:sldLayoutMkLst>
        </pc:sldLayoutChg>
      </pc:sldMasterChg>
      <pc:sldMasterChg chg="add addSldLayout">
        <pc:chgData name="Völkel, Tobias" userId="S::ru22boda@fauad.fau.de::9c02bf22-18bb-468a-b263-c51c2dc523eb" providerId="AD" clId="Web-{23667C43-438C-4BF7-B680-7231CCD76D7A}" dt="2023-03-12T20:57:07.943" v="0"/>
        <pc:sldMasterMkLst>
          <pc:docMk/>
          <pc:sldMasterMk cId="159005196" sldId="2147483736"/>
        </pc:sldMasterMkLst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2498526227" sldId="2147483715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251941058" sldId="2147483716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479716550" sldId="2147483718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3559413871" sldId="2147483720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466738167" sldId="2147483721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3666463375" sldId="2147483722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2412820869" sldId="2147483723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2381320240" sldId="2147483724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2340850207" sldId="2147483725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4162744992" sldId="2147483726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3672189256" sldId="2147483727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3285443023" sldId="2147483728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1557775664" sldId="2147483729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1018579216" sldId="2147483730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2943029126" sldId="2147483731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3102481130" sldId="2147483732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4035489584" sldId="2147483733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2483891137" sldId="2147483734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2176005420" sldId="2147483741"/>
          </pc:sldLayoutMkLst>
        </pc:sldLayoutChg>
        <pc:sldLayoutChg chg="add">
          <pc:chgData name="Völkel, Tobias" userId="S::ru22boda@fauad.fau.de::9c02bf22-18bb-468a-b263-c51c2dc523eb" providerId="AD" clId="Web-{23667C43-438C-4BF7-B680-7231CCD76D7A}" dt="2023-03-12T20:57:07.943" v="0"/>
          <pc:sldLayoutMkLst>
            <pc:docMk/>
            <pc:sldMasterMk cId="159005196" sldId="2147483736"/>
            <pc:sldLayoutMk cId="1409702888" sldId="2147483743"/>
          </pc:sldLayoutMkLst>
        </pc:sldLayoutChg>
      </pc:sldMasterChg>
    </pc:docChg>
  </pc:docChgLst>
  <pc:docChgLst>
    <pc:chgData name="Fourati, Omar" userId="S::oz48ohuv@fauad.fau.de::543b926d-baf3-4e4d-861e-19746c37446c" providerId="AD" clId="Web-{55E24F7C-4A0B-4A5F-A4F5-07EA3E521547}"/>
    <pc:docChg chg="addSld delSld modSld modSection">
      <pc:chgData name="Fourati, Omar" userId="S::oz48ohuv@fauad.fau.de::543b926d-baf3-4e4d-861e-19746c37446c" providerId="AD" clId="Web-{55E24F7C-4A0B-4A5F-A4F5-07EA3E521547}" dt="2023-03-12T16:08:08.282" v="1357" actId="14100"/>
      <pc:docMkLst>
        <pc:docMk/>
      </pc:docMkLst>
      <pc:sldChg chg="addSp modSp">
        <pc:chgData name="Fourati, Omar" userId="S::oz48ohuv@fauad.fau.de::543b926d-baf3-4e4d-861e-19746c37446c" providerId="AD" clId="Web-{55E24F7C-4A0B-4A5F-A4F5-07EA3E521547}" dt="2023-03-12T14:13:13.569" v="13" actId="1076"/>
        <pc:sldMkLst>
          <pc:docMk/>
          <pc:sldMk cId="3925525262" sldId="449"/>
        </pc:sldMkLst>
        <pc:picChg chg="add mod">
          <ac:chgData name="Fourati, Omar" userId="S::oz48ohuv@fauad.fau.de::543b926d-baf3-4e4d-861e-19746c37446c" providerId="AD" clId="Web-{55E24F7C-4A0B-4A5F-A4F5-07EA3E521547}" dt="2023-03-12T14:13:11.522" v="12" actId="1076"/>
          <ac:picMkLst>
            <pc:docMk/>
            <pc:sldMk cId="3925525262" sldId="449"/>
            <ac:picMk id="3" creationId="{5A57FD55-50E3-298C-5E56-BEC300A26A48}"/>
          </ac:picMkLst>
        </pc:picChg>
        <pc:picChg chg="add mod">
          <ac:chgData name="Fourati, Omar" userId="S::oz48ohuv@fauad.fau.de::543b926d-baf3-4e4d-861e-19746c37446c" providerId="AD" clId="Web-{55E24F7C-4A0B-4A5F-A4F5-07EA3E521547}" dt="2023-03-12T14:13:13.569" v="13" actId="1076"/>
          <ac:picMkLst>
            <pc:docMk/>
            <pc:sldMk cId="3925525262" sldId="449"/>
            <ac:picMk id="8" creationId="{AD89D024-B5B8-B0D7-A68D-D35740CCA1A4}"/>
          </ac:picMkLst>
        </pc:picChg>
      </pc:sldChg>
      <pc:sldChg chg="delSp del">
        <pc:chgData name="Fourati, Omar" userId="S::oz48ohuv@fauad.fau.de::543b926d-baf3-4e4d-861e-19746c37446c" providerId="AD" clId="Web-{55E24F7C-4A0B-4A5F-A4F5-07EA3E521547}" dt="2023-03-12T14:13:17.178" v="14"/>
        <pc:sldMkLst>
          <pc:docMk/>
          <pc:sldMk cId="2367796705" sldId="450"/>
        </pc:sldMkLst>
        <pc:spChg chg="del">
          <ac:chgData name="Fourati, Omar" userId="S::oz48ohuv@fauad.fau.de::543b926d-baf3-4e4d-861e-19746c37446c" providerId="AD" clId="Web-{55E24F7C-4A0B-4A5F-A4F5-07EA3E521547}" dt="2023-03-12T14:12:36.302" v="0"/>
          <ac:spMkLst>
            <pc:docMk/>
            <pc:sldMk cId="2367796705" sldId="450"/>
            <ac:spMk id="4" creationId="{620F3424-E32B-4DE8-BF4D-4918B7628D43}"/>
          </ac:spMkLst>
        </pc:spChg>
      </pc:sldChg>
      <pc:sldChg chg="modSp">
        <pc:chgData name="Fourati, Omar" userId="S::oz48ohuv@fauad.fau.de::543b926d-baf3-4e4d-861e-19746c37446c" providerId="AD" clId="Web-{55E24F7C-4A0B-4A5F-A4F5-07EA3E521547}" dt="2023-03-12T14:15:15.541" v="25" actId="1076"/>
        <pc:sldMkLst>
          <pc:docMk/>
          <pc:sldMk cId="2948339296" sldId="451"/>
        </pc:sldMkLst>
        <pc:spChg chg="mod">
          <ac:chgData name="Fourati, Omar" userId="S::oz48ohuv@fauad.fau.de::543b926d-baf3-4e4d-861e-19746c37446c" providerId="AD" clId="Web-{55E24F7C-4A0B-4A5F-A4F5-07EA3E521547}" dt="2023-03-12T14:15:14.509" v="17" actId="1076"/>
          <ac:spMkLst>
            <pc:docMk/>
            <pc:sldMk cId="2948339296" sldId="451"/>
            <ac:spMk id="4" creationId="{620F3424-E32B-4DE8-BF4D-4918B7628D43}"/>
          </ac:spMkLst>
        </pc:spChg>
        <pc:spChg chg="mod">
          <ac:chgData name="Fourati, Omar" userId="S::oz48ohuv@fauad.fau.de::543b926d-baf3-4e4d-861e-19746c37446c" providerId="AD" clId="Web-{55E24F7C-4A0B-4A5F-A4F5-07EA3E521547}" dt="2023-03-12T14:15:14.962" v="20" actId="1076"/>
          <ac:spMkLst>
            <pc:docMk/>
            <pc:sldMk cId="2948339296" sldId="451"/>
            <ac:spMk id="17" creationId="{CBEBDCED-160C-6764-A734-CE0BC681A657}"/>
          </ac:spMkLst>
        </pc:spChg>
        <pc:spChg chg="mod">
          <ac:chgData name="Fourati, Omar" userId="S::oz48ohuv@fauad.fau.de::543b926d-baf3-4e4d-861e-19746c37446c" providerId="AD" clId="Web-{55E24F7C-4A0B-4A5F-A4F5-07EA3E521547}" dt="2023-03-12T14:15:15.431" v="24" actId="1076"/>
          <ac:spMkLst>
            <pc:docMk/>
            <pc:sldMk cId="2948339296" sldId="451"/>
            <ac:spMk id="18" creationId="{D08526C1-4DC4-7D21-8945-9DB79ECCF726}"/>
          </ac:spMkLst>
        </pc:spChg>
        <pc:spChg chg="mod">
          <ac:chgData name="Fourati, Omar" userId="S::oz48ohuv@fauad.fau.de::543b926d-baf3-4e4d-861e-19746c37446c" providerId="AD" clId="Web-{55E24F7C-4A0B-4A5F-A4F5-07EA3E521547}" dt="2023-03-12T14:15:15.541" v="25" actId="1076"/>
          <ac:spMkLst>
            <pc:docMk/>
            <pc:sldMk cId="2948339296" sldId="451"/>
            <ac:spMk id="19" creationId="{CD2A4861-A038-DDAB-6BD4-982887D46406}"/>
          </ac:spMkLst>
        </pc:spChg>
        <pc:spChg chg="mod">
          <ac:chgData name="Fourati, Omar" userId="S::oz48ohuv@fauad.fau.de::543b926d-baf3-4e4d-861e-19746c37446c" providerId="AD" clId="Web-{55E24F7C-4A0B-4A5F-A4F5-07EA3E521547}" dt="2023-03-12T14:15:15.384" v="23" actId="1076"/>
          <ac:spMkLst>
            <pc:docMk/>
            <pc:sldMk cId="2948339296" sldId="451"/>
            <ac:spMk id="20" creationId="{F57F5F39-F62A-E927-A20A-A374A7790920}"/>
          </ac:spMkLst>
        </pc:spChg>
        <pc:spChg chg="mod">
          <ac:chgData name="Fourati, Omar" userId="S::oz48ohuv@fauad.fau.de::543b926d-baf3-4e4d-861e-19746c37446c" providerId="AD" clId="Web-{55E24F7C-4A0B-4A5F-A4F5-07EA3E521547}" dt="2023-03-12T14:15:15.275" v="22" actId="1076"/>
          <ac:spMkLst>
            <pc:docMk/>
            <pc:sldMk cId="2948339296" sldId="451"/>
            <ac:spMk id="22" creationId="{79DB46A5-A713-0488-01CC-3784547F001F}"/>
          </ac:spMkLst>
        </pc:spChg>
        <pc:picChg chg="mod">
          <ac:chgData name="Fourati, Omar" userId="S::oz48ohuv@fauad.fau.de::543b926d-baf3-4e4d-861e-19746c37446c" providerId="AD" clId="Web-{55E24F7C-4A0B-4A5F-A4F5-07EA3E521547}" dt="2023-03-12T14:15:14.650" v="19" actId="1076"/>
          <ac:picMkLst>
            <pc:docMk/>
            <pc:sldMk cId="2948339296" sldId="451"/>
            <ac:picMk id="7" creationId="{EE30FE4F-16B7-76CA-10FD-4F7C53E72ACC}"/>
          </ac:picMkLst>
        </pc:picChg>
        <pc:picChg chg="mod">
          <ac:chgData name="Fourati, Omar" userId="S::oz48ohuv@fauad.fau.de::543b926d-baf3-4e4d-861e-19746c37446c" providerId="AD" clId="Web-{55E24F7C-4A0B-4A5F-A4F5-07EA3E521547}" dt="2023-03-12T14:15:14.572" v="18" actId="1076"/>
          <ac:picMkLst>
            <pc:docMk/>
            <pc:sldMk cId="2948339296" sldId="451"/>
            <ac:picMk id="23" creationId="{D3A044FB-9280-8E68-A1B7-CF8B8488CC77}"/>
          </ac:picMkLst>
        </pc:picChg>
      </pc:sldChg>
      <pc:sldChg chg="addSp delSp modSp">
        <pc:chgData name="Fourati, Omar" userId="S::oz48ohuv@fauad.fau.de::543b926d-baf3-4e4d-861e-19746c37446c" providerId="AD" clId="Web-{55E24F7C-4A0B-4A5F-A4F5-07EA3E521547}" dt="2023-03-12T15:24:14.490" v="598" actId="1076"/>
        <pc:sldMkLst>
          <pc:docMk/>
          <pc:sldMk cId="4251489337" sldId="454"/>
        </pc:sldMkLst>
        <pc:spChg chg="add mod">
          <ac:chgData name="Fourati, Omar" userId="S::oz48ohuv@fauad.fau.de::543b926d-baf3-4e4d-861e-19746c37446c" providerId="AD" clId="Web-{55E24F7C-4A0B-4A5F-A4F5-07EA3E521547}" dt="2023-03-12T14:48:59.687" v="141" actId="1076"/>
          <ac:spMkLst>
            <pc:docMk/>
            <pc:sldMk cId="4251489337" sldId="454"/>
            <ac:spMk id="5" creationId="{A720BF9A-FE50-4909-582B-ED6559D81489}"/>
          </ac:spMkLst>
        </pc:spChg>
        <pc:spChg chg="del">
          <ac:chgData name="Fourati, Omar" userId="S::oz48ohuv@fauad.fau.de::543b926d-baf3-4e4d-861e-19746c37446c" providerId="AD" clId="Web-{55E24F7C-4A0B-4A5F-A4F5-07EA3E521547}" dt="2023-03-12T14:32:16.968" v="26"/>
          <ac:spMkLst>
            <pc:docMk/>
            <pc:sldMk cId="4251489337" sldId="454"/>
            <ac:spMk id="7" creationId="{64A58B96-061C-2491-A7AD-2A24958DA2CB}"/>
          </ac:spMkLst>
        </pc:spChg>
        <pc:spChg chg="add mod">
          <ac:chgData name="Fourati, Omar" userId="S::oz48ohuv@fauad.fau.de::543b926d-baf3-4e4d-861e-19746c37446c" providerId="AD" clId="Web-{55E24F7C-4A0B-4A5F-A4F5-07EA3E521547}" dt="2023-03-12T14:49:05.531" v="142" actId="1076"/>
          <ac:spMkLst>
            <pc:docMk/>
            <pc:sldMk cId="4251489337" sldId="454"/>
            <ac:spMk id="8" creationId="{35AF47B7-F754-1332-3D21-A7901BC7F746}"/>
          </ac:spMkLst>
        </pc:spChg>
        <pc:spChg chg="add">
          <ac:chgData name="Fourati, Omar" userId="S::oz48ohuv@fauad.fau.de::543b926d-baf3-4e4d-861e-19746c37446c" providerId="AD" clId="Web-{55E24F7C-4A0B-4A5F-A4F5-07EA3E521547}" dt="2023-03-12T14:34:05.129" v="36"/>
          <ac:spMkLst>
            <pc:docMk/>
            <pc:sldMk cId="4251489337" sldId="454"/>
            <ac:spMk id="10" creationId="{F3FBBC89-1B56-CB45-3651-454BE5BE00AD}"/>
          </ac:spMkLst>
        </pc:spChg>
        <pc:spChg chg="add mod">
          <ac:chgData name="Fourati, Omar" userId="S::oz48ohuv@fauad.fau.de::543b926d-baf3-4e4d-861e-19746c37446c" providerId="AD" clId="Web-{55E24F7C-4A0B-4A5F-A4F5-07EA3E521547}" dt="2023-03-12T14:48:48.093" v="140" actId="20577"/>
          <ac:spMkLst>
            <pc:docMk/>
            <pc:sldMk cId="4251489337" sldId="454"/>
            <ac:spMk id="11" creationId="{318B7312-9E49-377E-6D95-00D0F5667CEE}"/>
          </ac:spMkLst>
        </pc:spChg>
        <pc:spChg chg="add mod">
          <ac:chgData name="Fourati, Omar" userId="S::oz48ohuv@fauad.fau.de::543b926d-baf3-4e4d-861e-19746c37446c" providerId="AD" clId="Web-{55E24F7C-4A0B-4A5F-A4F5-07EA3E521547}" dt="2023-03-12T14:54:26.591" v="175" actId="20577"/>
          <ac:spMkLst>
            <pc:docMk/>
            <pc:sldMk cId="4251489337" sldId="454"/>
            <ac:spMk id="15" creationId="{109D520C-056F-EF7D-F5FB-2B7D3B412D97}"/>
          </ac:spMkLst>
        </pc:spChg>
        <pc:spChg chg="add mod">
          <ac:chgData name="Fourati, Omar" userId="S::oz48ohuv@fauad.fau.de::543b926d-baf3-4e4d-861e-19746c37446c" providerId="AD" clId="Web-{55E24F7C-4A0B-4A5F-A4F5-07EA3E521547}" dt="2023-03-12T14:55:13.046" v="197" actId="20577"/>
          <ac:spMkLst>
            <pc:docMk/>
            <pc:sldMk cId="4251489337" sldId="454"/>
            <ac:spMk id="17" creationId="{7562C6FB-972A-4B5E-097B-A962ACBAFE39}"/>
          </ac:spMkLst>
        </pc:spChg>
        <pc:spChg chg="del">
          <ac:chgData name="Fourati, Omar" userId="S::oz48ohuv@fauad.fau.de::543b926d-baf3-4e4d-861e-19746c37446c" providerId="AD" clId="Web-{55E24F7C-4A0B-4A5F-A4F5-07EA3E521547}" dt="2023-03-12T14:33:31.143" v="35"/>
          <ac:spMkLst>
            <pc:docMk/>
            <pc:sldMk cId="4251489337" sldId="454"/>
            <ac:spMk id="18" creationId="{17C21921-7DC3-B935-A669-8198BCEACC21}"/>
          </ac:spMkLst>
        </pc:spChg>
        <pc:spChg chg="add mod">
          <ac:chgData name="Fourati, Omar" userId="S::oz48ohuv@fauad.fau.de::543b926d-baf3-4e4d-861e-19746c37446c" providerId="AD" clId="Web-{55E24F7C-4A0B-4A5F-A4F5-07EA3E521547}" dt="2023-03-12T14:57:50.677" v="220" actId="1076"/>
          <ac:spMkLst>
            <pc:docMk/>
            <pc:sldMk cId="4251489337" sldId="454"/>
            <ac:spMk id="19" creationId="{F60ED9E0-B6C3-4337-70E8-97BC7DCC4316}"/>
          </ac:spMkLst>
        </pc:spChg>
        <pc:spChg chg="add mod">
          <ac:chgData name="Fourati, Omar" userId="S::oz48ohuv@fauad.fau.de::543b926d-baf3-4e4d-861e-19746c37446c" providerId="AD" clId="Web-{55E24F7C-4A0B-4A5F-A4F5-07EA3E521547}" dt="2023-03-12T14:59:24.352" v="290" actId="1076"/>
          <ac:spMkLst>
            <pc:docMk/>
            <pc:sldMk cId="4251489337" sldId="454"/>
            <ac:spMk id="22" creationId="{5122196F-1E81-A6DB-63F1-B3807129D558}"/>
          </ac:spMkLst>
        </pc:spChg>
        <pc:spChg chg="add mod">
          <ac:chgData name="Fourati, Omar" userId="S::oz48ohuv@fauad.fau.de::543b926d-baf3-4e4d-861e-19746c37446c" providerId="AD" clId="Web-{55E24F7C-4A0B-4A5F-A4F5-07EA3E521547}" dt="2023-03-12T15:06:38.167" v="387" actId="1076"/>
          <ac:spMkLst>
            <pc:docMk/>
            <pc:sldMk cId="4251489337" sldId="454"/>
            <ac:spMk id="23" creationId="{868AE4EC-0828-26E7-EDE2-5D6C1EB331F0}"/>
          </ac:spMkLst>
        </pc:spChg>
        <pc:spChg chg="add mod">
          <ac:chgData name="Fourati, Omar" userId="S::oz48ohuv@fauad.fau.de::543b926d-baf3-4e4d-861e-19746c37446c" providerId="AD" clId="Web-{55E24F7C-4A0B-4A5F-A4F5-07EA3E521547}" dt="2023-03-12T15:06:45.995" v="388" actId="1076"/>
          <ac:spMkLst>
            <pc:docMk/>
            <pc:sldMk cId="4251489337" sldId="454"/>
            <ac:spMk id="24" creationId="{DF477B05-5DC9-F9E7-F840-706ED48C544A}"/>
          </ac:spMkLst>
        </pc:spChg>
        <pc:spChg chg="add del">
          <ac:chgData name="Fourati, Omar" userId="S::oz48ohuv@fauad.fau.de::543b926d-baf3-4e4d-861e-19746c37446c" providerId="AD" clId="Web-{55E24F7C-4A0B-4A5F-A4F5-07EA3E521547}" dt="2023-03-12T15:01:06.060" v="300"/>
          <ac:spMkLst>
            <pc:docMk/>
            <pc:sldMk cId="4251489337" sldId="454"/>
            <ac:spMk id="25" creationId="{4CE6B951-3857-775B-EAD6-290248D6B0C0}"/>
          </ac:spMkLst>
        </pc:spChg>
        <pc:spChg chg="add del">
          <ac:chgData name="Fourati, Omar" userId="S::oz48ohuv@fauad.fau.de::543b926d-baf3-4e4d-861e-19746c37446c" providerId="AD" clId="Web-{55E24F7C-4A0B-4A5F-A4F5-07EA3E521547}" dt="2023-03-12T15:01:06.060" v="299"/>
          <ac:spMkLst>
            <pc:docMk/>
            <pc:sldMk cId="4251489337" sldId="454"/>
            <ac:spMk id="26" creationId="{14525E34-E6E5-2988-CB42-1BE83EE67DA5}"/>
          </ac:spMkLst>
        </pc:spChg>
        <pc:spChg chg="add mod">
          <ac:chgData name="Fourati, Omar" userId="S::oz48ohuv@fauad.fau.de::543b926d-baf3-4e4d-861e-19746c37446c" providerId="AD" clId="Web-{55E24F7C-4A0B-4A5F-A4F5-07EA3E521547}" dt="2023-03-12T15:06:32.041" v="386" actId="14100"/>
          <ac:spMkLst>
            <pc:docMk/>
            <pc:sldMk cId="4251489337" sldId="454"/>
            <ac:spMk id="27" creationId="{7F848CEC-33EE-79C0-8841-F26E86444EBB}"/>
          </ac:spMkLst>
        </pc:spChg>
        <pc:spChg chg="add mod">
          <ac:chgData name="Fourati, Omar" userId="S::oz48ohuv@fauad.fau.de::543b926d-baf3-4e4d-861e-19746c37446c" providerId="AD" clId="Web-{55E24F7C-4A0B-4A5F-A4F5-07EA3E521547}" dt="2023-03-12T15:11:38.022" v="460" actId="14100"/>
          <ac:spMkLst>
            <pc:docMk/>
            <pc:sldMk cId="4251489337" sldId="454"/>
            <ac:spMk id="29" creationId="{466DF9F0-F8BC-1F8B-1F36-472A232FE9B4}"/>
          </ac:spMkLst>
        </pc:spChg>
        <pc:spChg chg="add mod">
          <ac:chgData name="Fourati, Omar" userId="S::oz48ohuv@fauad.fau.de::543b926d-baf3-4e4d-861e-19746c37446c" providerId="AD" clId="Web-{55E24F7C-4A0B-4A5F-A4F5-07EA3E521547}" dt="2023-03-12T15:13:57.762" v="536" actId="20577"/>
          <ac:spMkLst>
            <pc:docMk/>
            <pc:sldMk cId="4251489337" sldId="454"/>
            <ac:spMk id="32" creationId="{8830549D-E1E2-A393-ADB7-1929E2617298}"/>
          </ac:spMkLst>
        </pc:spChg>
        <pc:spChg chg="add mod">
          <ac:chgData name="Fourati, Omar" userId="S::oz48ohuv@fauad.fau.de::543b926d-baf3-4e4d-861e-19746c37446c" providerId="AD" clId="Web-{55E24F7C-4A0B-4A5F-A4F5-07EA3E521547}" dt="2023-03-12T15:20:55.966" v="597" actId="20577"/>
          <ac:spMkLst>
            <pc:docMk/>
            <pc:sldMk cId="4251489337" sldId="454"/>
            <ac:spMk id="34" creationId="{190AD40C-EDCD-5C71-E74D-52609D3E9725}"/>
          </ac:spMkLst>
        </pc:spChg>
        <pc:picChg chg="del">
          <ac:chgData name="Fourati, Omar" userId="S::oz48ohuv@fauad.fau.de::543b926d-baf3-4e4d-861e-19746c37446c" providerId="AD" clId="Web-{55E24F7C-4A0B-4A5F-A4F5-07EA3E521547}" dt="2023-03-12T14:33:12.111" v="33"/>
          <ac:picMkLst>
            <pc:docMk/>
            <pc:sldMk cId="4251489337" sldId="454"/>
            <ac:picMk id="2" creationId="{8E1E77F3-A832-68E6-1E2E-52797DD65C76}"/>
          </ac:picMkLst>
        </pc:picChg>
        <pc:picChg chg="del">
          <ac:chgData name="Fourati, Omar" userId="S::oz48ohuv@fauad.fau.de::543b926d-baf3-4e4d-861e-19746c37446c" providerId="AD" clId="Web-{55E24F7C-4A0B-4A5F-A4F5-07EA3E521547}" dt="2023-03-12T14:33:31.112" v="34"/>
          <ac:picMkLst>
            <pc:docMk/>
            <pc:sldMk cId="4251489337" sldId="454"/>
            <ac:picMk id="3" creationId="{1F00BB43-CD59-842D-79D9-920324157E46}"/>
          </ac:picMkLst>
        </pc:picChg>
        <pc:picChg chg="add mod">
          <ac:chgData name="Fourati, Omar" userId="S::oz48ohuv@fauad.fau.de::543b926d-baf3-4e4d-861e-19746c37446c" providerId="AD" clId="Web-{55E24F7C-4A0B-4A5F-A4F5-07EA3E521547}" dt="2023-03-12T15:11:42.523" v="462" actId="1076"/>
          <ac:picMkLst>
            <pc:docMk/>
            <pc:sldMk cId="4251489337" sldId="454"/>
            <ac:picMk id="28" creationId="{B813550F-84EE-1245-39FC-EF46D96107F7}"/>
          </ac:picMkLst>
        </pc:picChg>
        <pc:picChg chg="add del mod">
          <ac:chgData name="Fourati, Omar" userId="S::oz48ohuv@fauad.fau.de::543b926d-baf3-4e4d-861e-19746c37446c" providerId="AD" clId="Web-{55E24F7C-4A0B-4A5F-A4F5-07EA3E521547}" dt="2023-03-12T15:08:13.420" v="430"/>
          <ac:picMkLst>
            <pc:docMk/>
            <pc:sldMk cId="4251489337" sldId="454"/>
            <ac:picMk id="30" creationId="{2684D9D0-FDD5-60D9-B0B1-AF6729F3636E}"/>
          </ac:picMkLst>
        </pc:picChg>
        <pc:picChg chg="add mod">
          <ac:chgData name="Fourati, Omar" userId="S::oz48ohuv@fauad.fau.de::543b926d-baf3-4e4d-861e-19746c37446c" providerId="AD" clId="Web-{55E24F7C-4A0B-4A5F-A4F5-07EA3E521547}" dt="2023-03-12T15:11:40.601" v="461" actId="1076"/>
          <ac:picMkLst>
            <pc:docMk/>
            <pc:sldMk cId="4251489337" sldId="454"/>
            <ac:picMk id="31" creationId="{DD47AEF8-ED9D-8033-A3A8-D27440603988}"/>
          </ac:picMkLst>
        </pc:picChg>
        <pc:picChg chg="add mod">
          <ac:chgData name="Fourati, Omar" userId="S::oz48ohuv@fauad.fau.de::543b926d-baf3-4e4d-861e-19746c37446c" providerId="AD" clId="Web-{55E24F7C-4A0B-4A5F-A4F5-07EA3E521547}" dt="2023-03-12T15:24:14.490" v="598" actId="1076"/>
          <ac:picMkLst>
            <pc:docMk/>
            <pc:sldMk cId="4251489337" sldId="454"/>
            <ac:picMk id="33" creationId="{B0F1568D-78C0-DA77-C0B8-3566F0F740F9}"/>
          </ac:picMkLst>
        </pc:picChg>
        <pc:cxnChg chg="add mod">
          <ac:chgData name="Fourati, Omar" userId="S::oz48ohuv@fauad.fau.de::543b926d-baf3-4e4d-861e-19746c37446c" providerId="AD" clId="Web-{55E24F7C-4A0B-4A5F-A4F5-07EA3E521547}" dt="2023-03-12T14:54:35.716" v="178" actId="1076"/>
          <ac:cxnSpMkLst>
            <pc:docMk/>
            <pc:sldMk cId="4251489337" sldId="454"/>
            <ac:cxnSpMk id="13" creationId="{5EF73B04-8B0B-2009-BC8E-CDB68AC3D230}"/>
          </ac:cxnSpMkLst>
        </pc:cxnChg>
        <pc:cxnChg chg="add del mod">
          <ac:chgData name="Fourati, Omar" userId="S::oz48ohuv@fauad.fau.de::543b926d-baf3-4e4d-861e-19746c37446c" providerId="AD" clId="Web-{55E24F7C-4A0B-4A5F-A4F5-07EA3E521547}" dt="2023-03-12T14:54:32.044" v="177"/>
          <ac:cxnSpMkLst>
            <pc:docMk/>
            <pc:sldMk cId="4251489337" sldId="454"/>
            <ac:cxnSpMk id="14" creationId="{A52EC72C-C505-81B7-2008-421396EA7C4A}"/>
          </ac:cxnSpMkLst>
        </pc:cxnChg>
        <pc:cxnChg chg="add mod">
          <ac:chgData name="Fourati, Omar" userId="S::oz48ohuv@fauad.fau.de::543b926d-baf3-4e4d-861e-19746c37446c" providerId="AD" clId="Web-{55E24F7C-4A0B-4A5F-A4F5-07EA3E521547}" dt="2023-03-12T14:55:41.687" v="212" actId="14100"/>
          <ac:cxnSpMkLst>
            <pc:docMk/>
            <pc:sldMk cId="4251489337" sldId="454"/>
            <ac:cxnSpMk id="16" creationId="{A6C80A7B-1F12-8065-5675-EE87F5C2FEE1}"/>
          </ac:cxnSpMkLst>
        </pc:cxnChg>
        <pc:cxnChg chg="add del mod">
          <ac:chgData name="Fourati, Omar" userId="S::oz48ohuv@fauad.fau.de::543b926d-baf3-4e4d-861e-19746c37446c" providerId="AD" clId="Web-{55E24F7C-4A0B-4A5F-A4F5-07EA3E521547}" dt="2023-03-12T14:59:06.039" v="277"/>
          <ac:cxnSpMkLst>
            <pc:docMk/>
            <pc:sldMk cId="4251489337" sldId="454"/>
            <ac:cxnSpMk id="20" creationId="{668348D7-E334-D3B4-F351-CCE3A1C76F9A}"/>
          </ac:cxnSpMkLst>
        </pc:cxnChg>
        <pc:cxnChg chg="add mod">
          <ac:chgData name="Fourati, Omar" userId="S::oz48ohuv@fauad.fau.de::543b926d-baf3-4e4d-861e-19746c37446c" providerId="AD" clId="Web-{55E24F7C-4A0B-4A5F-A4F5-07EA3E521547}" dt="2023-03-12T14:59:12.571" v="279" actId="1076"/>
          <ac:cxnSpMkLst>
            <pc:docMk/>
            <pc:sldMk cId="4251489337" sldId="454"/>
            <ac:cxnSpMk id="21" creationId="{9CCFDD99-F0E2-3ABA-CBB9-A8CB4393D261}"/>
          </ac:cxnSpMkLst>
        </pc:cxnChg>
      </pc:sldChg>
      <pc:sldChg chg="addSp delSp modSp delCm modCm">
        <pc:chgData name="Fourati, Omar" userId="S::oz48ohuv@fauad.fau.de::543b926d-baf3-4e4d-861e-19746c37446c" providerId="AD" clId="Web-{55E24F7C-4A0B-4A5F-A4F5-07EA3E521547}" dt="2023-03-12T16:08:08.282" v="1357" actId="14100"/>
        <pc:sldMkLst>
          <pc:docMk/>
          <pc:sldMk cId="634732272" sldId="458"/>
        </pc:sldMkLst>
        <pc:spChg chg="add mod">
          <ac:chgData name="Fourati, Omar" userId="S::oz48ohuv@fauad.fau.de::543b926d-baf3-4e4d-861e-19746c37446c" providerId="AD" clId="Web-{55E24F7C-4A0B-4A5F-A4F5-07EA3E521547}" dt="2023-03-12T16:06:10.793" v="1356" actId="1076"/>
          <ac:spMkLst>
            <pc:docMk/>
            <pc:sldMk cId="634732272" sldId="458"/>
            <ac:spMk id="2" creationId="{43D8B240-1629-E169-EE71-AB2BD3929CAF}"/>
          </ac:spMkLst>
        </pc:spChg>
        <pc:spChg chg="mod">
          <ac:chgData name="Fourati, Omar" userId="S::oz48ohuv@fauad.fau.de::543b926d-baf3-4e4d-861e-19746c37446c" providerId="AD" clId="Web-{55E24F7C-4A0B-4A5F-A4F5-07EA3E521547}" dt="2023-03-12T16:08:08.282" v="1357" actId="14100"/>
          <ac:spMkLst>
            <pc:docMk/>
            <pc:sldMk cId="634732272" sldId="458"/>
            <ac:spMk id="4" creationId="{620F3424-E32B-4DE8-BF4D-4918B7628D43}"/>
          </ac:spMkLst>
        </pc:spChg>
        <pc:spChg chg="mod">
          <ac:chgData name="Fourati, Omar" userId="S::oz48ohuv@fauad.fau.de::543b926d-baf3-4e4d-861e-19746c37446c" providerId="AD" clId="Web-{55E24F7C-4A0B-4A5F-A4F5-07EA3E521547}" dt="2023-03-12T15:45:04.118" v="1049" actId="20577"/>
          <ac:spMkLst>
            <pc:docMk/>
            <pc:sldMk cId="634732272" sldId="458"/>
            <ac:spMk id="6" creationId="{1CC6A956-A954-4940-A619-381D56C1A856}"/>
          </ac:spMkLst>
        </pc:spChg>
        <pc:spChg chg="mod">
          <ac:chgData name="Fourati, Omar" userId="S::oz48ohuv@fauad.fau.de::543b926d-baf3-4e4d-861e-19746c37446c" providerId="AD" clId="Web-{55E24F7C-4A0B-4A5F-A4F5-07EA3E521547}" dt="2023-03-12T16:05:55.105" v="1352" actId="20577"/>
          <ac:spMkLst>
            <pc:docMk/>
            <pc:sldMk cId="634732272" sldId="458"/>
            <ac:spMk id="7" creationId="{A2FADCE3-E850-4784-8F2E-D7BF01E4852E}"/>
          </ac:spMkLst>
        </pc:spChg>
        <pc:spChg chg="mod">
          <ac:chgData name="Fourati, Omar" userId="S::oz48ohuv@fauad.fau.de::543b926d-baf3-4e4d-861e-19746c37446c" providerId="AD" clId="Web-{55E24F7C-4A0B-4A5F-A4F5-07EA3E521547}" dt="2023-03-12T15:48:08.250" v="1065" actId="20577"/>
          <ac:spMkLst>
            <pc:docMk/>
            <pc:sldMk cId="634732272" sldId="458"/>
            <ac:spMk id="9" creationId="{06E69EF6-5F75-EF00-A656-2EF79BFF6CB7}"/>
          </ac:spMkLst>
        </pc:spChg>
        <pc:spChg chg="del mod">
          <ac:chgData name="Fourati, Omar" userId="S::oz48ohuv@fauad.fau.de::543b926d-baf3-4e4d-861e-19746c37446c" providerId="AD" clId="Web-{55E24F7C-4A0B-4A5F-A4F5-07EA3E521547}" dt="2023-03-12T16:05:56.418" v="1353"/>
          <ac:spMkLst>
            <pc:docMk/>
            <pc:sldMk cId="634732272" sldId="458"/>
            <ac:spMk id="13" creationId="{CCFD94EF-8A4B-1B70-B6D3-C7A5ED72BC14}"/>
          </ac:spMkLst>
        </pc:spChg>
        <pc:spChg chg="mod">
          <ac:chgData name="Fourati, Omar" userId="S::oz48ohuv@fauad.fau.de::543b926d-baf3-4e4d-861e-19746c37446c" providerId="AD" clId="Web-{55E24F7C-4A0B-4A5F-A4F5-07EA3E521547}" dt="2023-03-12T15:44:27.679" v="1014" actId="20577"/>
          <ac:spMkLst>
            <pc:docMk/>
            <pc:sldMk cId="634732272" sldId="458"/>
            <ac:spMk id="19" creationId="{9C574363-8D56-4907-88DB-F19E396AEB20}"/>
          </ac:spMkLst>
        </pc:spChg>
        <pc:spChg chg="mod">
          <ac:chgData name="Fourati, Omar" userId="S::oz48ohuv@fauad.fau.de::543b926d-baf3-4e4d-861e-19746c37446c" providerId="AD" clId="Web-{55E24F7C-4A0B-4A5F-A4F5-07EA3E521547}" dt="2023-03-12T16:05:37.823" v="1345" actId="20577"/>
          <ac:spMkLst>
            <pc:docMk/>
            <pc:sldMk cId="634732272" sldId="458"/>
            <ac:spMk id="20" creationId="{2AD08722-C387-44A0-8955-313CD959C971}"/>
          </ac:spMkLst>
        </pc:spChg>
        <pc:spChg chg="mod">
          <ac:chgData name="Fourati, Omar" userId="S::oz48ohuv@fauad.fau.de::543b926d-baf3-4e4d-861e-19746c37446c" providerId="AD" clId="Web-{55E24F7C-4A0B-4A5F-A4F5-07EA3E521547}" dt="2023-03-12T16:01:56.705" v="1263" actId="14100"/>
          <ac:spMkLst>
            <pc:docMk/>
            <pc:sldMk cId="634732272" sldId="458"/>
            <ac:spMk id="21" creationId="{03AEB1A7-4A22-4EA3-B891-8CE774B86F7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Fourati, Omar" userId="S::oz48ohuv@fauad.fau.de::543b926d-baf3-4e4d-861e-19746c37446c" providerId="AD" clId="Web-{55E24F7C-4A0B-4A5F-A4F5-07EA3E521547}" dt="2023-03-12T15:45:07.681" v="1050"/>
              <pc2:cmMkLst xmlns:pc2="http://schemas.microsoft.com/office/powerpoint/2019/9/main/command">
                <pc:docMk/>
                <pc:sldMk cId="634732272" sldId="458"/>
                <pc2:cmMk id="{46F21FBF-F394-43D7-B180-2C1D64EC012D}"/>
              </pc2:cmMkLst>
            </pc226:cmChg>
            <pc226:cmChg xmlns:pc226="http://schemas.microsoft.com/office/powerpoint/2022/06/main/command" chg="del">
              <pc226:chgData name="Fourati, Omar" userId="S::oz48ohuv@fauad.fau.de::543b926d-baf3-4e4d-861e-19746c37446c" providerId="AD" clId="Web-{55E24F7C-4A0B-4A5F-A4F5-07EA3E521547}" dt="2023-03-12T15:44:53.367" v="1041"/>
              <pc2:cmMkLst xmlns:pc2="http://schemas.microsoft.com/office/powerpoint/2019/9/main/command">
                <pc:docMk/>
                <pc:sldMk cId="634732272" sldId="458"/>
                <pc2:cmMk id="{AF054BE5-CA0E-45D9-A768-F7AA369561C0}"/>
              </pc2:cmMkLst>
            </pc226:cmChg>
            <pc226:cmChg xmlns:pc226="http://schemas.microsoft.com/office/powerpoint/2022/06/main/command" chg="mod">
              <pc226:chgData name="Fourati, Omar" userId="S::oz48ohuv@fauad.fau.de::543b926d-baf3-4e4d-861e-19746c37446c" providerId="AD" clId="Web-{55E24F7C-4A0B-4A5F-A4F5-07EA3E521547}" dt="2023-03-12T16:04:33.430" v="1344" actId="20577"/>
              <pc2:cmMkLst xmlns:pc2="http://schemas.microsoft.com/office/powerpoint/2019/9/main/command">
                <pc:docMk/>
                <pc:sldMk cId="634732272" sldId="458"/>
                <pc2:cmMk id="{FC456CF9-A427-4FA3-A8FF-F887655498C9}"/>
              </pc2:cmMkLst>
            </pc226:cmChg>
          </p:ext>
        </pc:extLst>
      </pc:sldChg>
      <pc:sldChg chg="addSp delSp modSp add replId">
        <pc:chgData name="Fourati, Omar" userId="S::oz48ohuv@fauad.fau.de::543b926d-baf3-4e4d-861e-19746c37446c" providerId="AD" clId="Web-{55E24F7C-4A0B-4A5F-A4F5-07EA3E521547}" dt="2023-03-12T15:43:39.943" v="1002" actId="1076"/>
        <pc:sldMkLst>
          <pc:docMk/>
          <pc:sldMk cId="2567389131" sldId="470"/>
        </pc:sldMkLst>
        <pc:spChg chg="add mod">
          <ac:chgData name="Fourati, Omar" userId="S::oz48ohuv@fauad.fau.de::543b926d-baf3-4e4d-861e-19746c37446c" providerId="AD" clId="Web-{55E24F7C-4A0B-4A5F-A4F5-07EA3E521547}" dt="2023-03-12T15:33:06.308" v="702" actId="20577"/>
          <ac:spMkLst>
            <pc:docMk/>
            <pc:sldMk cId="2567389131" sldId="470"/>
            <ac:spMk id="2" creationId="{6CBE70F0-DFF5-CEC5-4769-FE7D800CDC83}"/>
          </ac:spMkLst>
        </pc:spChg>
        <pc:spChg chg="add mod">
          <ac:chgData name="Fourati, Omar" userId="S::oz48ohuv@fauad.fau.de::543b926d-baf3-4e4d-861e-19746c37446c" providerId="AD" clId="Web-{55E24F7C-4A0B-4A5F-A4F5-07EA3E521547}" dt="2023-03-12T15:35:17.345" v="851" actId="1076"/>
          <ac:spMkLst>
            <pc:docMk/>
            <pc:sldMk cId="2567389131" sldId="470"/>
            <ac:spMk id="3" creationId="{DFA9F9C7-26D1-2F39-CEE6-1AE16C453104}"/>
          </ac:spMkLst>
        </pc:spChg>
        <pc:spChg chg="mod">
          <ac:chgData name="Fourati, Omar" userId="S::oz48ohuv@fauad.fau.de::543b926d-baf3-4e4d-861e-19746c37446c" providerId="AD" clId="Web-{55E24F7C-4A0B-4A5F-A4F5-07EA3E521547}" dt="2023-03-12T15:24:24.022" v="599" actId="14100"/>
          <ac:spMkLst>
            <pc:docMk/>
            <pc:sldMk cId="2567389131" sldId="470"/>
            <ac:spMk id="4" creationId="{620F3424-E32B-4DE8-BF4D-4918B7628D43}"/>
          </ac:spMkLst>
        </pc:spChg>
        <pc:spChg chg="del">
          <ac:chgData name="Fourati, Omar" userId="S::oz48ohuv@fauad.fau.de::543b926d-baf3-4e4d-861e-19746c37446c" providerId="AD" clId="Web-{55E24F7C-4A0B-4A5F-A4F5-07EA3E521547}" dt="2023-03-12T15:14:27.170" v="550"/>
          <ac:spMkLst>
            <pc:docMk/>
            <pc:sldMk cId="2567389131" sldId="470"/>
            <ac:spMk id="5" creationId="{A720BF9A-FE50-4909-582B-ED6559D81489}"/>
          </ac:spMkLst>
        </pc:spChg>
        <pc:spChg chg="mod">
          <ac:chgData name="Fourati, Omar" userId="S::oz48ohuv@fauad.fau.de::543b926d-baf3-4e4d-861e-19746c37446c" providerId="AD" clId="Web-{55E24F7C-4A0B-4A5F-A4F5-07EA3E521547}" dt="2023-03-12T15:43:39.943" v="1002" actId="1076"/>
          <ac:spMkLst>
            <pc:docMk/>
            <pc:sldMk cId="2567389131" sldId="470"/>
            <ac:spMk id="6" creationId="{1CC6A956-A954-4940-A619-381D56C1A856}"/>
          </ac:spMkLst>
        </pc:spChg>
        <pc:spChg chg="add mod">
          <ac:chgData name="Fourati, Omar" userId="S::oz48ohuv@fauad.fau.de::543b926d-baf3-4e4d-861e-19746c37446c" providerId="AD" clId="Web-{55E24F7C-4A0B-4A5F-A4F5-07EA3E521547}" dt="2023-03-12T15:35:13.922" v="850" actId="20577"/>
          <ac:spMkLst>
            <pc:docMk/>
            <pc:sldMk cId="2567389131" sldId="470"/>
            <ac:spMk id="7" creationId="{7AC75E72-BBB5-C028-8864-D284DD838320}"/>
          </ac:spMkLst>
        </pc:spChg>
        <pc:spChg chg="del">
          <ac:chgData name="Fourati, Omar" userId="S::oz48ohuv@fauad.fau.de::543b926d-baf3-4e4d-861e-19746c37446c" providerId="AD" clId="Web-{55E24F7C-4A0B-4A5F-A4F5-07EA3E521547}" dt="2023-03-12T15:14:27.170" v="549"/>
          <ac:spMkLst>
            <pc:docMk/>
            <pc:sldMk cId="2567389131" sldId="470"/>
            <ac:spMk id="8" creationId="{35AF47B7-F754-1332-3D21-A7901BC7F746}"/>
          </ac:spMkLst>
        </pc:spChg>
        <pc:spChg chg="del">
          <ac:chgData name="Fourati, Omar" userId="S::oz48ohuv@fauad.fau.de::543b926d-baf3-4e4d-861e-19746c37446c" providerId="AD" clId="Web-{55E24F7C-4A0B-4A5F-A4F5-07EA3E521547}" dt="2023-03-12T15:14:27.170" v="548"/>
          <ac:spMkLst>
            <pc:docMk/>
            <pc:sldMk cId="2567389131" sldId="470"/>
            <ac:spMk id="10" creationId="{F3FBBC89-1B56-CB45-3651-454BE5BE00AD}"/>
          </ac:spMkLst>
        </pc:spChg>
        <pc:spChg chg="del">
          <ac:chgData name="Fourati, Omar" userId="S::oz48ohuv@fauad.fau.de::543b926d-baf3-4e4d-861e-19746c37446c" providerId="AD" clId="Web-{55E24F7C-4A0B-4A5F-A4F5-07EA3E521547}" dt="2023-03-12T15:14:27.170" v="547"/>
          <ac:spMkLst>
            <pc:docMk/>
            <pc:sldMk cId="2567389131" sldId="470"/>
            <ac:spMk id="11" creationId="{318B7312-9E49-377E-6D95-00D0F5667CEE}"/>
          </ac:spMkLst>
        </pc:spChg>
        <pc:spChg chg="add mod">
          <ac:chgData name="Fourati, Omar" userId="S::oz48ohuv@fauad.fau.de::543b926d-baf3-4e4d-861e-19746c37446c" providerId="AD" clId="Web-{55E24F7C-4A0B-4A5F-A4F5-07EA3E521547}" dt="2023-03-12T15:37:15.443" v="923" actId="20577"/>
          <ac:spMkLst>
            <pc:docMk/>
            <pc:sldMk cId="2567389131" sldId="470"/>
            <ac:spMk id="12" creationId="{099E561C-36DA-E517-FDF9-D66621046F5B}"/>
          </ac:spMkLst>
        </pc:spChg>
        <pc:spChg chg="add mod">
          <ac:chgData name="Fourati, Omar" userId="S::oz48ohuv@fauad.fau.de::543b926d-baf3-4e4d-861e-19746c37446c" providerId="AD" clId="Web-{55E24F7C-4A0B-4A5F-A4F5-07EA3E521547}" dt="2023-03-12T15:41:01.499" v="997" actId="20577"/>
          <ac:spMkLst>
            <pc:docMk/>
            <pc:sldMk cId="2567389131" sldId="470"/>
            <ac:spMk id="14" creationId="{A099F373-3CCA-4786-9831-D4ED40ECE736}"/>
          </ac:spMkLst>
        </pc:spChg>
        <pc:spChg chg="del">
          <ac:chgData name="Fourati, Omar" userId="S::oz48ohuv@fauad.fau.de::543b926d-baf3-4e4d-861e-19746c37446c" providerId="AD" clId="Web-{55E24F7C-4A0B-4A5F-A4F5-07EA3E521547}" dt="2023-03-12T15:14:27.170" v="545"/>
          <ac:spMkLst>
            <pc:docMk/>
            <pc:sldMk cId="2567389131" sldId="470"/>
            <ac:spMk id="15" creationId="{109D520C-056F-EF7D-F5FB-2B7D3B412D97}"/>
          </ac:spMkLst>
        </pc:spChg>
        <pc:spChg chg="del">
          <ac:chgData name="Fourati, Omar" userId="S::oz48ohuv@fauad.fau.de::543b926d-baf3-4e4d-861e-19746c37446c" providerId="AD" clId="Web-{55E24F7C-4A0B-4A5F-A4F5-07EA3E521547}" dt="2023-03-12T15:14:32.857" v="555"/>
          <ac:spMkLst>
            <pc:docMk/>
            <pc:sldMk cId="2567389131" sldId="470"/>
            <ac:spMk id="17" creationId="{7562C6FB-972A-4B5E-097B-A962ACBAFE39}"/>
          </ac:spMkLst>
        </pc:spChg>
        <pc:spChg chg="del">
          <ac:chgData name="Fourati, Omar" userId="S::oz48ohuv@fauad.fau.de::543b926d-baf3-4e4d-861e-19746c37446c" providerId="AD" clId="Web-{55E24F7C-4A0B-4A5F-A4F5-07EA3E521547}" dt="2023-03-12T15:14:27.170" v="543"/>
          <ac:spMkLst>
            <pc:docMk/>
            <pc:sldMk cId="2567389131" sldId="470"/>
            <ac:spMk id="19" creationId="{F60ED9E0-B6C3-4337-70E8-97BC7DCC4316}"/>
          </ac:spMkLst>
        </pc:spChg>
        <pc:spChg chg="del">
          <ac:chgData name="Fourati, Omar" userId="S::oz48ohuv@fauad.fau.de::543b926d-baf3-4e4d-861e-19746c37446c" providerId="AD" clId="Web-{55E24F7C-4A0B-4A5F-A4F5-07EA3E521547}" dt="2023-03-12T15:14:27.170" v="541"/>
          <ac:spMkLst>
            <pc:docMk/>
            <pc:sldMk cId="2567389131" sldId="470"/>
            <ac:spMk id="22" creationId="{5122196F-1E81-A6DB-63F1-B3807129D558}"/>
          </ac:spMkLst>
        </pc:spChg>
        <pc:spChg chg="del">
          <ac:chgData name="Fourati, Omar" userId="S::oz48ohuv@fauad.fau.de::543b926d-baf3-4e4d-861e-19746c37446c" providerId="AD" clId="Web-{55E24F7C-4A0B-4A5F-A4F5-07EA3E521547}" dt="2023-03-12T15:14:32.857" v="554"/>
          <ac:spMkLst>
            <pc:docMk/>
            <pc:sldMk cId="2567389131" sldId="470"/>
            <ac:spMk id="23" creationId="{868AE4EC-0828-26E7-EDE2-5D6C1EB331F0}"/>
          </ac:spMkLst>
        </pc:spChg>
        <pc:spChg chg="del">
          <ac:chgData name="Fourati, Omar" userId="S::oz48ohuv@fauad.fau.de::543b926d-baf3-4e4d-861e-19746c37446c" providerId="AD" clId="Web-{55E24F7C-4A0B-4A5F-A4F5-07EA3E521547}" dt="2023-03-12T15:14:27.170" v="540"/>
          <ac:spMkLst>
            <pc:docMk/>
            <pc:sldMk cId="2567389131" sldId="470"/>
            <ac:spMk id="24" creationId="{DF477B05-5DC9-F9E7-F840-706ED48C544A}"/>
          </ac:spMkLst>
        </pc:spChg>
        <pc:spChg chg="del">
          <ac:chgData name="Fourati, Omar" userId="S::oz48ohuv@fauad.fau.de::543b926d-baf3-4e4d-861e-19746c37446c" providerId="AD" clId="Web-{55E24F7C-4A0B-4A5F-A4F5-07EA3E521547}" dt="2023-03-12T15:14:32.857" v="553"/>
          <ac:spMkLst>
            <pc:docMk/>
            <pc:sldMk cId="2567389131" sldId="470"/>
            <ac:spMk id="27" creationId="{7F848CEC-33EE-79C0-8841-F26E86444EBB}"/>
          </ac:spMkLst>
        </pc:spChg>
        <pc:spChg chg="del">
          <ac:chgData name="Fourati, Omar" userId="S::oz48ohuv@fauad.fau.de::543b926d-baf3-4e4d-861e-19746c37446c" providerId="AD" clId="Web-{55E24F7C-4A0B-4A5F-A4F5-07EA3E521547}" dt="2023-03-12T15:14:27.170" v="538"/>
          <ac:spMkLst>
            <pc:docMk/>
            <pc:sldMk cId="2567389131" sldId="470"/>
            <ac:spMk id="29" creationId="{466DF9F0-F8BC-1F8B-1F36-472A232FE9B4}"/>
          </ac:spMkLst>
        </pc:spChg>
        <pc:spChg chg="del">
          <ac:chgData name="Fourati, Omar" userId="S::oz48ohuv@fauad.fau.de::543b926d-baf3-4e4d-861e-19746c37446c" providerId="AD" clId="Web-{55E24F7C-4A0B-4A5F-A4F5-07EA3E521547}" dt="2023-03-12T15:14:32.857" v="551"/>
          <ac:spMkLst>
            <pc:docMk/>
            <pc:sldMk cId="2567389131" sldId="470"/>
            <ac:spMk id="32" creationId="{8830549D-E1E2-A393-ADB7-1929E2617298}"/>
          </ac:spMkLst>
        </pc:spChg>
        <pc:picChg chg="add mod">
          <ac:chgData name="Fourati, Omar" userId="S::oz48ohuv@fauad.fau.de::543b926d-baf3-4e4d-861e-19746c37446c" providerId="AD" clId="Web-{55E24F7C-4A0B-4A5F-A4F5-07EA3E521547}" dt="2023-03-12T15:43:35.505" v="1001" actId="1076"/>
          <ac:picMkLst>
            <pc:docMk/>
            <pc:sldMk cId="2567389131" sldId="470"/>
            <ac:picMk id="18" creationId="{49E40777-857C-6E44-7AF1-4F159F5F9188}"/>
          </ac:picMkLst>
        </pc:picChg>
        <pc:picChg chg="del">
          <ac:chgData name="Fourati, Omar" userId="S::oz48ohuv@fauad.fau.de::543b926d-baf3-4e4d-861e-19746c37446c" providerId="AD" clId="Web-{55E24F7C-4A0B-4A5F-A4F5-07EA3E521547}" dt="2023-03-12T15:14:27.170" v="539"/>
          <ac:picMkLst>
            <pc:docMk/>
            <pc:sldMk cId="2567389131" sldId="470"/>
            <ac:picMk id="28" creationId="{B813550F-84EE-1245-39FC-EF46D96107F7}"/>
          </ac:picMkLst>
        </pc:picChg>
        <pc:picChg chg="del">
          <ac:chgData name="Fourati, Omar" userId="S::oz48ohuv@fauad.fau.de::543b926d-baf3-4e4d-861e-19746c37446c" providerId="AD" clId="Web-{55E24F7C-4A0B-4A5F-A4F5-07EA3E521547}" dt="2023-03-12T15:14:32.857" v="552"/>
          <ac:picMkLst>
            <pc:docMk/>
            <pc:sldMk cId="2567389131" sldId="470"/>
            <ac:picMk id="31" creationId="{DD47AEF8-ED9D-8033-A3A8-D27440603988}"/>
          </ac:picMkLst>
        </pc:picChg>
        <pc:cxnChg chg="del">
          <ac:chgData name="Fourati, Omar" userId="S::oz48ohuv@fauad.fau.de::543b926d-baf3-4e4d-861e-19746c37446c" providerId="AD" clId="Web-{55E24F7C-4A0B-4A5F-A4F5-07EA3E521547}" dt="2023-03-12T15:14:27.170" v="546"/>
          <ac:cxnSpMkLst>
            <pc:docMk/>
            <pc:sldMk cId="2567389131" sldId="470"/>
            <ac:cxnSpMk id="13" creationId="{5EF73B04-8B0B-2009-BC8E-CDB68AC3D230}"/>
          </ac:cxnSpMkLst>
        </pc:cxnChg>
        <pc:cxnChg chg="del">
          <ac:chgData name="Fourati, Omar" userId="S::oz48ohuv@fauad.fau.de::543b926d-baf3-4e4d-861e-19746c37446c" providerId="AD" clId="Web-{55E24F7C-4A0B-4A5F-A4F5-07EA3E521547}" dt="2023-03-12T15:14:27.170" v="544"/>
          <ac:cxnSpMkLst>
            <pc:docMk/>
            <pc:sldMk cId="2567389131" sldId="470"/>
            <ac:cxnSpMk id="16" creationId="{A6C80A7B-1F12-8065-5675-EE87F5C2FEE1}"/>
          </ac:cxnSpMkLst>
        </pc:cxnChg>
        <pc:cxnChg chg="del">
          <ac:chgData name="Fourati, Omar" userId="S::oz48ohuv@fauad.fau.de::543b926d-baf3-4e4d-861e-19746c37446c" providerId="AD" clId="Web-{55E24F7C-4A0B-4A5F-A4F5-07EA3E521547}" dt="2023-03-12T15:14:27.170" v="542"/>
          <ac:cxnSpMkLst>
            <pc:docMk/>
            <pc:sldMk cId="2567389131" sldId="470"/>
            <ac:cxnSpMk id="21" creationId="{9CCFDD99-F0E2-3ABA-CBB9-A8CB4393D261}"/>
          </ac:cxnSpMkLst>
        </pc:cxnChg>
      </pc:sldChg>
    </pc:docChg>
  </pc:docChgLst>
  <pc:docChgLst>
    <pc:chgData name="Fourati, Omar" userId="S::oz48ohuv@fauad.fau.de::543b926d-baf3-4e4d-861e-19746c37446c" providerId="AD" clId="Web-{9E4D1501-DA19-4956-A000-A653A3F9B3AF}"/>
    <pc:docChg chg="modSld">
      <pc:chgData name="Fourati, Omar" userId="S::oz48ohuv@fauad.fau.de::543b926d-baf3-4e4d-861e-19746c37446c" providerId="AD" clId="Web-{9E4D1501-DA19-4956-A000-A653A3F9B3AF}" dt="2023-03-12T21:28:15.923" v="187" actId="20577"/>
      <pc:docMkLst>
        <pc:docMk/>
      </pc:docMkLst>
      <pc:sldChg chg="delSp modSp modCm">
        <pc:chgData name="Fourati, Omar" userId="S::oz48ohuv@fauad.fau.de::543b926d-baf3-4e4d-861e-19746c37446c" providerId="AD" clId="Web-{9E4D1501-DA19-4956-A000-A653A3F9B3AF}" dt="2023-03-12T21:28:15.923" v="187" actId="20577"/>
        <pc:sldMkLst>
          <pc:docMk/>
          <pc:sldMk cId="634732272" sldId="458"/>
        </pc:sldMkLst>
        <pc:spChg chg="del">
          <ac:chgData name="Fourati, Omar" userId="S::oz48ohuv@fauad.fau.de::543b926d-baf3-4e4d-861e-19746c37446c" providerId="AD" clId="Web-{9E4D1501-DA19-4956-A000-A653A3F9B3AF}" dt="2023-03-12T21:22:17.973" v="70"/>
          <ac:spMkLst>
            <pc:docMk/>
            <pc:sldMk cId="634732272" sldId="458"/>
            <ac:spMk id="2" creationId="{43D8B240-1629-E169-EE71-AB2BD3929CAF}"/>
          </ac:spMkLst>
        </pc:spChg>
        <pc:spChg chg="del">
          <ac:chgData name="Fourati, Omar" userId="S::oz48ohuv@fauad.fau.de::543b926d-baf3-4e4d-861e-19746c37446c" providerId="AD" clId="Web-{9E4D1501-DA19-4956-A000-A653A3F9B3AF}" dt="2023-03-12T21:22:17.973" v="69"/>
          <ac:spMkLst>
            <pc:docMk/>
            <pc:sldMk cId="634732272" sldId="458"/>
            <ac:spMk id="3" creationId="{83D95EDE-35B4-B8D3-18D4-F5B20590716A}"/>
          </ac:spMkLst>
        </pc:spChg>
        <pc:spChg chg="mod">
          <ac:chgData name="Fourati, Omar" userId="S::oz48ohuv@fauad.fau.de::543b926d-baf3-4e4d-861e-19746c37446c" providerId="AD" clId="Web-{9E4D1501-DA19-4956-A000-A653A3F9B3AF}" dt="2023-03-12T21:28:15.923" v="187" actId="20577"/>
          <ac:spMkLst>
            <pc:docMk/>
            <pc:sldMk cId="634732272" sldId="458"/>
            <ac:spMk id="6" creationId="{1CC6A956-A954-4940-A619-381D56C1A856}"/>
          </ac:spMkLst>
        </pc:spChg>
        <pc:spChg chg="mod">
          <ac:chgData name="Fourati, Omar" userId="S::oz48ohuv@fauad.fau.de::543b926d-baf3-4e4d-861e-19746c37446c" providerId="AD" clId="Web-{9E4D1501-DA19-4956-A000-A653A3F9B3AF}" dt="2023-03-12T21:28:04.376" v="185" actId="20577"/>
          <ac:spMkLst>
            <pc:docMk/>
            <pc:sldMk cId="634732272" sldId="458"/>
            <ac:spMk id="7" creationId="{A2FADCE3-E850-4784-8F2E-D7BF01E4852E}"/>
          </ac:spMkLst>
        </pc:spChg>
        <pc:spChg chg="del">
          <ac:chgData name="Fourati, Omar" userId="S::oz48ohuv@fauad.fau.de::543b926d-baf3-4e4d-861e-19746c37446c" providerId="AD" clId="Web-{9E4D1501-DA19-4956-A000-A653A3F9B3AF}" dt="2023-03-12T21:22:17.973" v="72"/>
          <ac:spMkLst>
            <pc:docMk/>
            <pc:sldMk cId="634732272" sldId="458"/>
            <ac:spMk id="8" creationId="{D77BA092-77CE-A6B8-F8C8-B4C49350BFAA}"/>
          </ac:spMkLst>
        </pc:spChg>
        <pc:spChg chg="del mod">
          <ac:chgData name="Fourati, Omar" userId="S::oz48ohuv@fauad.fau.de::543b926d-baf3-4e4d-861e-19746c37446c" providerId="AD" clId="Web-{9E4D1501-DA19-4956-A000-A653A3F9B3AF}" dt="2023-03-12T21:22:17.973" v="71"/>
          <ac:spMkLst>
            <pc:docMk/>
            <pc:sldMk cId="634732272" sldId="458"/>
            <ac:spMk id="10" creationId="{62DCCDA5-4D22-2FBA-E491-7DBC17CCC5D3}"/>
          </ac:spMkLst>
        </pc:spChg>
        <pc:spChg chg="del">
          <ac:chgData name="Fourati, Omar" userId="S::oz48ohuv@fauad.fau.de::543b926d-baf3-4e4d-861e-19746c37446c" providerId="AD" clId="Web-{9E4D1501-DA19-4956-A000-A653A3F9B3AF}" dt="2023-03-12T21:22:11.551" v="68"/>
          <ac:spMkLst>
            <pc:docMk/>
            <pc:sldMk cId="634732272" sldId="458"/>
            <ac:spMk id="11" creationId="{2CD9DC8D-81D0-946B-4502-23E8F159A816}"/>
          </ac:spMkLst>
        </pc:spChg>
        <pc:spChg chg="mod">
          <ac:chgData name="Fourati, Omar" userId="S::oz48ohuv@fauad.fau.de::543b926d-baf3-4e4d-861e-19746c37446c" providerId="AD" clId="Web-{9E4D1501-DA19-4956-A000-A653A3F9B3AF}" dt="2023-03-12T21:27:49" v="180" actId="20577"/>
          <ac:spMkLst>
            <pc:docMk/>
            <pc:sldMk cId="634732272" sldId="458"/>
            <ac:spMk id="20" creationId="{2AD08722-C387-44A0-8955-313CD959C97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Fourati, Omar" userId="S::oz48ohuv@fauad.fau.de::543b926d-baf3-4e4d-861e-19746c37446c" providerId="AD" clId="Web-{9E4D1501-DA19-4956-A000-A653A3F9B3AF}" dt="2023-03-12T21:28:04.376" v="185" actId="20577"/>
              <pc2:cmMkLst xmlns:pc2="http://schemas.microsoft.com/office/powerpoint/2019/9/main/command">
                <pc:docMk/>
                <pc:sldMk cId="634732272" sldId="458"/>
                <pc2:cmMk id="{DBEAE10B-61D3-4363-9172-86A46C20023A}"/>
              </pc2:cmMkLst>
            </pc226:cmChg>
            <pc226:cmChg xmlns:pc226="http://schemas.microsoft.com/office/powerpoint/2022/06/main/command" chg="mod">
              <pc226:chgData name="Fourati, Omar" userId="S::oz48ohuv@fauad.fau.de::543b926d-baf3-4e4d-861e-19746c37446c" providerId="AD" clId="Web-{9E4D1501-DA19-4956-A000-A653A3F9B3AF}" dt="2023-03-12T21:27:49" v="180" actId="20577"/>
              <pc2:cmMkLst xmlns:pc2="http://schemas.microsoft.com/office/powerpoint/2019/9/main/command">
                <pc:docMk/>
                <pc:sldMk cId="634732272" sldId="458"/>
                <pc2:cmMk id="{0B751B91-E3E0-4D79-8F12-D16ADCBC32BA}"/>
              </pc2:cmMkLst>
            </pc226:cmChg>
            <pc226:cmChg xmlns:pc226="http://schemas.microsoft.com/office/powerpoint/2022/06/main/command" chg="mod">
              <pc226:chgData name="Fourati, Omar" userId="S::oz48ohuv@fauad.fau.de::543b926d-baf3-4e4d-861e-19746c37446c" providerId="AD" clId="Web-{9E4D1501-DA19-4956-A000-A653A3F9B3AF}" dt="2023-03-12T21:27:49" v="180" actId="20577"/>
              <pc2:cmMkLst xmlns:pc2="http://schemas.microsoft.com/office/powerpoint/2019/9/main/command">
                <pc:docMk/>
                <pc:sldMk cId="634732272" sldId="458"/>
                <pc2:cmMk id="{FC456CF9-A427-4FA3-A8FF-F887655498C9}"/>
              </pc2:cmMkLst>
            </pc226:cmChg>
          </p:ext>
        </pc:extLst>
      </pc:sldChg>
    </pc:docChg>
  </pc:docChgLst>
  <pc:docChgLst>
    <pc:chgData name="Völkel, Tobias" userId="S::ru22boda@fauad.fau.de::9c02bf22-18bb-468a-b263-c51c2dc523eb" providerId="AD" clId="Web-{2F601D72-6DB7-4990-8263-491C74950AEB}"/>
    <pc:docChg chg="addSld delSld modSld sldOrd addMainMaster delMainMaster modSection">
      <pc:chgData name="Völkel, Tobias" userId="S::ru22boda@fauad.fau.de::9c02bf22-18bb-468a-b263-c51c2dc523eb" providerId="AD" clId="Web-{2F601D72-6DB7-4990-8263-491C74950AEB}" dt="2023-03-12T14:04:26.821" v="989" actId="20577"/>
      <pc:docMkLst>
        <pc:docMk/>
      </pc:docMkLst>
      <pc:sldChg chg="del">
        <pc:chgData name="Völkel, Tobias" userId="S::ru22boda@fauad.fau.de::9c02bf22-18bb-468a-b263-c51c2dc523eb" providerId="AD" clId="Web-{2F601D72-6DB7-4990-8263-491C74950AEB}" dt="2023-03-12T12:17:20.286" v="788"/>
        <pc:sldMkLst>
          <pc:docMk/>
          <pc:sldMk cId="3039751810" sldId="460"/>
        </pc:sldMkLst>
      </pc:sldChg>
      <pc:sldChg chg="addSp modSp">
        <pc:chgData name="Völkel, Tobias" userId="S::ru22boda@fauad.fau.de::9c02bf22-18bb-468a-b263-c51c2dc523eb" providerId="AD" clId="Web-{2F601D72-6DB7-4990-8263-491C74950AEB}" dt="2023-03-12T12:01:32.356" v="699" actId="1076"/>
        <pc:sldMkLst>
          <pc:docMk/>
          <pc:sldMk cId="1935823479" sldId="461"/>
        </pc:sldMkLst>
        <pc:spChg chg="mod">
          <ac:chgData name="Völkel, Tobias" userId="S::ru22boda@fauad.fau.de::9c02bf22-18bb-468a-b263-c51c2dc523eb" providerId="AD" clId="Web-{2F601D72-6DB7-4990-8263-491C74950AEB}" dt="2023-03-12T11:40:07.776" v="36" actId="20577"/>
          <ac:spMkLst>
            <pc:docMk/>
            <pc:sldMk cId="1935823479" sldId="461"/>
            <ac:spMk id="2" creationId="{B4EAAE7E-8825-1C20-CF47-B7D63ADF20C8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1:37:29.176" v="15" actId="14100"/>
          <ac:spMkLst>
            <pc:docMk/>
            <pc:sldMk cId="1935823479" sldId="461"/>
            <ac:spMk id="3" creationId="{05E5A4A0-A94D-BD8A-DE59-EE5DB9F2D880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2:01:32.356" v="699" actId="1076"/>
          <ac:spMkLst>
            <pc:docMk/>
            <pc:sldMk cId="1935823479" sldId="461"/>
            <ac:spMk id="5" creationId="{DD6F2C6E-97C8-6F7C-C7CD-092FD51F1892}"/>
          </ac:spMkLst>
        </pc:spChg>
        <pc:spChg chg="mod">
          <ac:chgData name="Völkel, Tobias" userId="S::ru22boda@fauad.fau.de::9c02bf22-18bb-468a-b263-c51c2dc523eb" providerId="AD" clId="Web-{2F601D72-6DB7-4990-8263-491C74950AEB}" dt="2023-03-12T11:37:36.910" v="16" actId="1076"/>
          <ac:spMkLst>
            <pc:docMk/>
            <pc:sldMk cId="1935823479" sldId="461"/>
            <ac:spMk id="22" creationId="{A766D317-FA3A-2906-C098-6CE25A4ED5B7}"/>
          </ac:spMkLst>
        </pc:spChg>
        <pc:spChg chg="mod">
          <ac:chgData name="Völkel, Tobias" userId="S::ru22boda@fauad.fau.de::9c02bf22-18bb-468a-b263-c51c2dc523eb" providerId="AD" clId="Web-{2F601D72-6DB7-4990-8263-491C74950AEB}" dt="2023-03-12T11:37:40.410" v="17" actId="1076"/>
          <ac:spMkLst>
            <pc:docMk/>
            <pc:sldMk cId="1935823479" sldId="461"/>
            <ac:spMk id="23" creationId="{E2E54F89-0027-0F5F-A785-EB24F45D2E4F}"/>
          </ac:spMkLst>
        </pc:spChg>
      </pc:sldChg>
      <pc:sldChg chg="addSp delSp modSp add ord">
        <pc:chgData name="Völkel, Tobias" userId="S::ru22boda@fauad.fau.de::9c02bf22-18bb-468a-b263-c51c2dc523eb" providerId="AD" clId="Web-{2F601D72-6DB7-4990-8263-491C74950AEB}" dt="2023-03-12T11:48:42.523" v="291"/>
        <pc:sldMkLst>
          <pc:docMk/>
          <pc:sldMk cId="2255513899" sldId="462"/>
        </pc:sldMkLst>
        <pc:spChg chg="mod">
          <ac:chgData name="Völkel, Tobias" userId="S::ru22boda@fauad.fau.de::9c02bf22-18bb-468a-b263-c51c2dc523eb" providerId="AD" clId="Web-{2F601D72-6DB7-4990-8263-491C74950AEB}" dt="2023-03-12T11:41:27.045" v="56" actId="20577"/>
          <ac:spMkLst>
            <pc:docMk/>
            <pc:sldMk cId="2255513899" sldId="462"/>
            <ac:spMk id="2" creationId="{ED6C46B3-551E-EB4A-1B19-8431C04D399B}"/>
          </ac:spMkLst>
        </pc:spChg>
        <pc:spChg chg="mod">
          <ac:chgData name="Völkel, Tobias" userId="S::ru22boda@fauad.fau.de::9c02bf22-18bb-468a-b263-c51c2dc523eb" providerId="AD" clId="Web-{2F601D72-6DB7-4990-8263-491C74950AEB}" dt="2023-03-12T11:41:53.046" v="70" actId="1076"/>
          <ac:spMkLst>
            <pc:docMk/>
            <pc:sldMk cId="2255513899" sldId="462"/>
            <ac:spMk id="3" creationId="{E09A43E2-9C11-F3A3-37E5-C7015C319743}"/>
          </ac:spMkLst>
        </pc:spChg>
        <pc:spChg chg="del mod">
          <ac:chgData name="Völkel, Tobias" userId="S::ru22boda@fauad.fau.de::9c02bf22-18bb-468a-b263-c51c2dc523eb" providerId="AD" clId="Web-{2F601D72-6DB7-4990-8263-491C74950AEB}" dt="2023-03-12T11:48:42.523" v="291"/>
          <ac:spMkLst>
            <pc:docMk/>
            <pc:sldMk cId="2255513899" sldId="462"/>
            <ac:spMk id="4" creationId="{463AB7E0-010F-3349-B200-B614EAA08ECF}"/>
          </ac:spMkLst>
        </pc:spChg>
        <pc:spChg chg="del mod ord">
          <ac:chgData name="Völkel, Tobias" userId="S::ru22boda@fauad.fau.de::9c02bf22-18bb-468a-b263-c51c2dc523eb" providerId="AD" clId="Web-{2F601D72-6DB7-4990-8263-491C74950AEB}" dt="2023-03-12T11:48:40.038" v="290"/>
          <ac:spMkLst>
            <pc:docMk/>
            <pc:sldMk cId="2255513899" sldId="462"/>
            <ac:spMk id="5" creationId="{4860D748-86BB-2FA6-C217-F16E921F9FA8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1:41:38.858" v="67" actId="20577"/>
          <ac:spMkLst>
            <pc:docMk/>
            <pc:sldMk cId="2255513899" sldId="462"/>
            <ac:spMk id="7" creationId="{77755B5F-5B92-9175-C19B-E27003856FAD}"/>
          </ac:spMkLst>
        </pc:spChg>
        <pc:spChg chg="add">
          <ac:chgData name="Völkel, Tobias" userId="S::ru22boda@fauad.fau.de::9c02bf22-18bb-468a-b263-c51c2dc523eb" providerId="AD" clId="Web-{2F601D72-6DB7-4990-8263-491C74950AEB}" dt="2023-03-12T11:41:51.514" v="69"/>
          <ac:spMkLst>
            <pc:docMk/>
            <pc:sldMk cId="2255513899" sldId="462"/>
            <ac:spMk id="9" creationId="{5539DD1F-1C12-9436-6F52-48648B45A3FD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1:42:37.454" v="84" actId="20577"/>
          <ac:spMkLst>
            <pc:docMk/>
            <pc:sldMk cId="2255513899" sldId="462"/>
            <ac:spMk id="11" creationId="{9E862F88-2B6B-9D31-F69F-99B17FF1F480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1:44:13.442" v="140" actId="1076"/>
          <ac:spMkLst>
            <pc:docMk/>
            <pc:sldMk cId="2255513899" sldId="462"/>
            <ac:spMk id="13" creationId="{211818B6-2088-5941-F410-4879ED1104A8}"/>
          </ac:spMkLst>
        </pc:spChg>
        <pc:spChg chg="add del mod">
          <ac:chgData name="Völkel, Tobias" userId="S::ru22boda@fauad.fau.de::9c02bf22-18bb-468a-b263-c51c2dc523eb" providerId="AD" clId="Web-{2F601D72-6DB7-4990-8263-491C74950AEB}" dt="2023-03-12T11:47:16.613" v="230"/>
          <ac:spMkLst>
            <pc:docMk/>
            <pc:sldMk cId="2255513899" sldId="462"/>
            <ac:spMk id="14" creationId="{06286C39-056F-5454-1E3D-FC75B9E5065B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1:44:39.091" v="143" actId="1076"/>
          <ac:spMkLst>
            <pc:docMk/>
            <pc:sldMk cId="2255513899" sldId="462"/>
            <ac:spMk id="15" creationId="{5C7155CA-E6CA-A72D-B376-8E480BCECD96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1:45:33.390" v="153" actId="1076"/>
          <ac:spMkLst>
            <pc:docMk/>
            <pc:sldMk cId="2255513899" sldId="462"/>
            <ac:spMk id="16" creationId="{8777DEF9-FED8-CA10-59CE-5E1AC36B06DD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1:47:45.364" v="241" actId="20577"/>
          <ac:spMkLst>
            <pc:docMk/>
            <pc:sldMk cId="2255513899" sldId="462"/>
            <ac:spMk id="17" creationId="{81174097-DBB7-64A7-58C9-4DB595CBE0E7}"/>
          </ac:spMkLst>
        </pc:spChg>
        <pc:spChg chg="add del">
          <ac:chgData name="Völkel, Tobias" userId="S::ru22boda@fauad.fau.de::9c02bf22-18bb-468a-b263-c51c2dc523eb" providerId="AD" clId="Web-{2F601D72-6DB7-4990-8263-491C74950AEB}" dt="2023-03-12T11:47:18.847" v="231"/>
          <ac:spMkLst>
            <pc:docMk/>
            <pc:sldMk cId="2255513899" sldId="462"/>
            <ac:spMk id="18" creationId="{3ABE4856-EAA6-FC73-C2AE-D05467790632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1:47:36.379" v="237" actId="1076"/>
          <ac:spMkLst>
            <pc:docMk/>
            <pc:sldMk cId="2255513899" sldId="462"/>
            <ac:spMk id="19" creationId="{3E2753B3-0734-7B11-7F7D-E0F2827D1E5B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1:48:27.678" v="288" actId="1076"/>
          <ac:spMkLst>
            <pc:docMk/>
            <pc:sldMk cId="2255513899" sldId="462"/>
            <ac:spMk id="20" creationId="{D4FC2B63-E7E7-12F9-1D6B-98845D1B1D2B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1:48:32.257" v="289" actId="1076"/>
          <ac:spMkLst>
            <pc:docMk/>
            <pc:sldMk cId="2255513899" sldId="462"/>
            <ac:spMk id="21" creationId="{E4F597D5-8DF0-CAFD-461E-060B703D5DD2}"/>
          </ac:spMkLst>
        </pc:spChg>
      </pc:sldChg>
      <pc:sldChg chg="add del ord">
        <pc:chgData name="Völkel, Tobias" userId="S::ru22boda@fauad.fau.de::9c02bf22-18bb-468a-b263-c51c2dc523eb" providerId="AD" clId="Web-{2F601D72-6DB7-4990-8263-491C74950AEB}" dt="2023-03-12T11:39:41.525" v="20"/>
        <pc:sldMkLst>
          <pc:docMk/>
          <pc:sldMk cId="2540015465" sldId="462"/>
        </pc:sldMkLst>
      </pc:sldChg>
      <pc:sldChg chg="add del">
        <pc:chgData name="Völkel, Tobias" userId="S::ru22boda@fauad.fau.de::9c02bf22-18bb-468a-b263-c51c2dc523eb" providerId="AD" clId="Web-{2F601D72-6DB7-4990-8263-491C74950AEB}" dt="2023-03-12T11:40:44.543" v="38"/>
        <pc:sldMkLst>
          <pc:docMk/>
          <pc:sldMk cId="2200551213" sldId="463"/>
        </pc:sldMkLst>
      </pc:sldChg>
      <pc:sldChg chg="addSp delSp modSp add ord replId">
        <pc:chgData name="Völkel, Tobias" userId="S::ru22boda@fauad.fau.de::9c02bf22-18bb-468a-b263-c51c2dc523eb" providerId="AD" clId="Web-{2F601D72-6DB7-4990-8263-491C74950AEB}" dt="2023-03-12T12:00:36.792" v="688" actId="20577"/>
        <pc:sldMkLst>
          <pc:docMk/>
          <pc:sldMk cId="2866409584" sldId="463"/>
        </pc:sldMkLst>
        <pc:spChg chg="mod">
          <ac:chgData name="Völkel, Tobias" userId="S::ru22boda@fauad.fau.de::9c02bf22-18bb-468a-b263-c51c2dc523eb" providerId="AD" clId="Web-{2F601D72-6DB7-4990-8263-491C74950AEB}" dt="2023-03-12T11:56:11.280" v="580" actId="1076"/>
          <ac:spMkLst>
            <pc:docMk/>
            <pc:sldMk cId="2866409584" sldId="463"/>
            <ac:spMk id="3" creationId="{E09A43E2-9C11-F3A3-37E5-C7015C319743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1:56:04.795" v="578" actId="1076"/>
          <ac:spMkLst>
            <pc:docMk/>
            <pc:sldMk cId="2866409584" sldId="463"/>
            <ac:spMk id="4" creationId="{E6B1F4AE-AE35-B46E-805A-E6D4E5C8BEF4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1:51:04.028" v="345" actId="20577"/>
          <ac:spMkLst>
            <pc:docMk/>
            <pc:sldMk cId="2866409584" sldId="463"/>
            <ac:spMk id="5" creationId="{AA8A3B1F-6523-AA95-AAE1-690F16264D94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1:56:06.686" v="579" actId="1076"/>
          <ac:spMkLst>
            <pc:docMk/>
            <pc:sldMk cId="2866409584" sldId="463"/>
            <ac:spMk id="6" creationId="{4C3379F3-C152-22FC-5AE6-C3BE8968FC1F}"/>
          </ac:spMkLst>
        </pc:spChg>
        <pc:spChg chg="mod">
          <ac:chgData name="Völkel, Tobias" userId="S::ru22boda@fauad.fau.de::9c02bf22-18bb-468a-b263-c51c2dc523eb" providerId="AD" clId="Web-{2F601D72-6DB7-4990-8263-491C74950AEB}" dt="2023-03-12T12:00:36.792" v="688" actId="20577"/>
          <ac:spMkLst>
            <pc:docMk/>
            <pc:sldMk cId="2866409584" sldId="463"/>
            <ac:spMk id="7" creationId="{77755B5F-5B92-9175-C19B-E27003856FAD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1:55:49.076" v="577" actId="20577"/>
          <ac:spMkLst>
            <pc:docMk/>
            <pc:sldMk cId="2866409584" sldId="463"/>
            <ac:spMk id="8" creationId="{CF34AFA1-3E68-7E46-F214-9F4F88A3558C}"/>
          </ac:spMkLst>
        </pc:spChg>
        <pc:spChg chg="add del">
          <ac:chgData name="Völkel, Tobias" userId="S::ru22boda@fauad.fau.de::9c02bf22-18bb-468a-b263-c51c2dc523eb" providerId="AD" clId="Web-{2F601D72-6DB7-4990-8263-491C74950AEB}" dt="2023-03-12T11:53:32.976" v="494"/>
          <ac:spMkLst>
            <pc:docMk/>
            <pc:sldMk cId="2866409584" sldId="463"/>
            <ac:spMk id="10" creationId="{74A15E27-7E50-9B2C-94F8-492A82CB6222}"/>
          </ac:spMkLst>
        </pc:spChg>
        <pc:spChg chg="mod">
          <ac:chgData name="Völkel, Tobias" userId="S::ru22boda@fauad.fau.de::9c02bf22-18bb-468a-b263-c51c2dc523eb" providerId="AD" clId="Web-{2F601D72-6DB7-4990-8263-491C74950AEB}" dt="2023-03-12T11:50:53.809" v="335" actId="1076"/>
          <ac:spMkLst>
            <pc:docMk/>
            <pc:sldMk cId="2866409584" sldId="463"/>
            <ac:spMk id="11" creationId="{9E862F88-2B6B-9D31-F69F-99B17FF1F480}"/>
          </ac:spMkLst>
        </pc:spChg>
        <pc:spChg chg="add del mod">
          <ac:chgData name="Völkel, Tobias" userId="S::ru22boda@fauad.fau.de::9c02bf22-18bb-468a-b263-c51c2dc523eb" providerId="AD" clId="Web-{2F601D72-6DB7-4990-8263-491C74950AEB}" dt="2023-03-12T11:53:39.133" v="498"/>
          <ac:spMkLst>
            <pc:docMk/>
            <pc:sldMk cId="2866409584" sldId="463"/>
            <ac:spMk id="12" creationId="{90B5E1A7-FEBF-7056-5638-043336F75CA4}"/>
          </ac:spMkLst>
        </pc:spChg>
        <pc:spChg chg="del">
          <ac:chgData name="Völkel, Tobias" userId="S::ru22boda@fauad.fau.de::9c02bf22-18bb-468a-b263-c51c2dc523eb" providerId="AD" clId="Web-{2F601D72-6DB7-4990-8263-491C74950AEB}" dt="2023-03-12T11:50:21.277" v="308"/>
          <ac:spMkLst>
            <pc:docMk/>
            <pc:sldMk cId="2866409584" sldId="463"/>
            <ac:spMk id="13" creationId="{211818B6-2088-5941-F410-4879ED1104A8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1:55:45.154" v="576" actId="20577"/>
          <ac:spMkLst>
            <pc:docMk/>
            <pc:sldMk cId="2866409584" sldId="463"/>
            <ac:spMk id="14" creationId="{36524B13-3083-EE3D-7344-3BA9222A0038}"/>
          </ac:spMkLst>
        </pc:spChg>
        <pc:spChg chg="mod">
          <ac:chgData name="Völkel, Tobias" userId="S::ru22boda@fauad.fau.de::9c02bf22-18bb-468a-b263-c51c2dc523eb" providerId="AD" clId="Web-{2F601D72-6DB7-4990-8263-491C74950AEB}" dt="2023-03-12T11:57:46.971" v="646" actId="20577"/>
          <ac:spMkLst>
            <pc:docMk/>
            <pc:sldMk cId="2866409584" sldId="463"/>
            <ac:spMk id="16" creationId="{8777DEF9-FED8-CA10-59CE-5E1AC36B06DD}"/>
          </ac:spMkLst>
        </pc:spChg>
        <pc:spChg chg="del">
          <ac:chgData name="Völkel, Tobias" userId="S::ru22boda@fauad.fau.de::9c02bf22-18bb-468a-b263-c51c2dc523eb" providerId="AD" clId="Web-{2F601D72-6DB7-4990-8263-491C74950AEB}" dt="2023-03-12T11:58:02.644" v="650"/>
          <ac:spMkLst>
            <pc:docMk/>
            <pc:sldMk cId="2866409584" sldId="463"/>
            <ac:spMk id="17" creationId="{81174097-DBB7-64A7-58C9-4DB595CBE0E7}"/>
          </ac:spMkLst>
        </pc:spChg>
        <pc:spChg chg="del">
          <ac:chgData name="Völkel, Tobias" userId="S::ru22boda@fauad.fau.de::9c02bf22-18bb-468a-b263-c51c2dc523eb" providerId="AD" clId="Web-{2F601D72-6DB7-4990-8263-491C74950AEB}" dt="2023-03-12T11:50:20.120" v="307"/>
          <ac:spMkLst>
            <pc:docMk/>
            <pc:sldMk cId="2866409584" sldId="463"/>
            <ac:spMk id="19" creationId="{3E2753B3-0734-7B11-7F7D-E0F2827D1E5B}"/>
          </ac:spMkLst>
        </pc:spChg>
        <pc:spChg chg="del mod">
          <ac:chgData name="Völkel, Tobias" userId="S::ru22boda@fauad.fau.de::9c02bf22-18bb-468a-b263-c51c2dc523eb" providerId="AD" clId="Web-{2F601D72-6DB7-4990-8263-491C74950AEB}" dt="2023-03-12T11:58:05.519" v="653"/>
          <ac:spMkLst>
            <pc:docMk/>
            <pc:sldMk cId="2866409584" sldId="463"/>
            <ac:spMk id="20" creationId="{D4FC2B63-E7E7-12F9-1D6B-98845D1B1D2B}"/>
          </ac:spMkLst>
        </pc:spChg>
        <pc:spChg chg="del mod">
          <ac:chgData name="Völkel, Tobias" userId="S::ru22boda@fauad.fau.de::9c02bf22-18bb-468a-b263-c51c2dc523eb" providerId="AD" clId="Web-{2F601D72-6DB7-4990-8263-491C74950AEB}" dt="2023-03-12T11:58:01.315" v="649"/>
          <ac:spMkLst>
            <pc:docMk/>
            <pc:sldMk cId="2866409584" sldId="463"/>
            <ac:spMk id="21" creationId="{E4F597D5-8DF0-CAFD-461E-060B703D5DD2}"/>
          </ac:spMkLst>
        </pc:spChg>
      </pc:sldChg>
      <pc:sldChg chg="modSp add replId">
        <pc:chgData name="Völkel, Tobias" userId="S::ru22boda@fauad.fau.de::9c02bf22-18bb-468a-b263-c51c2dc523eb" providerId="AD" clId="Web-{2F601D72-6DB7-4990-8263-491C74950AEB}" dt="2023-03-12T12:00:43.807" v="694" actId="20577"/>
        <pc:sldMkLst>
          <pc:docMk/>
          <pc:sldMk cId="1034242858" sldId="464"/>
        </pc:sldMkLst>
        <pc:spChg chg="mod">
          <ac:chgData name="Völkel, Tobias" userId="S::ru22boda@fauad.fau.de::9c02bf22-18bb-468a-b263-c51c2dc523eb" providerId="AD" clId="Web-{2F601D72-6DB7-4990-8263-491C74950AEB}" dt="2023-03-12T11:58:28.004" v="661" actId="20577"/>
          <ac:spMkLst>
            <pc:docMk/>
            <pc:sldMk cId="1034242858" sldId="464"/>
            <ac:spMk id="5" creationId="{AA8A3B1F-6523-AA95-AAE1-690F16264D94}"/>
          </ac:spMkLst>
        </pc:spChg>
        <pc:spChg chg="mod">
          <ac:chgData name="Völkel, Tobias" userId="S::ru22boda@fauad.fau.de::9c02bf22-18bb-468a-b263-c51c2dc523eb" providerId="AD" clId="Web-{2F601D72-6DB7-4990-8263-491C74950AEB}" dt="2023-03-12T12:00:43.807" v="694" actId="20577"/>
          <ac:spMkLst>
            <pc:docMk/>
            <pc:sldMk cId="1034242858" sldId="464"/>
            <ac:spMk id="7" creationId="{77755B5F-5B92-9175-C19B-E27003856FAD}"/>
          </ac:spMkLst>
        </pc:spChg>
        <pc:spChg chg="mod">
          <ac:chgData name="Völkel, Tobias" userId="S::ru22boda@fauad.fau.de::9c02bf22-18bb-468a-b263-c51c2dc523eb" providerId="AD" clId="Web-{2F601D72-6DB7-4990-8263-491C74950AEB}" dt="2023-03-12T11:58:44.770" v="671" actId="20577"/>
          <ac:spMkLst>
            <pc:docMk/>
            <pc:sldMk cId="1034242858" sldId="464"/>
            <ac:spMk id="14" creationId="{36524B13-3083-EE3D-7344-3BA9222A0038}"/>
          </ac:spMkLst>
        </pc:spChg>
      </pc:sldChg>
      <pc:sldChg chg="add del replId">
        <pc:chgData name="Völkel, Tobias" userId="S::ru22boda@fauad.fau.de::9c02bf22-18bb-468a-b263-c51c2dc523eb" providerId="AD" clId="Web-{2F601D72-6DB7-4990-8263-491C74950AEB}" dt="2023-03-12T12:01:10.949" v="695"/>
        <pc:sldMkLst>
          <pc:docMk/>
          <pc:sldMk cId="3617013004" sldId="465"/>
        </pc:sldMkLst>
      </pc:sldChg>
      <pc:sldChg chg="addSp delSp modSp add ord replId">
        <pc:chgData name="Völkel, Tobias" userId="S::ru22boda@fauad.fau.de::9c02bf22-18bb-468a-b263-c51c2dc523eb" providerId="AD" clId="Web-{2F601D72-6DB7-4990-8263-491C74950AEB}" dt="2023-03-12T14:04:26.821" v="989" actId="20577"/>
        <pc:sldMkLst>
          <pc:docMk/>
          <pc:sldMk cId="3694086407" sldId="465"/>
        </pc:sldMkLst>
        <pc:spChg chg="del mod">
          <ac:chgData name="Völkel, Tobias" userId="S::ru22boda@fauad.fau.de::9c02bf22-18bb-468a-b263-c51c2dc523eb" providerId="AD" clId="Web-{2F601D72-6DB7-4990-8263-491C74950AEB}" dt="2023-03-12T12:02:29.187" v="766"/>
          <ac:spMkLst>
            <pc:docMk/>
            <pc:sldMk cId="3694086407" sldId="465"/>
            <ac:spMk id="3" creationId="{05E5A4A0-A94D-BD8A-DE59-EE5DB9F2D880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4:04:26.821" v="989" actId="20577"/>
          <ac:spMkLst>
            <pc:docMk/>
            <pc:sldMk cId="3694086407" sldId="465"/>
            <ac:spMk id="3" creationId="{75AAEFF0-7421-C140-30C7-7F433E6FDB49}"/>
          </ac:spMkLst>
        </pc:spChg>
        <pc:spChg chg="mod">
          <ac:chgData name="Völkel, Tobias" userId="S::ru22boda@fauad.fau.de::9c02bf22-18bb-468a-b263-c51c2dc523eb" providerId="AD" clId="Web-{2F601D72-6DB7-4990-8263-491C74950AEB}" dt="2023-03-12T12:01:48.591" v="736" actId="20577"/>
          <ac:spMkLst>
            <pc:docMk/>
            <pc:sldMk cId="3694086407" sldId="465"/>
            <ac:spMk id="5" creationId="{DD6F2C6E-97C8-6F7C-C7CD-092FD51F1892}"/>
          </ac:spMkLst>
        </pc:spChg>
        <pc:spChg chg="add del mod">
          <ac:chgData name="Völkel, Tobias" userId="S::ru22boda@fauad.fau.de::9c02bf22-18bb-468a-b263-c51c2dc523eb" providerId="AD" clId="Web-{2F601D72-6DB7-4990-8263-491C74950AEB}" dt="2023-03-12T14:02:47.361" v="952"/>
          <ac:spMkLst>
            <pc:docMk/>
            <pc:sldMk cId="3694086407" sldId="465"/>
            <ac:spMk id="7" creationId="{0DCB5721-998A-0D4B-5D94-673CD2CBF0E8}"/>
          </ac:spMkLst>
        </pc:spChg>
        <pc:spChg chg="del mod">
          <ac:chgData name="Völkel, Tobias" userId="S::ru22boda@fauad.fau.de::9c02bf22-18bb-468a-b263-c51c2dc523eb" providerId="AD" clId="Web-{2F601D72-6DB7-4990-8263-491C74950AEB}" dt="2023-03-12T12:02:21.202" v="760"/>
          <ac:spMkLst>
            <pc:docMk/>
            <pc:sldMk cId="3694086407" sldId="465"/>
            <ac:spMk id="7" creationId="{377FD9EF-52ED-9BA1-2193-21FC03A2A87C}"/>
          </ac:spMkLst>
        </pc:spChg>
        <pc:spChg chg="del">
          <ac:chgData name="Völkel, Tobias" userId="S::ru22boda@fauad.fau.de::9c02bf22-18bb-468a-b263-c51c2dc523eb" providerId="AD" clId="Web-{2F601D72-6DB7-4990-8263-491C74950AEB}" dt="2023-03-12T12:02:20.124" v="759"/>
          <ac:spMkLst>
            <pc:docMk/>
            <pc:sldMk cId="3694086407" sldId="465"/>
            <ac:spMk id="8" creationId="{9DF27481-03DD-D88B-D221-CA9A8BD55E7D}"/>
          </ac:spMkLst>
        </pc:spChg>
        <pc:spChg chg="add ord">
          <ac:chgData name="Völkel, Tobias" userId="S::ru22boda@fauad.fau.de::9c02bf22-18bb-468a-b263-c51c2dc523eb" providerId="AD" clId="Web-{2F601D72-6DB7-4990-8263-491C74950AEB}" dt="2023-03-12T14:03:10.112" v="955"/>
          <ac:spMkLst>
            <pc:docMk/>
            <pc:sldMk cId="3694086407" sldId="465"/>
            <ac:spMk id="9" creationId="{8A607ABF-C136-F5B0-5C23-8697B3C40F5A}"/>
          </ac:spMkLst>
        </pc:spChg>
        <pc:spChg chg="del">
          <ac:chgData name="Völkel, Tobias" userId="S::ru22boda@fauad.fau.de::9c02bf22-18bb-468a-b263-c51c2dc523eb" providerId="AD" clId="Web-{2F601D72-6DB7-4990-8263-491C74950AEB}" dt="2023-03-12T12:02:17.968" v="757"/>
          <ac:spMkLst>
            <pc:docMk/>
            <pc:sldMk cId="3694086407" sldId="465"/>
            <ac:spMk id="9" creationId="{E20AA695-7706-0067-1672-3305255F0C50}"/>
          </ac:spMkLst>
        </pc:spChg>
        <pc:spChg chg="del">
          <ac:chgData name="Völkel, Tobias" userId="S::ru22boda@fauad.fau.de::9c02bf22-18bb-468a-b263-c51c2dc523eb" providerId="AD" clId="Web-{2F601D72-6DB7-4990-8263-491C74950AEB}" dt="2023-03-12T12:02:14.483" v="754"/>
          <ac:spMkLst>
            <pc:docMk/>
            <pc:sldMk cId="3694086407" sldId="465"/>
            <ac:spMk id="10" creationId="{F4BB34C1-4621-72B9-420C-60378EB82964}"/>
          </ac:spMkLst>
        </pc:spChg>
        <pc:spChg chg="del">
          <ac:chgData name="Völkel, Tobias" userId="S::ru22boda@fauad.fau.de::9c02bf22-18bb-468a-b263-c51c2dc523eb" providerId="AD" clId="Web-{2F601D72-6DB7-4990-8263-491C74950AEB}" dt="2023-03-12T12:02:16.952" v="756"/>
          <ac:spMkLst>
            <pc:docMk/>
            <pc:sldMk cId="3694086407" sldId="465"/>
            <ac:spMk id="11" creationId="{0EC5A77C-6968-3140-5531-246EEC7D31FE}"/>
          </ac:spMkLst>
        </pc:spChg>
        <pc:spChg chg="add mod">
          <ac:chgData name="Völkel, Tobias" userId="S::ru22boda@fauad.fau.de::9c02bf22-18bb-468a-b263-c51c2dc523eb" providerId="AD" clId="Web-{2F601D72-6DB7-4990-8263-491C74950AEB}" dt="2023-03-12T14:04:17.867" v="988" actId="20577"/>
          <ac:spMkLst>
            <pc:docMk/>
            <pc:sldMk cId="3694086407" sldId="465"/>
            <ac:spMk id="11" creationId="{EAE8AD44-10D7-EC1B-B3BC-B13D69F9AA31}"/>
          </ac:spMkLst>
        </pc:spChg>
        <pc:spChg chg="del">
          <ac:chgData name="Völkel, Tobias" userId="S::ru22boda@fauad.fau.de::9c02bf22-18bb-468a-b263-c51c2dc523eb" providerId="AD" clId="Web-{2F601D72-6DB7-4990-8263-491C74950AEB}" dt="2023-03-12T12:02:19.171" v="758"/>
          <ac:spMkLst>
            <pc:docMk/>
            <pc:sldMk cId="3694086407" sldId="465"/>
            <ac:spMk id="12" creationId="{E77991CF-1CF2-2A7E-9E6D-2B67698BA382}"/>
          </ac:spMkLst>
        </pc:spChg>
        <pc:spChg chg="add del mod">
          <ac:chgData name="Völkel, Tobias" userId="S::ru22boda@fauad.fau.de::9c02bf22-18bb-468a-b263-c51c2dc523eb" providerId="AD" clId="Web-{2F601D72-6DB7-4990-8263-491C74950AEB}" dt="2023-03-12T14:03:50.631" v="962"/>
          <ac:spMkLst>
            <pc:docMk/>
            <pc:sldMk cId="3694086407" sldId="465"/>
            <ac:spMk id="14" creationId="{C1D90E1E-AA6E-CCB1-BADA-7A8D6F53D701}"/>
          </ac:spMkLst>
        </pc:spChg>
        <pc:spChg chg="add del mod">
          <ac:chgData name="Völkel, Tobias" userId="S::ru22boda@fauad.fau.de::9c02bf22-18bb-468a-b263-c51c2dc523eb" providerId="AD" clId="Web-{2F601D72-6DB7-4990-8263-491C74950AEB}" dt="2023-03-12T14:04:13.695" v="977"/>
          <ac:spMkLst>
            <pc:docMk/>
            <pc:sldMk cId="3694086407" sldId="465"/>
            <ac:spMk id="16" creationId="{AA84D4F1-0047-88EF-5818-7F0419DE5E3F}"/>
          </ac:spMkLst>
        </pc:spChg>
        <pc:spChg chg="mod">
          <ac:chgData name="Völkel, Tobias" userId="S::ru22boda@fauad.fau.de::9c02bf22-18bb-468a-b263-c51c2dc523eb" providerId="AD" clId="Web-{2F601D72-6DB7-4990-8263-491C74950AEB}" dt="2023-03-12T12:02:00.701" v="738" actId="20577"/>
          <ac:spMkLst>
            <pc:docMk/>
            <pc:sldMk cId="3694086407" sldId="465"/>
            <ac:spMk id="17" creationId="{321B00DA-0C54-1DFD-FF85-36DC175FF2E1}"/>
          </ac:spMkLst>
        </pc:spChg>
        <pc:spChg chg="del">
          <ac:chgData name="Völkel, Tobias" userId="S::ru22boda@fauad.fau.de::9c02bf22-18bb-468a-b263-c51c2dc523eb" providerId="AD" clId="Web-{2F601D72-6DB7-4990-8263-491C74950AEB}" dt="2023-03-12T14:02:43.485" v="949"/>
          <ac:spMkLst>
            <pc:docMk/>
            <pc:sldMk cId="3694086407" sldId="465"/>
            <ac:spMk id="20" creationId="{090B08D9-39AA-BDDC-9807-DD7FF5928F93}"/>
          </ac:spMkLst>
        </pc:spChg>
        <pc:spChg chg="mod">
          <ac:chgData name="Völkel, Tobias" userId="S::ru22boda@fauad.fau.de::9c02bf22-18bb-468a-b263-c51c2dc523eb" providerId="AD" clId="Web-{2F601D72-6DB7-4990-8263-491C74950AEB}" dt="2023-03-12T12:02:08.811" v="752" actId="20577"/>
          <ac:spMkLst>
            <pc:docMk/>
            <pc:sldMk cId="3694086407" sldId="465"/>
            <ac:spMk id="21" creationId="{8DB80EA5-9653-305E-BC65-CB041F34AB12}"/>
          </ac:spMkLst>
        </pc:spChg>
        <pc:spChg chg="del mod">
          <ac:chgData name="Völkel, Tobias" userId="S::ru22boda@fauad.fau.de::9c02bf22-18bb-468a-b263-c51c2dc523eb" providerId="AD" clId="Web-{2F601D72-6DB7-4990-8263-491C74950AEB}" dt="2023-03-12T12:02:27.984" v="765"/>
          <ac:spMkLst>
            <pc:docMk/>
            <pc:sldMk cId="3694086407" sldId="465"/>
            <ac:spMk id="22" creationId="{A766D317-FA3A-2906-C098-6CE25A4ED5B7}"/>
          </ac:spMkLst>
        </pc:spChg>
        <pc:spChg chg="del">
          <ac:chgData name="Völkel, Tobias" userId="S::ru22boda@fauad.fau.de::9c02bf22-18bb-468a-b263-c51c2dc523eb" providerId="AD" clId="Web-{2F601D72-6DB7-4990-8263-491C74950AEB}" dt="2023-03-12T12:02:25.499" v="763"/>
          <ac:spMkLst>
            <pc:docMk/>
            <pc:sldMk cId="3694086407" sldId="465"/>
            <ac:spMk id="23" creationId="{E2E54F89-0027-0F5F-A785-EB24F45D2E4F}"/>
          </ac:spMkLst>
        </pc:spChg>
        <pc:spChg chg="del">
          <ac:chgData name="Völkel, Tobias" userId="S::ru22boda@fauad.fau.de::9c02bf22-18bb-468a-b263-c51c2dc523eb" providerId="AD" clId="Web-{2F601D72-6DB7-4990-8263-491C74950AEB}" dt="2023-03-12T14:03:17.238" v="956"/>
          <ac:spMkLst>
            <pc:docMk/>
            <pc:sldMk cId="3694086407" sldId="465"/>
            <ac:spMk id="24" creationId="{DA4BF8B9-D544-85FE-2306-F85ADDDAE7A9}"/>
          </ac:spMkLst>
        </pc:spChg>
      </pc:sldChg>
      <pc:sldChg chg="delSp modSp add replId">
        <pc:chgData name="Völkel, Tobias" userId="S::ru22boda@fauad.fau.de::9c02bf22-18bb-468a-b263-c51c2dc523eb" providerId="AD" clId="Web-{2F601D72-6DB7-4990-8263-491C74950AEB}" dt="2023-03-12T12:13:53.747" v="787"/>
        <pc:sldMkLst>
          <pc:docMk/>
          <pc:sldMk cId="1610430565" sldId="466"/>
        </pc:sldMkLst>
        <pc:spChg chg="mod">
          <ac:chgData name="Völkel, Tobias" userId="S::ru22boda@fauad.fau.de::9c02bf22-18bb-468a-b263-c51c2dc523eb" providerId="AD" clId="Web-{2F601D72-6DB7-4990-8263-491C74950AEB}" dt="2023-03-12T12:02:58.969" v="779" actId="20577"/>
          <ac:spMkLst>
            <pc:docMk/>
            <pc:sldMk cId="1610430565" sldId="466"/>
            <ac:spMk id="2" creationId="{ED6C46B3-551E-EB4A-1B19-8431C04D399B}"/>
          </ac:spMkLst>
        </pc:spChg>
        <pc:spChg chg="del">
          <ac:chgData name="Völkel, Tobias" userId="S::ru22boda@fauad.fau.de::9c02bf22-18bb-468a-b263-c51c2dc523eb" providerId="AD" clId="Web-{2F601D72-6DB7-4990-8263-491C74950AEB}" dt="2023-03-12T12:13:52.450" v="786"/>
          <ac:spMkLst>
            <pc:docMk/>
            <pc:sldMk cId="1610430565" sldId="466"/>
            <ac:spMk id="4" creationId="{E6B1F4AE-AE35-B46E-805A-E6D4E5C8BEF4}"/>
          </ac:spMkLst>
        </pc:spChg>
        <pc:spChg chg="del">
          <ac:chgData name="Völkel, Tobias" userId="S::ru22boda@fauad.fau.de::9c02bf22-18bb-468a-b263-c51c2dc523eb" providerId="AD" clId="Web-{2F601D72-6DB7-4990-8263-491C74950AEB}" dt="2023-03-12T12:13:51.559" v="785"/>
          <ac:spMkLst>
            <pc:docMk/>
            <pc:sldMk cId="1610430565" sldId="466"/>
            <ac:spMk id="5" creationId="{AA8A3B1F-6523-AA95-AAE1-690F16264D94}"/>
          </ac:spMkLst>
        </pc:spChg>
        <pc:spChg chg="del">
          <ac:chgData name="Völkel, Tobias" userId="S::ru22boda@fauad.fau.de::9c02bf22-18bb-468a-b263-c51c2dc523eb" providerId="AD" clId="Web-{2F601D72-6DB7-4990-8263-491C74950AEB}" dt="2023-03-12T12:13:48.450" v="783"/>
          <ac:spMkLst>
            <pc:docMk/>
            <pc:sldMk cId="1610430565" sldId="466"/>
            <ac:spMk id="6" creationId="{4C3379F3-C152-22FC-5AE6-C3BE8968FC1F}"/>
          </ac:spMkLst>
        </pc:spChg>
        <pc:spChg chg="mod">
          <ac:chgData name="Völkel, Tobias" userId="S::ru22boda@fauad.fau.de::9c02bf22-18bb-468a-b263-c51c2dc523eb" providerId="AD" clId="Web-{2F601D72-6DB7-4990-8263-491C74950AEB}" dt="2023-03-12T12:03:09.548" v="780" actId="1076"/>
          <ac:spMkLst>
            <pc:docMk/>
            <pc:sldMk cId="1610430565" sldId="466"/>
            <ac:spMk id="7" creationId="{77755B5F-5B92-9175-C19B-E27003856FAD}"/>
          </ac:spMkLst>
        </pc:spChg>
        <pc:spChg chg="del">
          <ac:chgData name="Völkel, Tobias" userId="S::ru22boda@fauad.fau.de::9c02bf22-18bb-468a-b263-c51c2dc523eb" providerId="AD" clId="Web-{2F601D72-6DB7-4990-8263-491C74950AEB}" dt="2023-03-12T12:13:47.371" v="782"/>
          <ac:spMkLst>
            <pc:docMk/>
            <pc:sldMk cId="1610430565" sldId="466"/>
            <ac:spMk id="8" creationId="{CF34AFA1-3E68-7E46-F214-9F4F88A3558C}"/>
          </ac:spMkLst>
        </pc:spChg>
        <pc:spChg chg="del">
          <ac:chgData name="Völkel, Tobias" userId="S::ru22boda@fauad.fau.de::9c02bf22-18bb-468a-b263-c51c2dc523eb" providerId="AD" clId="Web-{2F601D72-6DB7-4990-8263-491C74950AEB}" dt="2023-03-12T12:13:50.309" v="784"/>
          <ac:spMkLst>
            <pc:docMk/>
            <pc:sldMk cId="1610430565" sldId="466"/>
            <ac:spMk id="11" creationId="{9E862F88-2B6B-9D31-F69F-99B17FF1F480}"/>
          </ac:spMkLst>
        </pc:spChg>
        <pc:spChg chg="del">
          <ac:chgData name="Völkel, Tobias" userId="S::ru22boda@fauad.fau.de::9c02bf22-18bb-468a-b263-c51c2dc523eb" providerId="AD" clId="Web-{2F601D72-6DB7-4990-8263-491C74950AEB}" dt="2023-03-12T12:13:46.106" v="781"/>
          <ac:spMkLst>
            <pc:docMk/>
            <pc:sldMk cId="1610430565" sldId="466"/>
            <ac:spMk id="14" creationId="{36524B13-3083-EE3D-7344-3BA9222A0038}"/>
          </ac:spMkLst>
        </pc:spChg>
        <pc:spChg chg="del">
          <ac:chgData name="Völkel, Tobias" userId="S::ru22boda@fauad.fau.de::9c02bf22-18bb-468a-b263-c51c2dc523eb" providerId="AD" clId="Web-{2F601D72-6DB7-4990-8263-491C74950AEB}" dt="2023-03-12T12:13:53.747" v="787"/>
          <ac:spMkLst>
            <pc:docMk/>
            <pc:sldMk cId="1610430565" sldId="466"/>
            <ac:spMk id="16" creationId="{8777DEF9-FED8-CA10-59CE-5E1AC36B06DD}"/>
          </ac:spMkLst>
        </pc:spChg>
      </pc:sldChg>
      <pc:sldChg chg="add del replId">
        <pc:chgData name="Völkel, Tobias" userId="S::ru22boda@fauad.fau.de::9c02bf22-18bb-468a-b263-c51c2dc523eb" providerId="AD" clId="Web-{2F601D72-6DB7-4990-8263-491C74950AEB}" dt="2023-03-12T14:01:37.746" v="904"/>
        <pc:sldMkLst>
          <pc:docMk/>
          <pc:sldMk cId="2371514318" sldId="468"/>
        </pc:sldMkLst>
      </pc:sldChg>
      <pc:sldMasterChg chg="add del addSldLayout delSldLayout">
        <pc:chgData name="Völkel, Tobias" userId="S::ru22boda@fauad.fau.de::9c02bf22-18bb-468a-b263-c51c2dc523eb" providerId="AD" clId="Web-{2F601D72-6DB7-4990-8263-491C74950AEB}" dt="2023-03-12T11:40:44.543" v="38"/>
        <pc:sldMasterMkLst>
          <pc:docMk/>
          <pc:sldMasterMk cId="3064486021" sldId="2147483648"/>
        </pc:sldMasterMkLst>
        <pc:sldLayoutChg chg="add del">
          <pc:chgData name="Völkel, Tobias" userId="S::ru22boda@fauad.fau.de::9c02bf22-18bb-468a-b263-c51c2dc523eb" providerId="AD" clId="Web-{2F601D72-6DB7-4990-8263-491C74950AEB}" dt="2023-03-12T11:40:44.543" v="38"/>
          <pc:sldLayoutMkLst>
            <pc:docMk/>
            <pc:sldMasterMk cId="3064486021" sldId="2147483648"/>
            <pc:sldLayoutMk cId="3913447195" sldId="2147483649"/>
          </pc:sldLayoutMkLst>
        </pc:sldLayoutChg>
        <pc:sldLayoutChg chg="add del">
          <pc:chgData name="Völkel, Tobias" userId="S::ru22boda@fauad.fau.de::9c02bf22-18bb-468a-b263-c51c2dc523eb" providerId="AD" clId="Web-{2F601D72-6DB7-4990-8263-491C74950AEB}" dt="2023-03-12T11:40:44.543" v="38"/>
          <pc:sldLayoutMkLst>
            <pc:docMk/>
            <pc:sldMasterMk cId="3064486021" sldId="2147483648"/>
            <pc:sldLayoutMk cId="4194010606" sldId="2147483650"/>
          </pc:sldLayoutMkLst>
        </pc:sldLayoutChg>
        <pc:sldLayoutChg chg="add del">
          <pc:chgData name="Völkel, Tobias" userId="S::ru22boda@fauad.fau.de::9c02bf22-18bb-468a-b263-c51c2dc523eb" providerId="AD" clId="Web-{2F601D72-6DB7-4990-8263-491C74950AEB}" dt="2023-03-12T11:40:44.543" v="38"/>
          <pc:sldLayoutMkLst>
            <pc:docMk/>
            <pc:sldMasterMk cId="3064486021" sldId="2147483648"/>
            <pc:sldLayoutMk cId="4267182102" sldId="2147483651"/>
          </pc:sldLayoutMkLst>
        </pc:sldLayoutChg>
        <pc:sldLayoutChg chg="add del">
          <pc:chgData name="Völkel, Tobias" userId="S::ru22boda@fauad.fau.de::9c02bf22-18bb-468a-b263-c51c2dc523eb" providerId="AD" clId="Web-{2F601D72-6DB7-4990-8263-491C74950AEB}" dt="2023-03-12T11:40:44.543" v="38"/>
          <pc:sldLayoutMkLst>
            <pc:docMk/>
            <pc:sldMasterMk cId="3064486021" sldId="2147483648"/>
            <pc:sldLayoutMk cId="3033080970" sldId="2147483652"/>
          </pc:sldLayoutMkLst>
        </pc:sldLayoutChg>
        <pc:sldLayoutChg chg="add del">
          <pc:chgData name="Völkel, Tobias" userId="S::ru22boda@fauad.fau.de::9c02bf22-18bb-468a-b263-c51c2dc523eb" providerId="AD" clId="Web-{2F601D72-6DB7-4990-8263-491C74950AEB}" dt="2023-03-12T11:40:44.543" v="38"/>
          <pc:sldLayoutMkLst>
            <pc:docMk/>
            <pc:sldMasterMk cId="3064486021" sldId="2147483648"/>
            <pc:sldLayoutMk cId="3508393294" sldId="2147483653"/>
          </pc:sldLayoutMkLst>
        </pc:sldLayoutChg>
        <pc:sldLayoutChg chg="add del">
          <pc:chgData name="Völkel, Tobias" userId="S::ru22boda@fauad.fau.de::9c02bf22-18bb-468a-b263-c51c2dc523eb" providerId="AD" clId="Web-{2F601D72-6DB7-4990-8263-491C74950AEB}" dt="2023-03-12T11:40:44.543" v="38"/>
          <pc:sldLayoutMkLst>
            <pc:docMk/>
            <pc:sldMasterMk cId="3064486021" sldId="2147483648"/>
            <pc:sldLayoutMk cId="3149628092" sldId="2147483654"/>
          </pc:sldLayoutMkLst>
        </pc:sldLayoutChg>
        <pc:sldLayoutChg chg="add del">
          <pc:chgData name="Völkel, Tobias" userId="S::ru22boda@fauad.fau.de::9c02bf22-18bb-468a-b263-c51c2dc523eb" providerId="AD" clId="Web-{2F601D72-6DB7-4990-8263-491C74950AEB}" dt="2023-03-12T11:40:44.543" v="38"/>
          <pc:sldLayoutMkLst>
            <pc:docMk/>
            <pc:sldMasterMk cId="3064486021" sldId="2147483648"/>
            <pc:sldLayoutMk cId="4229741412" sldId="2147483655"/>
          </pc:sldLayoutMkLst>
        </pc:sldLayoutChg>
        <pc:sldLayoutChg chg="add del">
          <pc:chgData name="Völkel, Tobias" userId="S::ru22boda@fauad.fau.de::9c02bf22-18bb-468a-b263-c51c2dc523eb" providerId="AD" clId="Web-{2F601D72-6DB7-4990-8263-491C74950AEB}" dt="2023-03-12T11:40:44.543" v="38"/>
          <pc:sldLayoutMkLst>
            <pc:docMk/>
            <pc:sldMasterMk cId="3064486021" sldId="2147483648"/>
            <pc:sldLayoutMk cId="3110134367" sldId="2147483656"/>
          </pc:sldLayoutMkLst>
        </pc:sldLayoutChg>
        <pc:sldLayoutChg chg="add del">
          <pc:chgData name="Völkel, Tobias" userId="S::ru22boda@fauad.fau.de::9c02bf22-18bb-468a-b263-c51c2dc523eb" providerId="AD" clId="Web-{2F601D72-6DB7-4990-8263-491C74950AEB}" dt="2023-03-12T11:40:44.543" v="38"/>
          <pc:sldLayoutMkLst>
            <pc:docMk/>
            <pc:sldMasterMk cId="3064486021" sldId="2147483648"/>
            <pc:sldLayoutMk cId="2299126901" sldId="2147483657"/>
          </pc:sldLayoutMkLst>
        </pc:sldLayoutChg>
        <pc:sldLayoutChg chg="add del">
          <pc:chgData name="Völkel, Tobias" userId="S::ru22boda@fauad.fau.de::9c02bf22-18bb-468a-b263-c51c2dc523eb" providerId="AD" clId="Web-{2F601D72-6DB7-4990-8263-491C74950AEB}" dt="2023-03-12T11:40:44.543" v="38"/>
          <pc:sldLayoutMkLst>
            <pc:docMk/>
            <pc:sldMasterMk cId="3064486021" sldId="2147483648"/>
            <pc:sldLayoutMk cId="1761014575" sldId="2147483658"/>
          </pc:sldLayoutMkLst>
        </pc:sldLayoutChg>
        <pc:sldLayoutChg chg="add del">
          <pc:chgData name="Völkel, Tobias" userId="S::ru22boda@fauad.fau.de::9c02bf22-18bb-468a-b263-c51c2dc523eb" providerId="AD" clId="Web-{2F601D72-6DB7-4990-8263-491C74950AEB}" dt="2023-03-12T11:40:44.543" v="38"/>
          <pc:sldLayoutMkLst>
            <pc:docMk/>
            <pc:sldMasterMk cId="3064486021" sldId="2147483648"/>
            <pc:sldLayoutMk cId="2409701839" sldId="2147483659"/>
          </pc:sldLayoutMkLst>
        </pc:sldLayoutChg>
      </pc:sldMasterChg>
      <pc:sldMasterChg chg="addSldLayout">
        <pc:chgData name="Völkel, Tobias" userId="S::ru22boda@fauad.fau.de::9c02bf22-18bb-468a-b263-c51c2dc523eb" providerId="AD" clId="Web-{2F601D72-6DB7-4990-8263-491C74950AEB}" dt="2023-03-12T11:39:35.853" v="18"/>
        <pc:sldMasterMkLst>
          <pc:docMk/>
          <pc:sldMasterMk cId="1016738500" sldId="2147483714"/>
        </pc:sldMasterMkLst>
        <pc:sldLayoutChg chg="add replId">
          <pc:chgData name="Völkel, Tobias" userId="S::ru22boda@fauad.fau.de::9c02bf22-18bb-468a-b263-c51c2dc523eb" providerId="AD" clId="Web-{2F601D72-6DB7-4990-8263-491C74950AEB}" dt="2023-03-12T11:39:35.853" v="18"/>
          <pc:sldLayoutMkLst>
            <pc:docMk/>
            <pc:sldMasterMk cId="1016738500" sldId="2147483714"/>
            <pc:sldLayoutMk cId="630209616" sldId="2147483731"/>
          </pc:sldLayoutMkLst>
        </pc:sldLayoutChg>
      </pc:sldMasterChg>
    </pc:docChg>
  </pc:docChgLst>
  <pc:docChgLst>
    <pc:chgData name="Fourati, Omar" userId="S::oz48ohuv@fauad.fau.de::543b926d-baf3-4e4d-861e-19746c37446c" providerId="AD" clId="Web-{5CDC6AF4-9709-4823-B112-9EDEA3BBA6C4}"/>
    <pc:docChg chg="addSld delSld modSld">
      <pc:chgData name="Fourati, Omar" userId="S::oz48ohuv@fauad.fau.de::543b926d-baf3-4e4d-861e-19746c37446c" providerId="AD" clId="Web-{5CDC6AF4-9709-4823-B112-9EDEA3BBA6C4}" dt="2023-01-15T16:23:14.444" v="774" actId="20577"/>
      <pc:docMkLst>
        <pc:docMk/>
      </pc:docMkLst>
      <pc:sldChg chg="modSp">
        <pc:chgData name="Fourati, Omar" userId="S::oz48ohuv@fauad.fau.de::543b926d-baf3-4e4d-861e-19746c37446c" providerId="AD" clId="Web-{5CDC6AF4-9709-4823-B112-9EDEA3BBA6C4}" dt="2023-01-15T15:17:46.955" v="0" actId="20577"/>
        <pc:sldMkLst>
          <pc:docMk/>
          <pc:sldMk cId="1105244631" sldId="309"/>
        </pc:sldMkLst>
        <pc:spChg chg="mod">
          <ac:chgData name="Fourati, Omar" userId="S::oz48ohuv@fauad.fau.de::543b926d-baf3-4e4d-861e-19746c37446c" providerId="AD" clId="Web-{5CDC6AF4-9709-4823-B112-9EDEA3BBA6C4}" dt="2023-01-15T15:17:46.955" v="0" actId="20577"/>
          <ac:spMkLst>
            <pc:docMk/>
            <pc:sldMk cId="1105244631" sldId="309"/>
            <ac:spMk id="11" creationId="{BD2BA23C-CD23-972A-9420-7C4AC915D4B1}"/>
          </ac:spMkLst>
        </pc:spChg>
      </pc:sldChg>
      <pc:sldChg chg="addSp delSp modSp">
        <pc:chgData name="Fourati, Omar" userId="S::oz48ohuv@fauad.fau.de::543b926d-baf3-4e4d-861e-19746c37446c" providerId="AD" clId="Web-{5CDC6AF4-9709-4823-B112-9EDEA3BBA6C4}" dt="2023-01-15T15:22:39.215" v="48" actId="1076"/>
        <pc:sldMkLst>
          <pc:docMk/>
          <pc:sldMk cId="2822663259" sldId="310"/>
        </pc:sldMkLst>
        <pc:spChg chg="add del mod">
          <ac:chgData name="Fourati, Omar" userId="S::oz48ohuv@fauad.fau.de::543b926d-baf3-4e4d-861e-19746c37446c" providerId="AD" clId="Web-{5CDC6AF4-9709-4823-B112-9EDEA3BBA6C4}" dt="2023-01-15T15:20:09.085" v="6"/>
          <ac:spMkLst>
            <pc:docMk/>
            <pc:sldMk cId="2822663259" sldId="310"/>
            <ac:spMk id="6" creationId="{A38612E0-CD68-B4FF-0BF1-DD90F31CB836}"/>
          </ac:spMkLst>
        </pc:spChg>
        <pc:spChg chg="add mod">
          <ac:chgData name="Fourati, Omar" userId="S::oz48ohuv@fauad.fau.de::543b926d-baf3-4e4d-861e-19746c37446c" providerId="AD" clId="Web-{5CDC6AF4-9709-4823-B112-9EDEA3BBA6C4}" dt="2023-01-15T15:20:06.819" v="5"/>
          <ac:spMkLst>
            <pc:docMk/>
            <pc:sldMk cId="2822663259" sldId="310"/>
            <ac:spMk id="9" creationId="{96B5B2A2-D1BC-9814-0944-802787D3EBB8}"/>
          </ac:spMkLst>
        </pc:spChg>
        <pc:spChg chg="add del mod">
          <ac:chgData name="Fourati, Omar" userId="S::oz48ohuv@fauad.fau.de::543b926d-baf3-4e4d-861e-19746c37446c" providerId="AD" clId="Web-{5CDC6AF4-9709-4823-B112-9EDEA3BBA6C4}" dt="2023-01-15T15:20:55.243" v="11"/>
          <ac:spMkLst>
            <pc:docMk/>
            <pc:sldMk cId="2822663259" sldId="310"/>
            <ac:spMk id="12" creationId="{B9F6318E-4070-9B70-4203-8CBF415D44F1}"/>
          </ac:spMkLst>
        </pc:spChg>
        <pc:spChg chg="add del mod">
          <ac:chgData name="Fourati, Omar" userId="S::oz48ohuv@fauad.fau.de::543b926d-baf3-4e4d-861e-19746c37446c" providerId="AD" clId="Web-{5CDC6AF4-9709-4823-B112-9EDEA3BBA6C4}" dt="2023-01-15T15:21:51.964" v="16"/>
          <ac:spMkLst>
            <pc:docMk/>
            <pc:sldMk cId="2822663259" sldId="310"/>
            <ac:spMk id="15" creationId="{B61302F9-58DD-79CF-0D12-A18ADED50347}"/>
          </ac:spMkLst>
        </pc:spChg>
        <pc:spChg chg="mod">
          <ac:chgData name="Fourati, Omar" userId="S::oz48ohuv@fauad.fau.de::543b926d-baf3-4e4d-861e-19746c37446c" providerId="AD" clId="Web-{5CDC6AF4-9709-4823-B112-9EDEA3BBA6C4}" dt="2023-01-15T15:22:08.589" v="44" actId="20577"/>
          <ac:spMkLst>
            <pc:docMk/>
            <pc:sldMk cId="2822663259" sldId="310"/>
            <ac:spMk id="29" creationId="{22E2A163-C4FA-1F8B-18FE-0C8C53976A74}"/>
          </ac:spMkLst>
        </pc:spChg>
        <pc:spChg chg="del">
          <ac:chgData name="Fourati, Omar" userId="S::oz48ohuv@fauad.fau.de::543b926d-baf3-4e4d-861e-19746c37446c" providerId="AD" clId="Web-{5CDC6AF4-9709-4823-B112-9EDEA3BBA6C4}" dt="2023-01-15T15:19:58.897" v="1"/>
          <ac:spMkLst>
            <pc:docMk/>
            <pc:sldMk cId="2822663259" sldId="310"/>
            <ac:spMk id="30" creationId="{3074F503-72E7-E7F2-242A-5DE4260BF763}"/>
          </ac:spMkLst>
        </pc:spChg>
        <pc:spChg chg="del">
          <ac:chgData name="Fourati, Omar" userId="S::oz48ohuv@fauad.fau.de::543b926d-baf3-4e4d-861e-19746c37446c" providerId="AD" clId="Web-{5CDC6AF4-9709-4823-B112-9EDEA3BBA6C4}" dt="2023-01-15T15:19:59.522" v="2"/>
          <ac:spMkLst>
            <pc:docMk/>
            <pc:sldMk cId="2822663259" sldId="310"/>
            <ac:spMk id="31" creationId="{5F196243-A699-9549-5A54-8DD1B4554C52}"/>
          </ac:spMkLst>
        </pc:spChg>
        <pc:picChg chg="add del mod ord modCrop">
          <ac:chgData name="Fourati, Omar" userId="S::oz48ohuv@fauad.fau.de::543b926d-baf3-4e4d-861e-19746c37446c" providerId="AD" clId="Web-{5CDC6AF4-9709-4823-B112-9EDEA3BBA6C4}" dt="2023-01-15T15:20:06.819" v="5"/>
          <ac:picMkLst>
            <pc:docMk/>
            <pc:sldMk cId="2822663259" sldId="310"/>
            <ac:picMk id="7" creationId="{66502ACB-10EB-1BE6-4C4F-C12C11A0F066}"/>
          </ac:picMkLst>
        </pc:picChg>
        <pc:picChg chg="add del mod ord">
          <ac:chgData name="Fourati, Omar" userId="S::oz48ohuv@fauad.fau.de::543b926d-baf3-4e4d-861e-19746c37446c" providerId="AD" clId="Web-{5CDC6AF4-9709-4823-B112-9EDEA3BBA6C4}" dt="2023-01-15T15:20:54.024" v="10"/>
          <ac:picMkLst>
            <pc:docMk/>
            <pc:sldMk cId="2822663259" sldId="310"/>
            <ac:picMk id="10" creationId="{6BE247FB-E0C2-15AA-20EB-3C4D50219482}"/>
          </ac:picMkLst>
        </pc:picChg>
        <pc:picChg chg="add del mod ord">
          <ac:chgData name="Fourati, Omar" userId="S::oz48ohuv@fauad.fau.de::543b926d-baf3-4e4d-861e-19746c37446c" providerId="AD" clId="Web-{5CDC6AF4-9709-4823-B112-9EDEA3BBA6C4}" dt="2023-01-15T15:21:50.370" v="15"/>
          <ac:picMkLst>
            <pc:docMk/>
            <pc:sldMk cId="2822663259" sldId="310"/>
            <ac:picMk id="13" creationId="{D2BCA19E-C249-F324-83F0-2578CF023196}"/>
          </ac:picMkLst>
        </pc:picChg>
        <pc:picChg chg="add mod ord">
          <ac:chgData name="Fourati, Omar" userId="S::oz48ohuv@fauad.fau.de::543b926d-baf3-4e4d-861e-19746c37446c" providerId="AD" clId="Web-{5CDC6AF4-9709-4823-B112-9EDEA3BBA6C4}" dt="2023-01-15T15:22:39.215" v="48" actId="1076"/>
          <ac:picMkLst>
            <pc:docMk/>
            <pc:sldMk cId="2822663259" sldId="310"/>
            <ac:picMk id="16" creationId="{FAEDFB44-1CBF-0F29-B51C-433491D70783}"/>
          </ac:picMkLst>
        </pc:picChg>
      </pc:sldChg>
      <pc:sldChg chg="addSp delSp modSp new">
        <pc:chgData name="Fourati, Omar" userId="S::oz48ohuv@fauad.fau.de::543b926d-baf3-4e4d-861e-19746c37446c" providerId="AD" clId="Web-{5CDC6AF4-9709-4823-B112-9EDEA3BBA6C4}" dt="2023-01-15T15:59:51.455" v="518" actId="20577"/>
        <pc:sldMkLst>
          <pc:docMk/>
          <pc:sldMk cId="3820454270" sldId="324"/>
        </pc:sldMkLst>
        <pc:spChg chg="mod">
          <ac:chgData name="Fourati, Omar" userId="S::oz48ohuv@fauad.fau.de::543b926d-baf3-4e4d-861e-19746c37446c" providerId="AD" clId="Web-{5CDC6AF4-9709-4823-B112-9EDEA3BBA6C4}" dt="2023-01-15T15:59:51.455" v="518" actId="20577"/>
          <ac:spMkLst>
            <pc:docMk/>
            <pc:sldMk cId="3820454270" sldId="324"/>
            <ac:spMk id="5" creationId="{90273FFE-7461-0DAA-CC2E-89BCF9748264}"/>
          </ac:spMkLst>
        </pc:spChg>
        <pc:spChg chg="del mod">
          <ac:chgData name="Fourati, Omar" userId="S::oz48ohuv@fauad.fau.de::543b926d-baf3-4e4d-861e-19746c37446c" providerId="AD" clId="Web-{5CDC6AF4-9709-4823-B112-9EDEA3BBA6C4}" dt="2023-01-15T15:23:48.452" v="52"/>
          <ac:spMkLst>
            <pc:docMk/>
            <pc:sldMk cId="3820454270" sldId="324"/>
            <ac:spMk id="6" creationId="{0FF803FD-41BD-3843-C185-CF4898ED9027}"/>
          </ac:spMkLst>
        </pc:spChg>
        <pc:spChg chg="mod">
          <ac:chgData name="Fourati, Omar" userId="S::oz48ohuv@fauad.fau.de::543b926d-baf3-4e4d-861e-19746c37446c" providerId="AD" clId="Web-{5CDC6AF4-9709-4823-B112-9EDEA3BBA6C4}" dt="2023-01-15T15:59:34.438" v="514" actId="20577"/>
          <ac:spMkLst>
            <pc:docMk/>
            <pc:sldMk cId="3820454270" sldId="324"/>
            <ac:spMk id="8" creationId="{582B6438-C53F-A8AD-2FDC-DB27C80209A4}"/>
          </ac:spMkLst>
        </pc:spChg>
        <pc:spChg chg="add mod">
          <ac:chgData name="Fourati, Omar" userId="S::oz48ohuv@fauad.fau.de::543b926d-baf3-4e4d-861e-19746c37446c" providerId="AD" clId="Web-{5CDC6AF4-9709-4823-B112-9EDEA3BBA6C4}" dt="2023-01-15T15:59:00.546" v="496" actId="20577"/>
          <ac:spMkLst>
            <pc:docMk/>
            <pc:sldMk cId="3820454270" sldId="324"/>
            <ac:spMk id="10" creationId="{C0D7F605-34FF-A05A-2E6B-18955BE27D16}"/>
          </ac:spMkLst>
        </pc:spChg>
      </pc:sldChg>
      <pc:sldChg chg="new del">
        <pc:chgData name="Fourati, Omar" userId="S::oz48ohuv@fauad.fau.de::543b926d-baf3-4e4d-861e-19746c37446c" providerId="AD" clId="Web-{5CDC6AF4-9709-4823-B112-9EDEA3BBA6C4}" dt="2023-01-15T16:00:07.518" v="521"/>
        <pc:sldMkLst>
          <pc:docMk/>
          <pc:sldMk cId="2142963271" sldId="325"/>
        </pc:sldMkLst>
      </pc:sldChg>
      <pc:sldChg chg="addSp delSp modSp add replId">
        <pc:chgData name="Fourati, Omar" userId="S::oz48ohuv@fauad.fau.de::543b926d-baf3-4e4d-861e-19746c37446c" providerId="AD" clId="Web-{5CDC6AF4-9709-4823-B112-9EDEA3BBA6C4}" dt="2023-01-15T16:23:14.444" v="774" actId="20577"/>
        <pc:sldMkLst>
          <pc:docMk/>
          <pc:sldMk cId="786377102" sldId="326"/>
        </pc:sldMkLst>
        <pc:spChg chg="mod">
          <ac:chgData name="Fourati, Omar" userId="S::oz48ohuv@fauad.fau.de::543b926d-baf3-4e4d-861e-19746c37446c" providerId="AD" clId="Web-{5CDC6AF4-9709-4823-B112-9EDEA3BBA6C4}" dt="2023-01-15T16:23:14.444" v="774" actId="20577"/>
          <ac:spMkLst>
            <pc:docMk/>
            <pc:sldMk cId="786377102" sldId="326"/>
            <ac:spMk id="5" creationId="{90273FFE-7461-0DAA-CC2E-89BCF9748264}"/>
          </ac:spMkLst>
        </pc:spChg>
        <pc:spChg chg="del">
          <ac:chgData name="Fourati, Omar" userId="S::oz48ohuv@fauad.fau.de::543b926d-baf3-4e4d-861e-19746c37446c" providerId="AD" clId="Web-{5CDC6AF4-9709-4823-B112-9EDEA3BBA6C4}" dt="2023-01-15T16:09:55.617" v="589"/>
          <ac:spMkLst>
            <pc:docMk/>
            <pc:sldMk cId="786377102" sldId="326"/>
            <ac:spMk id="7" creationId="{1D4C3A20-3B81-F808-A69C-E6F6F8690D1C}"/>
          </ac:spMkLst>
        </pc:spChg>
        <pc:spChg chg="add del mod">
          <ac:chgData name="Fourati, Omar" userId="S::oz48ohuv@fauad.fau.de::543b926d-baf3-4e4d-861e-19746c37446c" providerId="AD" clId="Web-{5CDC6AF4-9709-4823-B112-9EDEA3BBA6C4}" dt="2023-01-15T16:10:09.243" v="593"/>
          <ac:spMkLst>
            <pc:docMk/>
            <pc:sldMk cId="786377102" sldId="326"/>
            <ac:spMk id="11" creationId="{F274A9B3-D288-54B7-D92A-781927A3E992}"/>
          </ac:spMkLst>
        </pc:spChg>
        <pc:spChg chg="add mod">
          <ac:chgData name="Fourati, Omar" userId="S::oz48ohuv@fauad.fau.de::543b926d-baf3-4e4d-861e-19746c37446c" providerId="AD" clId="Web-{5CDC6AF4-9709-4823-B112-9EDEA3BBA6C4}" dt="2023-01-15T16:10:17.181" v="595"/>
          <ac:spMkLst>
            <pc:docMk/>
            <pc:sldMk cId="786377102" sldId="326"/>
            <ac:spMk id="15" creationId="{AF6079DB-FFD0-3480-598A-CECB16020114}"/>
          </ac:spMkLst>
        </pc:spChg>
        <pc:picChg chg="add del mod ord modCrop">
          <ac:chgData name="Fourati, Omar" userId="S::oz48ohuv@fauad.fau.de::543b926d-baf3-4e4d-861e-19746c37446c" providerId="AD" clId="Web-{5CDC6AF4-9709-4823-B112-9EDEA3BBA6C4}" dt="2023-01-15T16:10:06.805" v="592"/>
          <ac:picMkLst>
            <pc:docMk/>
            <pc:sldMk cId="786377102" sldId="326"/>
            <ac:picMk id="6" creationId="{0D53EF7A-316E-AF40-CCFA-AD0752F2EBB6}"/>
          </ac:picMkLst>
        </pc:picChg>
        <pc:picChg chg="add del mod ord modCrop">
          <ac:chgData name="Fourati, Omar" userId="S::oz48ohuv@fauad.fau.de::543b926d-baf3-4e4d-861e-19746c37446c" providerId="AD" clId="Web-{5CDC6AF4-9709-4823-B112-9EDEA3BBA6C4}" dt="2023-01-15T16:10:17.181" v="595"/>
          <ac:picMkLst>
            <pc:docMk/>
            <pc:sldMk cId="786377102" sldId="326"/>
            <ac:picMk id="12" creationId="{566E787E-39B5-7C41-3216-4E0078F00EAA}"/>
          </ac:picMkLst>
        </pc:picChg>
        <pc:picChg chg="add mod">
          <ac:chgData name="Fourati, Omar" userId="S::oz48ohuv@fauad.fau.de::543b926d-baf3-4e4d-861e-19746c37446c" providerId="AD" clId="Web-{5CDC6AF4-9709-4823-B112-9EDEA3BBA6C4}" dt="2023-01-15T16:11:01.151" v="610" actId="1076"/>
          <ac:picMkLst>
            <pc:docMk/>
            <pc:sldMk cId="786377102" sldId="326"/>
            <ac:picMk id="13" creationId="{FD5D7538-F410-3972-E316-4CDFA568D980}"/>
          </ac:picMkLst>
        </pc:picChg>
      </pc:sldChg>
    </pc:docChg>
  </pc:docChgLst>
  <pc:docChgLst>
    <pc:chgData name="Völkel, Tobias" userId="S::ru22boda@fauad.fau.de::9c02bf22-18bb-468a-b263-c51c2dc523eb" providerId="AD" clId="Web-{92865F7D-273A-422A-B016-F42975B93509}"/>
    <pc:docChg chg="modSld">
      <pc:chgData name="Völkel, Tobias" userId="S::ru22boda@fauad.fau.de::9c02bf22-18bb-468a-b263-c51c2dc523eb" providerId="AD" clId="Web-{92865F7D-273A-422A-B016-F42975B93509}" dt="2023-03-12T20:56:25.817" v="4"/>
      <pc:docMkLst>
        <pc:docMk/>
      </pc:docMkLst>
      <pc:sldChg chg="addSp delSp">
        <pc:chgData name="Völkel, Tobias" userId="S::ru22boda@fauad.fau.de::9c02bf22-18bb-468a-b263-c51c2dc523eb" providerId="AD" clId="Web-{92865F7D-273A-422A-B016-F42975B93509}" dt="2023-03-12T20:56:25.817" v="4"/>
        <pc:sldMkLst>
          <pc:docMk/>
          <pc:sldMk cId="3005408630" sldId="482"/>
        </pc:sldMkLst>
        <pc:spChg chg="add del">
          <ac:chgData name="Völkel, Tobias" userId="S::ru22boda@fauad.fau.de::9c02bf22-18bb-468a-b263-c51c2dc523eb" providerId="AD" clId="Web-{92865F7D-273A-422A-B016-F42975B93509}" dt="2023-03-12T20:56:25.817" v="4"/>
          <ac:spMkLst>
            <pc:docMk/>
            <pc:sldMk cId="3005408630" sldId="482"/>
            <ac:spMk id="2" creationId="{D477877A-E29B-A32E-FC5D-1E7757050289}"/>
          </ac:spMkLst>
        </pc:spChg>
        <pc:spChg chg="add">
          <ac:chgData name="Völkel, Tobias" userId="S::ru22boda@fauad.fau.de::9c02bf22-18bb-468a-b263-c51c2dc523eb" providerId="AD" clId="Web-{92865F7D-273A-422A-B016-F42975B93509}" dt="2023-03-12T20:56:17.223" v="1"/>
          <ac:spMkLst>
            <pc:docMk/>
            <pc:sldMk cId="3005408630" sldId="482"/>
            <ac:spMk id="3" creationId="{D477877A-E29B-A32E-FC5D-1E7757050289}"/>
          </ac:spMkLst>
        </pc:spChg>
        <pc:spChg chg="add">
          <ac:chgData name="Völkel, Tobias" userId="S::ru22boda@fauad.fau.de::9c02bf22-18bb-468a-b263-c51c2dc523eb" providerId="AD" clId="Web-{92865F7D-273A-422A-B016-F42975B93509}" dt="2023-03-12T20:56:17.316" v="2"/>
          <ac:spMkLst>
            <pc:docMk/>
            <pc:sldMk cId="3005408630" sldId="482"/>
            <ac:spMk id="8" creationId="{D477877A-E29B-A32E-FC5D-1E7757050289}"/>
          </ac:spMkLst>
        </pc:spChg>
        <pc:spChg chg="add">
          <ac:chgData name="Völkel, Tobias" userId="S::ru22boda@fauad.fau.de::9c02bf22-18bb-468a-b263-c51c2dc523eb" providerId="AD" clId="Web-{92865F7D-273A-422A-B016-F42975B93509}" dt="2023-03-12T20:56:18.176" v="3"/>
          <ac:spMkLst>
            <pc:docMk/>
            <pc:sldMk cId="3005408630" sldId="482"/>
            <ac:spMk id="9" creationId="{D477877A-E29B-A32E-FC5D-1E7757050289}"/>
          </ac:spMkLst>
        </pc:spChg>
      </pc:sldChg>
    </pc:docChg>
  </pc:docChgLst>
  <pc:docChgLst>
    <pc:chgData name="Fourati, Omar" userId="S::oz48ohuv@fauad.fau.de::543b926d-baf3-4e4d-861e-19746c37446c" providerId="AD" clId="Web-{81D26D52-8158-4543-9E6E-366DCDAF35D6}"/>
    <pc:docChg chg="modSld">
      <pc:chgData name="Fourati, Omar" userId="S::oz48ohuv@fauad.fau.de::543b926d-baf3-4e4d-861e-19746c37446c" providerId="AD" clId="Web-{81D26D52-8158-4543-9E6E-366DCDAF35D6}" dt="2023-03-12T19:34:35.722" v="5" actId="1076"/>
      <pc:docMkLst>
        <pc:docMk/>
      </pc:docMkLst>
      <pc:sldChg chg="modSp">
        <pc:chgData name="Fourati, Omar" userId="S::oz48ohuv@fauad.fau.de::543b926d-baf3-4e4d-861e-19746c37446c" providerId="AD" clId="Web-{81D26D52-8158-4543-9E6E-366DCDAF35D6}" dt="2023-03-12T19:34:35.722" v="5" actId="1076"/>
        <pc:sldMkLst>
          <pc:docMk/>
          <pc:sldMk cId="2655198833" sldId="453"/>
        </pc:sldMkLst>
        <pc:spChg chg="mod">
          <ac:chgData name="Fourati, Omar" userId="S::oz48ohuv@fauad.fau.de::543b926d-baf3-4e4d-861e-19746c37446c" providerId="AD" clId="Web-{81D26D52-8158-4543-9E6E-366DCDAF35D6}" dt="2023-03-12T19:34:22.128" v="4" actId="1076"/>
          <ac:spMkLst>
            <pc:docMk/>
            <pc:sldMk cId="2655198833" sldId="453"/>
            <ac:spMk id="6" creationId="{1CC6A956-A954-4940-A619-381D56C1A856}"/>
          </ac:spMkLst>
        </pc:spChg>
        <pc:spChg chg="mod">
          <ac:chgData name="Fourati, Omar" userId="S::oz48ohuv@fauad.fau.de::543b926d-baf3-4e4d-861e-19746c37446c" providerId="AD" clId="Web-{81D26D52-8158-4543-9E6E-366DCDAF35D6}" dt="2023-03-12T19:34:35.722" v="5" actId="1076"/>
          <ac:spMkLst>
            <pc:docMk/>
            <pc:sldMk cId="2655198833" sldId="453"/>
            <ac:spMk id="8" creationId="{5B21E990-A9C2-D829-9CA9-19830AD45666}"/>
          </ac:spMkLst>
        </pc:spChg>
      </pc:sldChg>
    </pc:docChg>
  </pc:docChgLst>
  <pc:docChgLst>
    <pc:chgData name="Fourati, Omar" userId="S::oz48ohuv@fauad.fau.de::543b926d-baf3-4e4d-861e-19746c37446c" providerId="AD" clId="Web-{1B46869F-820A-414B-8EB3-7E334F179105}"/>
    <pc:docChg chg="modSld">
      <pc:chgData name="Fourati, Omar" userId="S::oz48ohuv@fauad.fau.de::543b926d-baf3-4e4d-861e-19746c37446c" providerId="AD" clId="Web-{1B46869F-820A-414B-8EB3-7E334F179105}" dt="2023-03-12T09:00:58.496" v="26"/>
      <pc:docMkLst>
        <pc:docMk/>
      </pc:docMkLst>
      <pc:sldChg chg="addSp delSp modSp">
        <pc:chgData name="Fourati, Omar" userId="S::oz48ohuv@fauad.fau.de::543b926d-baf3-4e4d-861e-19746c37446c" providerId="AD" clId="Web-{1B46869F-820A-414B-8EB3-7E334F179105}" dt="2023-03-12T09:00:58.496" v="26"/>
        <pc:sldMkLst>
          <pc:docMk/>
          <pc:sldMk cId="1731582872" sldId="456"/>
        </pc:sldMkLst>
        <pc:spChg chg="del">
          <ac:chgData name="Fourati, Omar" userId="S::oz48ohuv@fauad.fau.de::543b926d-baf3-4e4d-861e-19746c37446c" providerId="AD" clId="Web-{1B46869F-820A-414B-8EB3-7E334F179105}" dt="2023-03-12T08:55:10.501" v="3"/>
          <ac:spMkLst>
            <pc:docMk/>
            <pc:sldMk cId="1731582872" sldId="456"/>
            <ac:spMk id="2" creationId="{60D77095-7F3E-EECC-4A24-926BDB8B7F07}"/>
          </ac:spMkLst>
        </pc:spChg>
        <pc:spChg chg="add del">
          <ac:chgData name="Fourati, Omar" userId="S::oz48ohuv@fauad.fau.de::543b926d-baf3-4e4d-861e-19746c37446c" providerId="AD" clId="Web-{1B46869F-820A-414B-8EB3-7E334F179105}" dt="2023-03-12T09:00:44.215" v="21"/>
          <ac:spMkLst>
            <pc:docMk/>
            <pc:sldMk cId="1731582872" sldId="456"/>
            <ac:spMk id="5" creationId="{0AAA976D-48A0-9370-DE40-A636EA936F42}"/>
          </ac:spMkLst>
        </pc:spChg>
        <pc:spChg chg="add del">
          <ac:chgData name="Fourati, Omar" userId="S::oz48ohuv@fauad.fau.de::543b926d-baf3-4e4d-861e-19746c37446c" providerId="AD" clId="Web-{1B46869F-820A-414B-8EB3-7E334F179105}" dt="2023-03-12T09:00:24.558" v="12"/>
          <ac:spMkLst>
            <pc:docMk/>
            <pc:sldMk cId="1731582872" sldId="456"/>
            <ac:spMk id="7" creationId="{35077A9A-3D49-9840-834A-7699DE27DE21}"/>
          </ac:spMkLst>
        </pc:spChg>
        <pc:spChg chg="del">
          <ac:chgData name="Fourati, Omar" userId="S::oz48ohuv@fauad.fau.de::543b926d-baf3-4e4d-861e-19746c37446c" providerId="AD" clId="Web-{1B46869F-820A-414B-8EB3-7E334F179105}" dt="2023-03-12T08:55:10.548" v="4"/>
          <ac:spMkLst>
            <pc:docMk/>
            <pc:sldMk cId="1731582872" sldId="456"/>
            <ac:spMk id="8" creationId="{A10F5517-AF94-9112-AAB9-18216CFFD424}"/>
          </ac:spMkLst>
        </pc:spChg>
        <pc:spChg chg="add del mod">
          <ac:chgData name="Fourati, Omar" userId="S::oz48ohuv@fauad.fau.de::543b926d-baf3-4e4d-861e-19746c37446c" providerId="AD" clId="Web-{1B46869F-820A-414B-8EB3-7E334F179105}" dt="2023-03-12T09:00:25.292" v="15"/>
          <ac:spMkLst>
            <pc:docMk/>
            <pc:sldMk cId="1731582872" sldId="456"/>
            <ac:spMk id="10" creationId="{FDABFFD1-F122-0F35-FBE7-0B6DDA2808C0}"/>
          </ac:spMkLst>
        </pc:spChg>
        <pc:spChg chg="del">
          <ac:chgData name="Fourati, Omar" userId="S::oz48ohuv@fauad.fau.de::543b926d-baf3-4e4d-861e-19746c37446c" providerId="AD" clId="Web-{1B46869F-820A-414B-8EB3-7E334F179105}" dt="2023-03-12T08:55:10.579" v="5"/>
          <ac:spMkLst>
            <pc:docMk/>
            <pc:sldMk cId="1731582872" sldId="456"/>
            <ac:spMk id="11" creationId="{58AA6B2C-8518-0A26-75EA-0493E24F3E9B}"/>
          </ac:spMkLst>
        </pc:spChg>
        <pc:spChg chg="add del mod">
          <ac:chgData name="Fourati, Omar" userId="S::oz48ohuv@fauad.fau.de::543b926d-baf3-4e4d-861e-19746c37446c" providerId="AD" clId="Web-{1B46869F-820A-414B-8EB3-7E334F179105}" dt="2023-03-12T09:00:40.511" v="20"/>
          <ac:spMkLst>
            <pc:docMk/>
            <pc:sldMk cId="1731582872" sldId="456"/>
            <ac:spMk id="12" creationId="{9653EB9C-CB55-6E5B-D06D-503C46A3A419}"/>
          </ac:spMkLst>
        </pc:spChg>
        <pc:spChg chg="add del mod">
          <ac:chgData name="Fourati, Omar" userId="S::oz48ohuv@fauad.fau.de::543b926d-baf3-4e4d-861e-19746c37446c" providerId="AD" clId="Web-{1B46869F-820A-414B-8EB3-7E334F179105}" dt="2023-03-12T09:00:58.496" v="26"/>
          <ac:spMkLst>
            <pc:docMk/>
            <pc:sldMk cId="1731582872" sldId="456"/>
            <ac:spMk id="13" creationId="{A285DBDD-C478-C744-F41F-C0ECA3A94C85}"/>
          </ac:spMkLst>
        </pc:spChg>
        <pc:picChg chg="mod">
          <ac:chgData name="Fourati, Omar" userId="S::oz48ohuv@fauad.fau.de::543b926d-baf3-4e4d-861e-19746c37446c" providerId="AD" clId="Web-{1B46869F-820A-414B-8EB3-7E334F179105}" dt="2023-03-12T08:55:32.252" v="8" actId="1076"/>
          <ac:picMkLst>
            <pc:docMk/>
            <pc:sldMk cId="1731582872" sldId="456"/>
            <ac:picMk id="3" creationId="{36D23585-F42D-8BA2-EDBD-4A01B07A5B42}"/>
          </ac:picMkLst>
        </pc:picChg>
      </pc:sldChg>
    </pc:docChg>
  </pc:docChgLst>
  <pc:docChgLst>
    <pc:chgData name="Zhizi Wen" userId="b804997a-63ad-4c7f-9308-31a917908f04" providerId="ADAL" clId="{B10B7B39-2ABD-4C62-8983-C68601FCF583}"/>
    <pc:docChg chg="undo custSel addSld delSld modSld sldOrd addSection delSection modSection">
      <pc:chgData name="Zhizi Wen" userId="b804997a-63ad-4c7f-9308-31a917908f04" providerId="ADAL" clId="{B10B7B39-2ABD-4C62-8983-C68601FCF583}" dt="2023-03-13T14:09:56.692" v="10375" actId="47"/>
      <pc:docMkLst>
        <pc:docMk/>
      </pc:docMkLst>
      <pc:sldChg chg="addSp delSp modSp mod addCm">
        <pc:chgData name="Zhizi Wen" userId="b804997a-63ad-4c7f-9308-31a917908f04" providerId="ADAL" clId="{B10B7B39-2ABD-4C62-8983-C68601FCF583}" dt="2023-03-12T19:03:02.431" v="6918"/>
        <pc:sldMkLst>
          <pc:docMk/>
          <pc:sldMk cId="2157076567" sldId="261"/>
        </pc:sldMkLst>
        <pc:spChg chg="mod">
          <ac:chgData name="Zhizi Wen" userId="b804997a-63ad-4c7f-9308-31a917908f04" providerId="ADAL" clId="{B10B7B39-2ABD-4C62-8983-C68601FCF583}" dt="2023-03-11T18:31:22.996" v="999" actId="404"/>
          <ac:spMkLst>
            <pc:docMk/>
            <pc:sldMk cId="2157076567" sldId="261"/>
            <ac:spMk id="10" creationId="{AB793DD3-3E89-8596-F618-FF96E456E86F}"/>
          </ac:spMkLst>
        </pc:spChg>
        <pc:spChg chg="mod">
          <ac:chgData name="Zhizi Wen" userId="b804997a-63ad-4c7f-9308-31a917908f04" providerId="ADAL" clId="{B10B7B39-2ABD-4C62-8983-C68601FCF583}" dt="2023-03-11T18:34:06.478" v="1077" actId="1036"/>
          <ac:spMkLst>
            <pc:docMk/>
            <pc:sldMk cId="2157076567" sldId="261"/>
            <ac:spMk id="11" creationId="{AC03B485-56E3-6017-581E-3691083F25D4}"/>
          </ac:spMkLst>
        </pc:spChg>
        <pc:picChg chg="add mod">
          <ac:chgData name="Zhizi Wen" userId="b804997a-63ad-4c7f-9308-31a917908f04" providerId="ADAL" clId="{B10B7B39-2ABD-4C62-8983-C68601FCF583}" dt="2023-03-11T18:32:38.273" v="1012" actId="1076"/>
          <ac:picMkLst>
            <pc:docMk/>
            <pc:sldMk cId="2157076567" sldId="261"/>
            <ac:picMk id="4" creationId="{28BCE9B1-50AD-24F4-FDF0-BB39B93F5082}"/>
          </ac:picMkLst>
        </pc:picChg>
        <pc:picChg chg="add del mod">
          <ac:chgData name="Zhizi Wen" userId="b804997a-63ad-4c7f-9308-31a917908f04" providerId="ADAL" clId="{B10B7B39-2ABD-4C62-8983-C68601FCF583}" dt="2023-03-11T18:32:12.191" v="1005" actId="478"/>
          <ac:picMkLst>
            <pc:docMk/>
            <pc:sldMk cId="2157076567" sldId="261"/>
            <ac:picMk id="1026" creationId="{F3E28671-68F6-0AA8-744C-077A54E2BC14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izi Wen" userId="b804997a-63ad-4c7f-9308-31a917908f04" providerId="ADAL" clId="{B10B7B39-2ABD-4C62-8983-C68601FCF583}" dt="2023-03-12T19:03:02.431" v="6918"/>
              <pc2:cmMkLst xmlns:pc2="http://schemas.microsoft.com/office/powerpoint/2019/9/main/command">
                <pc:docMk/>
                <pc:sldMk cId="2157076567" sldId="261"/>
                <pc2:cmMk id="{331258AA-B123-4BBC-8B9D-288A5A17635E}"/>
              </pc2:cmMkLst>
            </pc226:cmChg>
          </p:ext>
        </pc:extLst>
      </pc:sldChg>
      <pc:sldChg chg="addSp delSp modSp mod modClrScheme addCm delCm chgLayout modNotesTx">
        <pc:chgData name="Zhizi Wen" userId="b804997a-63ad-4c7f-9308-31a917908f04" providerId="ADAL" clId="{B10B7B39-2ABD-4C62-8983-C68601FCF583}" dt="2023-03-13T07:52:38.691" v="10244" actId="1035"/>
        <pc:sldMkLst>
          <pc:docMk/>
          <pc:sldMk cId="1082558063" sldId="292"/>
        </pc:sldMkLst>
        <pc:spChg chg="mod">
          <ac:chgData name="Zhizi Wen" userId="b804997a-63ad-4c7f-9308-31a917908f04" providerId="ADAL" clId="{B10B7B39-2ABD-4C62-8983-C68601FCF583}" dt="2023-03-12T21:46:18.266" v="7418" actId="1038"/>
          <ac:spMkLst>
            <pc:docMk/>
            <pc:sldMk cId="1082558063" sldId="292"/>
            <ac:spMk id="4" creationId="{64D46844-25A4-ABF1-3059-EBB4756E9111}"/>
          </ac:spMkLst>
        </pc:spChg>
        <pc:spChg chg="del mod ord">
          <ac:chgData name="Zhizi Wen" userId="b804997a-63ad-4c7f-9308-31a917908f04" providerId="ADAL" clId="{B10B7B39-2ABD-4C62-8983-C68601FCF583}" dt="2023-03-12T21:51:18.277" v="7459" actId="700"/>
          <ac:spMkLst>
            <pc:docMk/>
            <pc:sldMk cId="1082558063" sldId="292"/>
            <ac:spMk id="5" creationId="{286FC91A-86B7-33F1-DE1B-1580AC4CCCFC}"/>
          </ac:spMkLst>
        </pc:spChg>
        <pc:spChg chg="del mod ord">
          <ac:chgData name="Zhizi Wen" userId="b804997a-63ad-4c7f-9308-31a917908f04" providerId="ADAL" clId="{B10B7B39-2ABD-4C62-8983-C68601FCF583}" dt="2023-03-12T21:51:38.043" v="7462" actId="478"/>
          <ac:spMkLst>
            <pc:docMk/>
            <pc:sldMk cId="1082558063" sldId="292"/>
            <ac:spMk id="6" creationId="{390E31C9-4007-57BF-957C-BAB104CB6C28}"/>
          </ac:spMkLst>
        </pc:spChg>
        <pc:spChg chg="mod">
          <ac:chgData name="Zhizi Wen" userId="b804997a-63ad-4c7f-9308-31a917908f04" providerId="ADAL" clId="{B10B7B39-2ABD-4C62-8983-C68601FCF583}" dt="2023-03-12T21:46:26.655" v="7456" actId="1038"/>
          <ac:spMkLst>
            <pc:docMk/>
            <pc:sldMk cId="1082558063" sldId="292"/>
            <ac:spMk id="11" creationId="{2C07DEE9-0715-64E3-04E4-EBDB9ED4CEB5}"/>
          </ac:spMkLst>
        </pc:spChg>
        <pc:spChg chg="mod">
          <ac:chgData name="Zhizi Wen" userId="b804997a-63ad-4c7f-9308-31a917908f04" providerId="ADAL" clId="{B10B7B39-2ABD-4C62-8983-C68601FCF583}" dt="2023-03-12T21:46:32.686" v="7458" actId="1037"/>
          <ac:spMkLst>
            <pc:docMk/>
            <pc:sldMk cId="1082558063" sldId="292"/>
            <ac:spMk id="14" creationId="{AE8B0075-AEE2-8EA3-3F40-4F0EC2E29CF2}"/>
          </ac:spMkLst>
        </pc:spChg>
        <pc:spChg chg="add mod ord">
          <ac:chgData name="Zhizi Wen" userId="b804997a-63ad-4c7f-9308-31a917908f04" providerId="ADAL" clId="{B10B7B39-2ABD-4C62-8983-C68601FCF583}" dt="2023-03-12T21:51:32.366" v="7461"/>
          <ac:spMkLst>
            <pc:docMk/>
            <pc:sldMk cId="1082558063" sldId="292"/>
            <ac:spMk id="16" creationId="{079C8B1F-CC3C-81FE-AEA5-D226643BF6AD}"/>
          </ac:spMkLst>
        </pc:spChg>
        <pc:spChg chg="add del mod ord">
          <ac:chgData name="Zhizi Wen" userId="b804997a-63ad-4c7f-9308-31a917908f04" providerId="ADAL" clId="{B10B7B39-2ABD-4C62-8983-C68601FCF583}" dt="2023-03-12T21:55:51.920" v="7616" actId="478"/>
          <ac:spMkLst>
            <pc:docMk/>
            <pc:sldMk cId="1082558063" sldId="292"/>
            <ac:spMk id="19" creationId="{0A3DC1D8-4A6B-3E3A-369D-260F4E4F72E1}"/>
          </ac:spMkLst>
        </pc:spChg>
        <pc:spChg chg="add del mod ord">
          <ac:chgData name="Zhizi Wen" userId="b804997a-63ad-4c7f-9308-31a917908f04" providerId="ADAL" clId="{B10B7B39-2ABD-4C62-8983-C68601FCF583}" dt="2023-03-12T21:55:50.850" v="7615" actId="478"/>
          <ac:spMkLst>
            <pc:docMk/>
            <pc:sldMk cId="1082558063" sldId="292"/>
            <ac:spMk id="20" creationId="{8E1EF613-BD0A-6CEF-9740-339A80A0D62C}"/>
          </ac:spMkLst>
        </pc:spChg>
        <pc:spChg chg="add mod ord">
          <ac:chgData name="Zhizi Wen" userId="b804997a-63ad-4c7f-9308-31a917908f04" providerId="ADAL" clId="{B10B7B39-2ABD-4C62-8983-C68601FCF583}" dt="2023-03-12T21:51:18.277" v="7459" actId="700"/>
          <ac:spMkLst>
            <pc:docMk/>
            <pc:sldMk cId="1082558063" sldId="292"/>
            <ac:spMk id="22" creationId="{92EE27DB-36D8-0843-DFBF-5DA25C028039}"/>
          </ac:spMkLst>
        </pc:spChg>
        <pc:spChg chg="add mod ord">
          <ac:chgData name="Zhizi Wen" userId="b804997a-63ad-4c7f-9308-31a917908f04" providerId="ADAL" clId="{B10B7B39-2ABD-4C62-8983-C68601FCF583}" dt="2023-03-12T21:51:18.277" v="7459" actId="700"/>
          <ac:spMkLst>
            <pc:docMk/>
            <pc:sldMk cId="1082558063" sldId="292"/>
            <ac:spMk id="23" creationId="{8335F1B0-0568-BB87-C361-8E7598FC7D2B}"/>
          </ac:spMkLst>
        </pc:spChg>
        <pc:spChg chg="add mod">
          <ac:chgData name="Zhizi Wen" userId="b804997a-63ad-4c7f-9308-31a917908f04" providerId="ADAL" clId="{B10B7B39-2ABD-4C62-8983-C68601FCF583}" dt="2023-03-13T07:52:11.990" v="10233" actId="1076"/>
          <ac:spMkLst>
            <pc:docMk/>
            <pc:sldMk cId="1082558063" sldId="292"/>
            <ac:spMk id="24" creationId="{3C2306BB-94E9-3CEE-2B99-7DBF75B22A35}"/>
          </ac:spMkLst>
        </pc:spChg>
        <pc:spChg chg="add mod">
          <ac:chgData name="Zhizi Wen" userId="b804997a-63ad-4c7f-9308-31a917908f04" providerId="ADAL" clId="{B10B7B39-2ABD-4C62-8983-C68601FCF583}" dt="2023-03-13T07:52:38.691" v="10244" actId="1035"/>
          <ac:spMkLst>
            <pc:docMk/>
            <pc:sldMk cId="1082558063" sldId="292"/>
            <ac:spMk id="26" creationId="{650A50DA-EC32-E632-E6B2-3E0A1B87D6A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Zhizi Wen" userId="b804997a-63ad-4c7f-9308-31a917908f04" providerId="ADAL" clId="{B10B7B39-2ABD-4C62-8983-C68601FCF583}" dt="2023-03-12T22:00:32.230" v="7860"/>
              <pc2:cmMkLst xmlns:pc2="http://schemas.microsoft.com/office/powerpoint/2019/9/main/command">
                <pc:docMk/>
                <pc:sldMk cId="1082558063" sldId="292"/>
                <pc2:cmMk id="{7D5D1AEB-470B-4DBF-9F37-A040E0CD2380}"/>
              </pc2:cmMkLst>
            </pc226:cmChg>
          </p:ext>
        </pc:extLst>
      </pc:sldChg>
      <pc:sldChg chg="addSp modSp del mod ord">
        <pc:chgData name="Zhizi Wen" userId="b804997a-63ad-4c7f-9308-31a917908f04" providerId="ADAL" clId="{B10B7B39-2ABD-4C62-8983-C68601FCF583}" dt="2023-03-13T14:09:56.692" v="10375" actId="47"/>
        <pc:sldMkLst>
          <pc:docMk/>
          <pc:sldMk cId="1105244631" sldId="309"/>
        </pc:sldMkLst>
        <pc:spChg chg="mod">
          <ac:chgData name="Zhizi Wen" userId="b804997a-63ad-4c7f-9308-31a917908f04" providerId="ADAL" clId="{B10B7B39-2ABD-4C62-8983-C68601FCF583}" dt="2023-03-11T11:21:53.698" v="543" actId="1076"/>
          <ac:spMkLst>
            <pc:docMk/>
            <pc:sldMk cId="1105244631" sldId="309"/>
            <ac:spMk id="5" creationId="{D72A2961-34FB-E12D-E8F3-6E546353D453}"/>
          </ac:spMkLst>
        </pc:spChg>
        <pc:spChg chg="mod">
          <ac:chgData name="Zhizi Wen" userId="b804997a-63ad-4c7f-9308-31a917908f04" providerId="ADAL" clId="{B10B7B39-2ABD-4C62-8983-C68601FCF583}" dt="2023-03-11T11:18:53.195" v="501" actId="255"/>
          <ac:spMkLst>
            <pc:docMk/>
            <pc:sldMk cId="1105244631" sldId="309"/>
            <ac:spMk id="6" creationId="{C08D6614-E8B5-FF4D-DDE6-7F68BCEC7237}"/>
          </ac:spMkLst>
        </pc:spChg>
        <pc:spChg chg="add mod">
          <ac:chgData name="Zhizi Wen" userId="b804997a-63ad-4c7f-9308-31a917908f04" providerId="ADAL" clId="{B10B7B39-2ABD-4C62-8983-C68601FCF583}" dt="2023-03-11T11:21:53.698" v="543" actId="1076"/>
          <ac:spMkLst>
            <pc:docMk/>
            <pc:sldMk cId="1105244631" sldId="309"/>
            <ac:spMk id="7" creationId="{67459B24-9D14-9510-1E58-1E6CFED4CABE}"/>
          </ac:spMkLst>
        </pc:spChg>
        <pc:spChg chg="mod">
          <ac:chgData name="Zhizi Wen" userId="b804997a-63ad-4c7f-9308-31a917908f04" providerId="ADAL" clId="{B10B7B39-2ABD-4C62-8983-C68601FCF583}" dt="2023-03-11T11:21:53.698" v="543" actId="1076"/>
          <ac:spMkLst>
            <pc:docMk/>
            <pc:sldMk cId="1105244631" sldId="309"/>
            <ac:spMk id="8" creationId="{375D7C77-046C-543B-2CBD-82CB7E717FBC}"/>
          </ac:spMkLst>
        </pc:spChg>
        <pc:spChg chg="add mod">
          <ac:chgData name="Zhizi Wen" userId="b804997a-63ad-4c7f-9308-31a917908f04" providerId="ADAL" clId="{B10B7B39-2ABD-4C62-8983-C68601FCF583}" dt="2023-03-11T11:29:42.303" v="723" actId="20577"/>
          <ac:spMkLst>
            <pc:docMk/>
            <pc:sldMk cId="1105244631" sldId="309"/>
            <ac:spMk id="9" creationId="{9276172D-5E79-64E3-A310-A5C7EC6326FF}"/>
          </ac:spMkLst>
        </pc:spChg>
        <pc:spChg chg="mod">
          <ac:chgData name="Zhizi Wen" userId="b804997a-63ad-4c7f-9308-31a917908f04" providerId="ADAL" clId="{B10B7B39-2ABD-4C62-8983-C68601FCF583}" dt="2023-03-11T11:18:53.195" v="501" actId="255"/>
          <ac:spMkLst>
            <pc:docMk/>
            <pc:sldMk cId="1105244631" sldId="309"/>
            <ac:spMk id="10" creationId="{0A00AF9B-043F-F7AE-7D51-2C8DAED74AAF}"/>
          </ac:spMkLst>
        </pc:spChg>
        <pc:spChg chg="mod">
          <ac:chgData name="Zhizi Wen" userId="b804997a-63ad-4c7f-9308-31a917908f04" providerId="ADAL" clId="{B10B7B39-2ABD-4C62-8983-C68601FCF583}" dt="2023-03-11T11:26:28.047" v="676" actId="20577"/>
          <ac:spMkLst>
            <pc:docMk/>
            <pc:sldMk cId="1105244631" sldId="309"/>
            <ac:spMk id="11" creationId="{BD2BA23C-CD23-972A-9420-7C4AC915D4B1}"/>
          </ac:spMkLst>
        </pc:spChg>
        <pc:spChg chg="mod">
          <ac:chgData name="Zhizi Wen" userId="b804997a-63ad-4c7f-9308-31a917908f04" providerId="ADAL" clId="{B10B7B39-2ABD-4C62-8983-C68601FCF583}" dt="2023-03-11T11:18:53.195" v="501" actId="255"/>
          <ac:spMkLst>
            <pc:docMk/>
            <pc:sldMk cId="1105244631" sldId="309"/>
            <ac:spMk id="12" creationId="{8029BC24-A282-5614-7CB5-214AB03D9A2D}"/>
          </ac:spMkLst>
        </pc:spChg>
        <pc:spChg chg="add mod">
          <ac:chgData name="Zhizi Wen" userId="b804997a-63ad-4c7f-9308-31a917908f04" providerId="ADAL" clId="{B10B7B39-2ABD-4C62-8983-C68601FCF583}" dt="2023-03-11T11:34:02.135" v="809" actId="20577"/>
          <ac:spMkLst>
            <pc:docMk/>
            <pc:sldMk cId="1105244631" sldId="309"/>
            <ac:spMk id="13" creationId="{96F610F8-0011-E705-48CE-5B0B5A31DAF9}"/>
          </ac:spMkLst>
        </pc:spChg>
        <pc:spChg chg="add mod">
          <ac:chgData name="Zhizi Wen" userId="b804997a-63ad-4c7f-9308-31a917908f04" providerId="ADAL" clId="{B10B7B39-2ABD-4C62-8983-C68601FCF583}" dt="2023-03-11T18:35:11.480" v="1110" actId="1076"/>
          <ac:spMkLst>
            <pc:docMk/>
            <pc:sldMk cId="1105244631" sldId="309"/>
            <ac:spMk id="14" creationId="{E7AAF366-E9BA-D41E-9382-9FC02D068720}"/>
          </ac:spMkLst>
        </pc:spChg>
        <pc:spChg chg="add mod">
          <ac:chgData name="Zhizi Wen" userId="b804997a-63ad-4c7f-9308-31a917908f04" providerId="ADAL" clId="{B10B7B39-2ABD-4C62-8983-C68601FCF583}" dt="2023-03-11T11:33:24.657" v="798" actId="1076"/>
          <ac:spMkLst>
            <pc:docMk/>
            <pc:sldMk cId="1105244631" sldId="309"/>
            <ac:spMk id="15" creationId="{CFBB9AD2-3C14-9E77-8B92-9FAE1B73A087}"/>
          </ac:spMkLst>
        </pc:spChg>
        <pc:spChg chg="add mod">
          <ac:chgData name="Zhizi Wen" userId="b804997a-63ad-4c7f-9308-31a917908f04" providerId="ADAL" clId="{B10B7B39-2ABD-4C62-8983-C68601FCF583}" dt="2023-03-11T11:37:16.804" v="977" actId="14100"/>
          <ac:spMkLst>
            <pc:docMk/>
            <pc:sldMk cId="1105244631" sldId="309"/>
            <ac:spMk id="16" creationId="{213A13DF-1E8A-DAFB-EBD3-5B982368050A}"/>
          </ac:spMkLst>
        </pc:spChg>
        <pc:spChg chg="mod">
          <ac:chgData name="Zhizi Wen" userId="b804997a-63ad-4c7f-9308-31a917908f04" providerId="ADAL" clId="{B10B7B39-2ABD-4C62-8983-C68601FCF583}" dt="2023-03-11T18:47:03.521" v="1128" actId="1076"/>
          <ac:spMkLst>
            <pc:docMk/>
            <pc:sldMk cId="1105244631" sldId="309"/>
            <ac:spMk id="29" creationId="{6661A591-9035-1BE9-0290-5D1460701517}"/>
          </ac:spMkLst>
        </pc:spChg>
        <pc:spChg chg="mod">
          <ac:chgData name="Zhizi Wen" userId="b804997a-63ad-4c7f-9308-31a917908f04" providerId="ADAL" clId="{B10B7B39-2ABD-4C62-8983-C68601FCF583}" dt="2023-03-11T11:18:53.195" v="501" actId="255"/>
          <ac:spMkLst>
            <pc:docMk/>
            <pc:sldMk cId="1105244631" sldId="309"/>
            <ac:spMk id="30" creationId="{B7069163-F53A-8AAB-4B95-2D425F5F9D2F}"/>
          </ac:spMkLst>
        </pc:spChg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2822663259" sldId="310"/>
        </pc:sldMkLst>
      </pc:sldChg>
      <pc:sldChg chg="del ord">
        <pc:chgData name="Zhizi Wen" userId="b804997a-63ad-4c7f-9308-31a917908f04" providerId="ADAL" clId="{B10B7B39-2ABD-4C62-8983-C68601FCF583}" dt="2023-03-13T14:09:56.692" v="10375" actId="47"/>
        <pc:sldMkLst>
          <pc:docMk/>
          <pc:sldMk cId="1510801200" sldId="311"/>
        </pc:sldMkLst>
      </pc:sldChg>
      <pc:sldChg chg="del ord">
        <pc:chgData name="Zhizi Wen" userId="b804997a-63ad-4c7f-9308-31a917908f04" providerId="ADAL" clId="{B10B7B39-2ABD-4C62-8983-C68601FCF583}" dt="2023-03-13T14:09:56.692" v="10375" actId="47"/>
        <pc:sldMkLst>
          <pc:docMk/>
          <pc:sldMk cId="2990817436" sldId="312"/>
        </pc:sldMkLst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3365579940" sldId="313"/>
        </pc:sldMkLst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4227834559" sldId="315"/>
        </pc:sldMkLst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3599740964" sldId="316"/>
        </pc:sldMkLst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3442776100" sldId="317"/>
        </pc:sldMkLst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410112999" sldId="318"/>
        </pc:sldMkLst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40328247" sldId="319"/>
        </pc:sldMkLst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609627312" sldId="320"/>
        </pc:sldMkLst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1209725749" sldId="321"/>
        </pc:sldMkLst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1876030968" sldId="322"/>
        </pc:sldMkLst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2294660800" sldId="323"/>
        </pc:sldMkLst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3820454270" sldId="324"/>
        </pc:sldMkLst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786377102" sldId="326"/>
        </pc:sldMkLst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2935384648" sldId="328"/>
        </pc:sldMkLst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3673283143" sldId="329"/>
        </pc:sldMkLst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4281436167" sldId="330"/>
        </pc:sldMkLst>
      </pc:sldChg>
      <pc:sldChg chg="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4034645136" sldId="331"/>
        </pc:sldMkLst>
      </pc:sldChg>
      <pc:sldChg chg="del ord">
        <pc:chgData name="Zhizi Wen" userId="b804997a-63ad-4c7f-9308-31a917908f04" providerId="ADAL" clId="{B10B7B39-2ABD-4C62-8983-C68601FCF583}" dt="2023-03-13T14:09:56.692" v="10375" actId="47"/>
        <pc:sldMkLst>
          <pc:docMk/>
          <pc:sldMk cId="2099082833" sldId="332"/>
        </pc:sldMkLst>
      </pc:sldChg>
      <pc:sldChg chg="addSp modSp del mo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4195904509" sldId="333"/>
        </pc:sldMkLst>
        <pc:spChg chg="add mod">
          <ac:chgData name="Zhizi Wen" userId="b804997a-63ad-4c7f-9308-31a917908f04" providerId="ADAL" clId="{B10B7B39-2ABD-4C62-8983-C68601FCF583}" dt="2023-03-11T11:28:21.895" v="709" actId="20577"/>
          <ac:spMkLst>
            <pc:docMk/>
            <pc:sldMk cId="4195904509" sldId="333"/>
            <ac:spMk id="5" creationId="{ADBA7009-E15D-F9B1-EC0C-F928C5B27770}"/>
          </ac:spMkLst>
        </pc:spChg>
        <pc:spChg chg="mod">
          <ac:chgData name="Zhizi Wen" userId="b804997a-63ad-4c7f-9308-31a917908f04" providerId="ADAL" clId="{B10B7B39-2ABD-4C62-8983-C68601FCF583}" dt="2023-03-11T11:22:22.751" v="595" actId="20577"/>
          <ac:spMkLst>
            <pc:docMk/>
            <pc:sldMk cId="4195904509" sldId="333"/>
            <ac:spMk id="6" creationId="{8B23EA87-5127-415E-0529-A12D7D1A1AFD}"/>
          </ac:spMkLst>
        </pc:spChg>
        <pc:spChg chg="mod">
          <ac:chgData name="Zhizi Wen" userId="b804997a-63ad-4c7f-9308-31a917908f04" providerId="ADAL" clId="{B10B7B39-2ABD-4C62-8983-C68601FCF583}" dt="2023-03-11T11:27:52.025" v="688" actId="13926"/>
          <ac:spMkLst>
            <pc:docMk/>
            <pc:sldMk cId="4195904509" sldId="333"/>
            <ac:spMk id="24" creationId="{CBCC47B7-2EA5-150A-0229-88789B3B0150}"/>
          </ac:spMkLst>
        </pc:spChg>
        <pc:spChg chg="mod">
          <ac:chgData name="Zhizi Wen" userId="b804997a-63ad-4c7f-9308-31a917908f04" providerId="ADAL" clId="{B10B7B39-2ABD-4C62-8983-C68601FCF583}" dt="2023-03-11T11:27:55.334" v="689" actId="13926"/>
          <ac:spMkLst>
            <pc:docMk/>
            <pc:sldMk cId="4195904509" sldId="333"/>
            <ac:spMk id="30" creationId="{28310821-C4E7-F220-3E2F-B21A4838597D}"/>
          </ac:spMkLst>
        </pc:spChg>
        <pc:spChg chg="mod">
          <ac:chgData name="Zhizi Wen" userId="b804997a-63ad-4c7f-9308-31a917908f04" providerId="ADAL" clId="{B10B7B39-2ABD-4C62-8983-C68601FCF583}" dt="2023-03-11T11:27:58.936" v="690" actId="13926"/>
          <ac:spMkLst>
            <pc:docMk/>
            <pc:sldMk cId="4195904509" sldId="333"/>
            <ac:spMk id="36" creationId="{F396825E-26E5-6EF2-8246-692C079AB205}"/>
          </ac:spMkLst>
        </pc:spChg>
        <pc:spChg chg="mod">
          <ac:chgData name="Zhizi Wen" userId="b804997a-63ad-4c7f-9308-31a917908f04" providerId="ADAL" clId="{B10B7B39-2ABD-4C62-8983-C68601FCF583}" dt="2023-03-11T11:28:01.792" v="691" actId="13926"/>
          <ac:spMkLst>
            <pc:docMk/>
            <pc:sldMk cId="4195904509" sldId="333"/>
            <ac:spMk id="41" creationId="{E88284DB-5172-BECC-4EC6-43FFE2E08FC6}"/>
          </ac:spMkLst>
        </pc:spChg>
      </pc:sldChg>
      <pc:sldChg chg="addSp delSp modSp new del mod ord modClrScheme chgLayout">
        <pc:chgData name="Zhizi Wen" userId="b804997a-63ad-4c7f-9308-31a917908f04" providerId="ADAL" clId="{B10B7B39-2ABD-4C62-8983-C68601FCF583}" dt="2023-03-11T19:54:21.466" v="2197" actId="47"/>
        <pc:sldMkLst>
          <pc:docMk/>
          <pc:sldMk cId="3020177913" sldId="334"/>
        </pc:sldMkLst>
        <pc:spChg chg="mod ord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2" creationId="{89CAFD05-F88B-6FA3-EEC5-A3E12510746E}"/>
          </ac:spMkLst>
        </pc:spChg>
        <pc:spChg chg="mod ord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3" creationId="{E65B6EA6-5B59-FF06-31B9-86E3E3D54AC2}"/>
          </ac:spMkLst>
        </pc:spChg>
        <pc:spChg chg="mod ord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4" creationId="{D666009D-9F21-8EB7-BA83-B81E8298CC10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5" creationId="{F3DB1059-1E0E-D7AB-BE1C-42D7F6A62B0B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6" creationId="{97BE3BEC-25D4-031D-F819-7077C6BB5C76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7" creationId="{0ABD7A50-868E-D44E-33FD-260F7AF61B8A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8" creationId="{7EFE3EA2-287D-C0BE-82B6-B516DE8F72FE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9" creationId="{8EC9FD50-2CF7-2089-F022-38A6013D1204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10" creationId="{B8339FF8-077E-3287-CD53-7C29FCB8C0E5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11" creationId="{840DB476-0128-259C-F462-3FF65A3E78C3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12" creationId="{6C11F0F4-B32E-E011-677E-2523B97C0BE8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13" creationId="{0708809D-FA86-6BEE-A3FC-C43EFA70E0F8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14" creationId="{9ED97871-EB87-1936-AEB4-7413BC7C09B6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15" creationId="{7F78D290-9D4D-F4E4-35FA-B6760B1B0D11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16" creationId="{7A06AEBA-856D-1D46-8ED2-00D7BD7EFA2A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17" creationId="{DCFFE082-04B2-DC33-405A-4DD43BDEF00E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18" creationId="{E3569661-F3A4-A093-75DB-9063D1E5FE31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19" creationId="{5668C678-320B-05AF-6A6E-F96F0A9729F7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20" creationId="{66D8C41B-A77D-ABF3-7729-9A2C90282FA1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21" creationId="{65F33E70-C782-CA52-B63E-67908CEEB7FF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22" creationId="{BE9063D2-F4E0-E99C-7227-263DA9D776E0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23" creationId="{4F79C03C-2399-65A5-DB79-E2C5CBC42ECB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24" creationId="{8D6EA5B3-2361-4C43-2587-09FD3890947E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25" creationId="{9B06EF35-4835-7C3C-D77A-9E0347D7E83C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26" creationId="{7084026B-531C-A576-0497-9718CBEB190D}"/>
          </ac:spMkLst>
        </pc:spChg>
        <pc:spChg chg="del mod ord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27" creationId="{F3635FE8-12FA-BB09-CDD2-8D03A79E1A06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28" creationId="{304BE99D-0BB5-065A-192D-30BCEE4FEDB2}"/>
          </ac:spMkLst>
        </pc:spChg>
        <pc:spChg chg="del mod ord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29" creationId="{0951C6B3-35F3-A381-F2C3-9A44C02FE6A2}"/>
          </ac:spMkLst>
        </pc:spChg>
        <pc:spChg chg="del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30" creationId="{C4A769E0-442A-D686-C990-57CF985ACAE4}"/>
          </ac:spMkLst>
        </pc:spChg>
        <pc:spChg chg="del mod ord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31" creationId="{FF43BA11-1870-163F-FF44-88858937F653}"/>
          </ac:spMkLst>
        </pc:spChg>
        <pc:spChg chg="add mod ord">
          <ac:chgData name="Zhizi Wen" userId="b804997a-63ad-4c7f-9308-31a917908f04" providerId="ADAL" clId="{B10B7B39-2ABD-4C62-8983-C68601FCF583}" dt="2023-03-11T19:24:40.967" v="1596" actId="20577"/>
          <ac:spMkLst>
            <pc:docMk/>
            <pc:sldMk cId="3020177913" sldId="334"/>
            <ac:spMk id="32" creationId="{90E3B6C5-7CB3-B839-E1D7-AFF7F40DD5C1}"/>
          </ac:spMkLst>
        </pc:spChg>
        <pc:spChg chg="add mod ord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33" creationId="{3A880FE8-0927-4939-BA72-9AE17A054084}"/>
          </ac:spMkLst>
        </pc:spChg>
        <pc:spChg chg="add mod ord">
          <ac:chgData name="Zhizi Wen" userId="b804997a-63ad-4c7f-9308-31a917908f04" providerId="ADAL" clId="{B10B7B39-2ABD-4C62-8983-C68601FCF583}" dt="2023-03-11T19:23:57.596" v="1528" actId="700"/>
          <ac:spMkLst>
            <pc:docMk/>
            <pc:sldMk cId="3020177913" sldId="334"/>
            <ac:spMk id="34" creationId="{6F45F9CF-1F8F-43D2-2A0E-576635CE4E52}"/>
          </ac:spMkLst>
        </pc:spChg>
        <pc:spChg chg="add mod">
          <ac:chgData name="Zhizi Wen" userId="b804997a-63ad-4c7f-9308-31a917908f04" providerId="ADAL" clId="{B10B7B39-2ABD-4C62-8983-C68601FCF583}" dt="2023-03-11T19:25:13.347" v="1599" actId="1076"/>
          <ac:spMkLst>
            <pc:docMk/>
            <pc:sldMk cId="3020177913" sldId="334"/>
            <ac:spMk id="36" creationId="{26F34DB5-C957-C561-1ADA-B21EE72F0477}"/>
          </ac:spMkLst>
        </pc:spChg>
        <pc:picChg chg="add mod">
          <ac:chgData name="Zhizi Wen" userId="b804997a-63ad-4c7f-9308-31a917908f04" providerId="ADAL" clId="{B10B7B39-2ABD-4C62-8983-C68601FCF583}" dt="2023-03-11T19:25:13.347" v="1599" actId="1076"/>
          <ac:picMkLst>
            <pc:docMk/>
            <pc:sldMk cId="3020177913" sldId="334"/>
            <ac:picMk id="35" creationId="{BD411AAB-7C5B-2DB4-38D2-566CC5208A2B}"/>
          </ac:picMkLst>
        </pc:picChg>
      </pc:sldChg>
      <pc:sldChg chg="addSp delSp modSp new del mod modClrScheme chgLayout">
        <pc:chgData name="Zhizi Wen" userId="b804997a-63ad-4c7f-9308-31a917908f04" providerId="ADAL" clId="{B10B7B39-2ABD-4C62-8983-C68601FCF583}" dt="2023-03-11T19:23:36.279" v="1527" actId="47"/>
        <pc:sldMkLst>
          <pc:docMk/>
          <pc:sldMk cId="4253190314" sldId="335"/>
        </pc:sldMkLst>
        <pc:spChg chg="mod ord">
          <ac:chgData name="Zhizi Wen" userId="b804997a-63ad-4c7f-9308-31a917908f04" providerId="ADAL" clId="{B10B7B39-2ABD-4C62-8983-C68601FCF583}" dt="2023-03-11T18:34:35.265" v="1079" actId="700"/>
          <ac:spMkLst>
            <pc:docMk/>
            <pc:sldMk cId="4253190314" sldId="335"/>
            <ac:spMk id="2" creationId="{31050350-1753-8875-5192-93C2884B4AC6}"/>
          </ac:spMkLst>
        </pc:spChg>
        <pc:spChg chg="mod ord">
          <ac:chgData name="Zhizi Wen" userId="b804997a-63ad-4c7f-9308-31a917908f04" providerId="ADAL" clId="{B10B7B39-2ABD-4C62-8983-C68601FCF583}" dt="2023-03-11T18:34:35.265" v="1079" actId="700"/>
          <ac:spMkLst>
            <pc:docMk/>
            <pc:sldMk cId="4253190314" sldId="335"/>
            <ac:spMk id="3" creationId="{C719A528-DDF3-3CF4-1978-6708388CC22C}"/>
          </ac:spMkLst>
        </pc:spChg>
        <pc:spChg chg="mod ord">
          <ac:chgData name="Zhizi Wen" userId="b804997a-63ad-4c7f-9308-31a917908f04" providerId="ADAL" clId="{B10B7B39-2ABD-4C62-8983-C68601FCF583}" dt="2023-03-11T18:34:35.265" v="1079" actId="700"/>
          <ac:spMkLst>
            <pc:docMk/>
            <pc:sldMk cId="4253190314" sldId="335"/>
            <ac:spMk id="4" creationId="{09E76470-7D2B-5FF4-F250-885ADF9E2FC5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5" creationId="{3C56DFC0-D9A0-2B34-BB62-35689A9B982E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6" creationId="{69D171E1-53C5-0EF7-671C-1129266B3550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7" creationId="{F734D57B-EFF7-D644-A998-69216D2FB455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8" creationId="{4A604B01-6A3A-B5F9-8FCB-F09445313403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9" creationId="{C8AF49A1-4D76-F097-A9E9-08B9BC22EF11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10" creationId="{86D544B4-783A-3B8A-808B-75E9A48C4DD0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11" creationId="{3C74076E-1EB9-3C07-88D1-1E4E605DF2C5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12" creationId="{82B27AE9-7768-838F-1532-BCFC364CB6F6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13" creationId="{3C7B9465-9900-69B1-736B-71840BEA9D40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14" creationId="{E7FBD25F-0A2B-C90F-33A6-223335E682BC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15" creationId="{DFE191B2-B922-44A6-570D-31A721C29FD2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16" creationId="{0574A76E-FF6E-2832-06A6-F33A8B39A9C8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17" creationId="{42D2EC1E-B453-5B49-8882-72A2A5AB877F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18" creationId="{8122ACA7-78D0-84CF-7C90-986238DB1ADC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19" creationId="{A43C5A25-F7C5-67AA-DC6B-18D64F2E2702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20" creationId="{2AAB5CC6-6B1F-CAD6-DE91-705E78FCBB58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21" creationId="{B6A858F2-1F9A-2424-9B1C-AE98F4E734F5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22" creationId="{23CAB329-3243-4F79-BE07-6C6DBBC0C9CD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23" creationId="{531FE4C4-24B9-67B8-F445-0DDBF11F3729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24" creationId="{41F6E031-0612-7720-3432-FE5C8D76B49F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25" creationId="{25681C97-3AC8-5093-284B-8755693BA14B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26" creationId="{0D0193B1-85B7-130F-6A9B-E6F5C3386455}"/>
          </ac:spMkLst>
        </pc:spChg>
        <pc:spChg chg="del mod ord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27" creationId="{9CC1FF50-BF3B-F569-0E29-59A43C7629E7}"/>
          </ac:spMkLst>
        </pc:spChg>
        <pc:spChg chg="del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28" creationId="{E6DFF674-F2CE-B7BF-5A18-47F0E3E4790B}"/>
          </ac:spMkLst>
        </pc:spChg>
        <pc:spChg chg="del mod ord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29" creationId="{F708EEA9-9649-8B5A-2DA8-05F69ABF81B1}"/>
          </ac:spMkLst>
        </pc:spChg>
        <pc:spChg chg="del mod ord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30" creationId="{1B567383-CE7A-B1DD-443A-5E910CFED701}"/>
          </ac:spMkLst>
        </pc:spChg>
        <pc:spChg chg="del mod ord">
          <ac:chgData name="Zhizi Wen" userId="b804997a-63ad-4c7f-9308-31a917908f04" providerId="ADAL" clId="{B10B7B39-2ABD-4C62-8983-C68601FCF583}" dt="2023-03-11T18:34:28.457" v="1078" actId="700"/>
          <ac:spMkLst>
            <pc:docMk/>
            <pc:sldMk cId="4253190314" sldId="335"/>
            <ac:spMk id="31" creationId="{BEE23E98-8479-B922-BBC6-BC7ADFC8C9CE}"/>
          </ac:spMkLst>
        </pc:spChg>
        <pc:spChg chg="add del mod ord">
          <ac:chgData name="Zhizi Wen" userId="b804997a-63ad-4c7f-9308-31a917908f04" providerId="ADAL" clId="{B10B7B39-2ABD-4C62-8983-C68601FCF583}" dt="2023-03-11T18:34:35.265" v="1079" actId="700"/>
          <ac:spMkLst>
            <pc:docMk/>
            <pc:sldMk cId="4253190314" sldId="335"/>
            <ac:spMk id="32" creationId="{E9E148D3-A170-BFA8-5A56-8923FF96D0C8}"/>
          </ac:spMkLst>
        </pc:spChg>
        <pc:spChg chg="add del mod ord">
          <ac:chgData name="Zhizi Wen" userId="b804997a-63ad-4c7f-9308-31a917908f04" providerId="ADAL" clId="{B10B7B39-2ABD-4C62-8983-C68601FCF583}" dt="2023-03-11T18:34:35.265" v="1079" actId="700"/>
          <ac:spMkLst>
            <pc:docMk/>
            <pc:sldMk cId="4253190314" sldId="335"/>
            <ac:spMk id="33" creationId="{9037E05C-2569-BCE6-8942-6A4A29BEC20C}"/>
          </ac:spMkLst>
        </pc:spChg>
        <pc:spChg chg="add del mod ord">
          <ac:chgData name="Zhizi Wen" userId="b804997a-63ad-4c7f-9308-31a917908f04" providerId="ADAL" clId="{B10B7B39-2ABD-4C62-8983-C68601FCF583}" dt="2023-03-11T18:34:35.265" v="1079" actId="700"/>
          <ac:spMkLst>
            <pc:docMk/>
            <pc:sldMk cId="4253190314" sldId="335"/>
            <ac:spMk id="34" creationId="{E3B93AD4-6FFB-722D-F995-EA6D04D90585}"/>
          </ac:spMkLst>
        </pc:spChg>
        <pc:spChg chg="add del mod ord">
          <ac:chgData name="Zhizi Wen" userId="b804997a-63ad-4c7f-9308-31a917908f04" providerId="ADAL" clId="{B10B7B39-2ABD-4C62-8983-C68601FCF583}" dt="2023-03-11T18:34:35.265" v="1079" actId="700"/>
          <ac:spMkLst>
            <pc:docMk/>
            <pc:sldMk cId="4253190314" sldId="335"/>
            <ac:spMk id="35" creationId="{29C89548-6E20-D647-8749-B7FA0AE76084}"/>
          </ac:spMkLst>
        </pc:spChg>
        <pc:spChg chg="add mod ord">
          <ac:chgData name="Zhizi Wen" userId="b804997a-63ad-4c7f-9308-31a917908f04" providerId="ADAL" clId="{B10B7B39-2ABD-4C62-8983-C68601FCF583}" dt="2023-03-11T18:35:51.784" v="1115" actId="20577"/>
          <ac:spMkLst>
            <pc:docMk/>
            <pc:sldMk cId="4253190314" sldId="335"/>
            <ac:spMk id="36" creationId="{D03FE7BE-D55A-F8C0-96CF-A789180D2853}"/>
          </ac:spMkLst>
        </pc:spChg>
        <pc:spChg chg="add mod ord">
          <ac:chgData name="Zhizi Wen" userId="b804997a-63ad-4c7f-9308-31a917908f04" providerId="ADAL" clId="{B10B7B39-2ABD-4C62-8983-C68601FCF583}" dt="2023-03-11T18:51:56.617" v="1176" actId="5793"/>
          <ac:spMkLst>
            <pc:docMk/>
            <pc:sldMk cId="4253190314" sldId="335"/>
            <ac:spMk id="37" creationId="{95040683-2A0C-95E8-8486-E4CB0E63DECE}"/>
          </ac:spMkLst>
        </pc:spChg>
        <pc:spChg chg="add mod ord">
          <ac:chgData name="Zhizi Wen" userId="b804997a-63ad-4c7f-9308-31a917908f04" providerId="ADAL" clId="{B10B7B39-2ABD-4C62-8983-C68601FCF583}" dt="2023-03-11T18:34:35.265" v="1079" actId="700"/>
          <ac:spMkLst>
            <pc:docMk/>
            <pc:sldMk cId="4253190314" sldId="335"/>
            <ac:spMk id="38" creationId="{F47E6E6D-5C3D-4A5F-17EC-96DAB339AFDA}"/>
          </ac:spMkLst>
        </pc:spChg>
        <pc:spChg chg="add mod ord">
          <ac:chgData name="Zhizi Wen" userId="b804997a-63ad-4c7f-9308-31a917908f04" providerId="ADAL" clId="{B10B7B39-2ABD-4C62-8983-C68601FCF583}" dt="2023-03-11T18:34:35.265" v="1079" actId="700"/>
          <ac:spMkLst>
            <pc:docMk/>
            <pc:sldMk cId="4253190314" sldId="335"/>
            <ac:spMk id="39" creationId="{BAD3C71A-FBB8-3CB9-EBE7-4401BEB3F324}"/>
          </ac:spMkLst>
        </pc:spChg>
        <pc:spChg chg="add mod ord">
          <ac:chgData name="Zhizi Wen" userId="b804997a-63ad-4c7f-9308-31a917908f04" providerId="ADAL" clId="{B10B7B39-2ABD-4C62-8983-C68601FCF583}" dt="2023-03-11T18:34:35.265" v="1079" actId="700"/>
          <ac:spMkLst>
            <pc:docMk/>
            <pc:sldMk cId="4253190314" sldId="335"/>
            <ac:spMk id="40" creationId="{1798EBE0-9AEA-4014-1E86-4DE7DEC08701}"/>
          </ac:spMkLst>
        </pc:spChg>
        <pc:picChg chg="add mod">
          <ac:chgData name="Zhizi Wen" userId="b804997a-63ad-4c7f-9308-31a917908f04" providerId="ADAL" clId="{B10B7B39-2ABD-4C62-8983-C68601FCF583}" dt="2023-03-11T18:51:58.899" v="1177" actId="1076"/>
          <ac:picMkLst>
            <pc:docMk/>
            <pc:sldMk cId="4253190314" sldId="335"/>
            <ac:picMk id="41" creationId="{81D40D99-C09B-9F17-A0A9-F0FFE923B88A}"/>
          </ac:picMkLst>
        </pc:picChg>
      </pc:sldChg>
      <pc:sldChg chg="addSp delSp modSp add del mod modShow modNotesTx">
        <pc:chgData name="Zhizi Wen" userId="b804997a-63ad-4c7f-9308-31a917908f04" providerId="ADAL" clId="{B10B7B39-2ABD-4C62-8983-C68601FCF583}" dt="2023-03-12T22:02:07.232" v="7877" actId="2696"/>
        <pc:sldMkLst>
          <pc:docMk/>
          <pc:sldMk cId="2648739550" sldId="423"/>
        </pc:sldMkLst>
        <pc:spChg chg="del">
          <ac:chgData name="Zhizi Wen" userId="b804997a-63ad-4c7f-9308-31a917908f04" providerId="ADAL" clId="{B10B7B39-2ABD-4C62-8983-C68601FCF583}" dt="2023-03-11T19:03:27.201" v="1183" actId="478"/>
          <ac:spMkLst>
            <pc:docMk/>
            <pc:sldMk cId="2648739550" sldId="423"/>
            <ac:spMk id="2" creationId="{CD930FFA-281A-45B7-A71A-F76A242D74B2}"/>
          </ac:spMkLst>
        </pc:spChg>
        <pc:spChg chg="mod">
          <ac:chgData name="Zhizi Wen" userId="b804997a-63ad-4c7f-9308-31a917908f04" providerId="ADAL" clId="{B10B7B39-2ABD-4C62-8983-C68601FCF583}" dt="2023-03-11T19:17:12.227" v="1434" actId="14100"/>
          <ac:spMkLst>
            <pc:docMk/>
            <pc:sldMk cId="2648739550" sldId="423"/>
            <ac:spMk id="4" creationId="{620F3424-E32B-4DE8-BF4D-4918B7628D43}"/>
          </ac:spMkLst>
        </pc:spChg>
        <pc:spChg chg="mod">
          <ac:chgData name="Zhizi Wen" userId="b804997a-63ad-4c7f-9308-31a917908f04" providerId="ADAL" clId="{B10B7B39-2ABD-4C62-8983-C68601FCF583}" dt="2023-03-11T19:18:52.449" v="1466" actId="1076"/>
          <ac:spMkLst>
            <pc:docMk/>
            <pc:sldMk cId="2648739550" sldId="423"/>
            <ac:spMk id="6" creationId="{1CC6A956-A954-4940-A619-381D56C1A856}"/>
          </ac:spMkLst>
        </pc:spChg>
        <pc:spChg chg="mod">
          <ac:chgData name="Zhizi Wen" userId="b804997a-63ad-4c7f-9308-31a917908f04" providerId="ADAL" clId="{B10B7B39-2ABD-4C62-8983-C68601FCF583}" dt="2023-03-11T19:12:20.420" v="1303" actId="14100"/>
          <ac:spMkLst>
            <pc:docMk/>
            <pc:sldMk cId="2648739550" sldId="423"/>
            <ac:spMk id="7" creationId="{A2FADCE3-E850-4784-8F2E-D7BF01E4852E}"/>
          </ac:spMkLst>
        </pc:spChg>
        <pc:spChg chg="add del">
          <ac:chgData name="Zhizi Wen" userId="b804997a-63ad-4c7f-9308-31a917908f04" providerId="ADAL" clId="{B10B7B39-2ABD-4C62-8983-C68601FCF583}" dt="2023-03-11T19:03:33.151" v="1185" actId="22"/>
          <ac:spMkLst>
            <pc:docMk/>
            <pc:sldMk cId="2648739550" sldId="423"/>
            <ac:spMk id="8" creationId="{CD3BA269-51CD-25F3-0680-BF062BBBC067}"/>
          </ac:spMkLst>
        </pc:spChg>
        <pc:spChg chg="add mod">
          <ac:chgData name="Zhizi Wen" userId="b804997a-63ad-4c7f-9308-31a917908f04" providerId="ADAL" clId="{B10B7B39-2ABD-4C62-8983-C68601FCF583}" dt="2023-03-11T19:03:35.877" v="1186"/>
          <ac:spMkLst>
            <pc:docMk/>
            <pc:sldMk cId="2648739550" sldId="423"/>
            <ac:spMk id="9" creationId="{06E69EF6-5F75-EF00-A656-2EF79BFF6CB7}"/>
          </ac:spMkLst>
        </pc:spChg>
        <pc:spChg chg="add mod">
          <ac:chgData name="Zhizi Wen" userId="b804997a-63ad-4c7f-9308-31a917908f04" providerId="ADAL" clId="{B10B7B39-2ABD-4C62-8983-C68601FCF583}" dt="2023-03-11T19:17:32.013" v="1438" actId="207"/>
          <ac:spMkLst>
            <pc:docMk/>
            <pc:sldMk cId="2648739550" sldId="423"/>
            <ac:spMk id="14" creationId="{B600814F-C5FB-A5A6-C7E7-672B5C1EA70C}"/>
          </ac:spMkLst>
        </pc:spChg>
        <pc:spChg chg="add mod">
          <ac:chgData name="Zhizi Wen" userId="b804997a-63ad-4c7f-9308-31a917908f04" providerId="ADAL" clId="{B10B7B39-2ABD-4C62-8983-C68601FCF583}" dt="2023-03-12T11:24:17.377" v="5146"/>
          <ac:spMkLst>
            <pc:docMk/>
            <pc:sldMk cId="2648739550" sldId="423"/>
            <ac:spMk id="15" creationId="{4413BBC4-36E1-345F-4E9F-B08C48E06413}"/>
          </ac:spMkLst>
        </pc:spChg>
        <pc:spChg chg="add del mod">
          <ac:chgData name="Zhizi Wen" userId="b804997a-63ad-4c7f-9308-31a917908f04" providerId="ADAL" clId="{B10B7B39-2ABD-4C62-8983-C68601FCF583}" dt="2023-03-12T11:24:18.767" v="5148"/>
          <ac:spMkLst>
            <pc:docMk/>
            <pc:sldMk cId="2648739550" sldId="423"/>
            <ac:spMk id="17" creationId="{2F6BB11F-96D2-6E33-35CD-8FB3AF725A8C}"/>
          </ac:spMkLst>
        </pc:spChg>
        <pc:spChg chg="mod">
          <ac:chgData name="Zhizi Wen" userId="b804997a-63ad-4c7f-9308-31a917908f04" providerId="ADAL" clId="{B10B7B39-2ABD-4C62-8983-C68601FCF583}" dt="2023-03-11T19:12:13.761" v="1302" actId="1076"/>
          <ac:spMkLst>
            <pc:docMk/>
            <pc:sldMk cId="2648739550" sldId="423"/>
            <ac:spMk id="19" creationId="{9C574363-8D56-4907-88DB-F19E396AEB20}"/>
          </ac:spMkLst>
        </pc:spChg>
        <pc:spChg chg="mod">
          <ac:chgData name="Zhizi Wen" userId="b804997a-63ad-4c7f-9308-31a917908f04" providerId="ADAL" clId="{B10B7B39-2ABD-4C62-8983-C68601FCF583}" dt="2023-03-11T19:15:31.497" v="1366" actId="20577"/>
          <ac:spMkLst>
            <pc:docMk/>
            <pc:sldMk cId="2648739550" sldId="423"/>
            <ac:spMk id="20" creationId="{2AD08722-C387-44A0-8955-313CD959C971}"/>
          </ac:spMkLst>
        </pc:spChg>
        <pc:spChg chg="mod">
          <ac:chgData name="Zhizi Wen" userId="b804997a-63ad-4c7f-9308-31a917908f04" providerId="ADAL" clId="{B10B7B39-2ABD-4C62-8983-C68601FCF583}" dt="2023-03-11T19:15:37.141" v="1369" actId="1076"/>
          <ac:spMkLst>
            <pc:docMk/>
            <pc:sldMk cId="2648739550" sldId="423"/>
            <ac:spMk id="21" creationId="{03AEB1A7-4A22-4EA3-B891-8CE774B86F7E}"/>
          </ac:spMkLst>
        </pc:spChg>
        <pc:spChg chg="del">
          <ac:chgData name="Zhizi Wen" userId="b804997a-63ad-4c7f-9308-31a917908f04" providerId="ADAL" clId="{B10B7B39-2ABD-4C62-8983-C68601FCF583}" dt="2023-03-11T19:12:43.785" v="1306" actId="478"/>
          <ac:spMkLst>
            <pc:docMk/>
            <pc:sldMk cId="2648739550" sldId="423"/>
            <ac:spMk id="23" creationId="{7CF204E3-4778-4F0A-A268-F06D987E0847}"/>
          </ac:spMkLst>
        </pc:spChg>
        <pc:spChg chg="del">
          <ac:chgData name="Zhizi Wen" userId="b804997a-63ad-4c7f-9308-31a917908f04" providerId="ADAL" clId="{B10B7B39-2ABD-4C62-8983-C68601FCF583}" dt="2023-03-11T19:03:20.535" v="1182" actId="478"/>
          <ac:spMkLst>
            <pc:docMk/>
            <pc:sldMk cId="2648739550" sldId="423"/>
            <ac:spMk id="29" creationId="{E10F7A89-3041-4186-96DE-35E655F34BC9}"/>
          </ac:spMkLst>
        </pc:spChg>
        <pc:spChg chg="del">
          <ac:chgData name="Zhizi Wen" userId="b804997a-63ad-4c7f-9308-31a917908f04" providerId="ADAL" clId="{B10B7B39-2ABD-4C62-8983-C68601FCF583}" dt="2023-03-11T19:03:20.535" v="1182" actId="478"/>
          <ac:spMkLst>
            <pc:docMk/>
            <pc:sldMk cId="2648739550" sldId="423"/>
            <ac:spMk id="31" creationId="{BBED87D8-1934-476B-A067-2BCB679486C9}"/>
          </ac:spMkLst>
        </pc:spChg>
        <pc:spChg chg="del">
          <ac:chgData name="Zhizi Wen" userId="b804997a-63ad-4c7f-9308-31a917908f04" providerId="ADAL" clId="{B10B7B39-2ABD-4C62-8983-C68601FCF583}" dt="2023-03-11T19:03:20.535" v="1182" actId="478"/>
          <ac:spMkLst>
            <pc:docMk/>
            <pc:sldMk cId="2648739550" sldId="423"/>
            <ac:spMk id="33" creationId="{9FBDF0A8-F22A-415E-8A5D-F45B651A3B9A}"/>
          </ac:spMkLst>
        </pc:spChg>
        <pc:spChg chg="del">
          <ac:chgData name="Zhizi Wen" userId="b804997a-63ad-4c7f-9308-31a917908f04" providerId="ADAL" clId="{B10B7B39-2ABD-4C62-8983-C68601FCF583}" dt="2023-03-11T19:03:20.535" v="1182" actId="478"/>
          <ac:spMkLst>
            <pc:docMk/>
            <pc:sldMk cId="2648739550" sldId="423"/>
            <ac:spMk id="35" creationId="{549A974C-A04C-48B0-82BC-43C3D3B490AB}"/>
          </ac:spMkLst>
        </pc:spChg>
        <pc:spChg chg="del">
          <ac:chgData name="Zhizi Wen" userId="b804997a-63ad-4c7f-9308-31a917908f04" providerId="ADAL" clId="{B10B7B39-2ABD-4C62-8983-C68601FCF583}" dt="2023-03-11T19:03:20.535" v="1182" actId="478"/>
          <ac:spMkLst>
            <pc:docMk/>
            <pc:sldMk cId="2648739550" sldId="423"/>
            <ac:spMk id="37" creationId="{30227051-7F50-477A-ABF8-8DBD98A5B244}"/>
          </ac:spMkLst>
        </pc:spChg>
        <pc:spChg chg="del">
          <ac:chgData name="Zhizi Wen" userId="b804997a-63ad-4c7f-9308-31a917908f04" providerId="ADAL" clId="{B10B7B39-2ABD-4C62-8983-C68601FCF583}" dt="2023-03-11T19:03:20.535" v="1182" actId="478"/>
          <ac:spMkLst>
            <pc:docMk/>
            <pc:sldMk cId="2648739550" sldId="423"/>
            <ac:spMk id="38" creationId="{0CCE0C45-197C-42D9-AA6E-8328860025E5}"/>
          </ac:spMkLst>
        </pc:spChg>
        <pc:spChg chg="del">
          <ac:chgData name="Zhizi Wen" userId="b804997a-63ad-4c7f-9308-31a917908f04" providerId="ADAL" clId="{B10B7B39-2ABD-4C62-8983-C68601FCF583}" dt="2023-03-11T19:03:20.535" v="1182" actId="478"/>
          <ac:spMkLst>
            <pc:docMk/>
            <pc:sldMk cId="2648739550" sldId="423"/>
            <ac:spMk id="39" creationId="{C038203F-4F47-4AE8-907D-AA1853913757}"/>
          </ac:spMkLst>
        </pc:spChg>
        <pc:spChg chg="del">
          <ac:chgData name="Zhizi Wen" userId="b804997a-63ad-4c7f-9308-31a917908f04" providerId="ADAL" clId="{B10B7B39-2ABD-4C62-8983-C68601FCF583}" dt="2023-03-11T19:03:20.535" v="1182" actId="478"/>
          <ac:spMkLst>
            <pc:docMk/>
            <pc:sldMk cId="2648739550" sldId="423"/>
            <ac:spMk id="41" creationId="{B3CA957C-1EFE-44F3-9292-D16A4BFD082C}"/>
          </ac:spMkLst>
        </pc:spChg>
        <pc:spChg chg="del">
          <ac:chgData name="Zhizi Wen" userId="b804997a-63ad-4c7f-9308-31a917908f04" providerId="ADAL" clId="{B10B7B39-2ABD-4C62-8983-C68601FCF583}" dt="2023-03-11T19:03:14.514" v="1179" actId="478"/>
          <ac:spMkLst>
            <pc:docMk/>
            <pc:sldMk cId="2648739550" sldId="423"/>
            <ac:spMk id="61" creationId="{05838C74-8CCC-49DE-8F37-2D36188E1373}"/>
          </ac:spMkLst>
        </pc:spChg>
        <pc:spChg chg="del">
          <ac:chgData name="Zhizi Wen" userId="b804997a-63ad-4c7f-9308-31a917908f04" providerId="ADAL" clId="{B10B7B39-2ABD-4C62-8983-C68601FCF583}" dt="2023-03-11T19:03:20.535" v="1182" actId="478"/>
          <ac:spMkLst>
            <pc:docMk/>
            <pc:sldMk cId="2648739550" sldId="423"/>
            <ac:spMk id="62" creationId="{0B860EDB-CDEB-48DE-AAC5-ECFD64A8BDB4}"/>
          </ac:spMkLst>
        </pc:spChg>
        <pc:spChg chg="del">
          <ac:chgData name="Zhizi Wen" userId="b804997a-63ad-4c7f-9308-31a917908f04" providerId="ADAL" clId="{B10B7B39-2ABD-4C62-8983-C68601FCF583}" dt="2023-03-11T19:03:20.535" v="1182" actId="478"/>
          <ac:spMkLst>
            <pc:docMk/>
            <pc:sldMk cId="2648739550" sldId="423"/>
            <ac:spMk id="63" creationId="{1CCD4109-B6F5-474F-AF04-373327681372}"/>
          </ac:spMkLst>
        </pc:spChg>
        <pc:spChg chg="del">
          <ac:chgData name="Zhizi Wen" userId="b804997a-63ad-4c7f-9308-31a917908f04" providerId="ADAL" clId="{B10B7B39-2ABD-4C62-8983-C68601FCF583}" dt="2023-03-11T19:03:20.535" v="1182" actId="478"/>
          <ac:spMkLst>
            <pc:docMk/>
            <pc:sldMk cId="2648739550" sldId="423"/>
            <ac:spMk id="76" creationId="{2C67EB4D-832D-4FF5-B3A6-F9DB01D4E3C8}"/>
          </ac:spMkLst>
        </pc:spChg>
        <pc:spChg chg="del">
          <ac:chgData name="Zhizi Wen" userId="b804997a-63ad-4c7f-9308-31a917908f04" providerId="ADAL" clId="{B10B7B39-2ABD-4C62-8983-C68601FCF583}" dt="2023-03-11T19:03:20.535" v="1182" actId="478"/>
          <ac:spMkLst>
            <pc:docMk/>
            <pc:sldMk cId="2648739550" sldId="423"/>
            <ac:spMk id="77" creationId="{50ED3E36-24B5-43CD-A9A5-396598FB1A4B}"/>
          </ac:spMkLst>
        </pc:spChg>
        <pc:spChg chg="del">
          <ac:chgData name="Zhizi Wen" userId="b804997a-63ad-4c7f-9308-31a917908f04" providerId="ADAL" clId="{B10B7B39-2ABD-4C62-8983-C68601FCF583}" dt="2023-03-11T19:03:20.535" v="1182" actId="478"/>
          <ac:spMkLst>
            <pc:docMk/>
            <pc:sldMk cId="2648739550" sldId="423"/>
            <ac:spMk id="79" creationId="{AC49E29F-8DE3-4397-93ED-D850EDC1E1A7}"/>
          </ac:spMkLst>
        </pc:spChg>
        <pc:spChg chg="del">
          <ac:chgData name="Zhizi Wen" userId="b804997a-63ad-4c7f-9308-31a917908f04" providerId="ADAL" clId="{B10B7B39-2ABD-4C62-8983-C68601FCF583}" dt="2023-03-11T19:03:20.535" v="1182" actId="478"/>
          <ac:spMkLst>
            <pc:docMk/>
            <pc:sldMk cId="2648739550" sldId="423"/>
            <ac:spMk id="80" creationId="{41CD4D04-17D9-4A45-AD75-9F40493D2720}"/>
          </ac:spMkLst>
        </pc:spChg>
        <pc:spChg chg="del mod">
          <ac:chgData name="Zhizi Wen" userId="b804997a-63ad-4c7f-9308-31a917908f04" providerId="ADAL" clId="{B10B7B39-2ABD-4C62-8983-C68601FCF583}" dt="2023-03-11T19:03:17.065" v="1181" actId="478"/>
          <ac:spMkLst>
            <pc:docMk/>
            <pc:sldMk cId="2648739550" sldId="423"/>
            <ac:spMk id="82" creationId="{EAC0BAC9-6DAB-4666-8ED6-B7C4D81830A1}"/>
          </ac:spMkLst>
        </pc:spChg>
        <pc:graphicFrameChg chg="del">
          <ac:chgData name="Zhizi Wen" userId="b804997a-63ad-4c7f-9308-31a917908f04" providerId="ADAL" clId="{B10B7B39-2ABD-4C62-8983-C68601FCF583}" dt="2023-03-11T19:03:50.578" v="1188" actId="478"/>
          <ac:graphicFrameMkLst>
            <pc:docMk/>
            <pc:sldMk cId="2648739550" sldId="423"/>
            <ac:graphicFrameMk id="3" creationId="{BFE55DAD-BF1A-4AA6-953E-696A3BEF5679}"/>
          </ac:graphicFrameMkLst>
        </pc:graphicFrameChg>
        <pc:graphicFrameChg chg="add mod">
          <ac:chgData name="Zhizi Wen" userId="b804997a-63ad-4c7f-9308-31a917908f04" providerId="ADAL" clId="{B10B7B39-2ABD-4C62-8983-C68601FCF583}" dt="2023-03-11T19:20:00.225" v="1502" actId="1037"/>
          <ac:graphicFrameMkLst>
            <pc:docMk/>
            <pc:sldMk cId="2648739550" sldId="423"/>
            <ac:graphicFrameMk id="11" creationId="{166F07D9-B84C-554A-EC9E-1374AEFECDF4}"/>
          </ac:graphicFrameMkLst>
        </pc:graphicFrameChg>
        <pc:graphicFrameChg chg="del">
          <ac:chgData name="Zhizi Wen" userId="b804997a-63ad-4c7f-9308-31a917908f04" providerId="ADAL" clId="{B10B7B39-2ABD-4C62-8983-C68601FCF583}" dt="2023-03-11T19:07:41.994" v="1205" actId="478"/>
          <ac:graphicFrameMkLst>
            <pc:docMk/>
            <pc:sldMk cId="2648739550" sldId="423"/>
            <ac:graphicFrameMk id="13" creationId="{B110FC35-8E06-455B-BD8A-F75D41DA223B}"/>
          </ac:graphicFrameMkLst>
        </pc:graphicFrameChg>
        <pc:picChg chg="add mod modCrop">
          <ac:chgData name="Zhizi Wen" userId="b804997a-63ad-4c7f-9308-31a917908f04" providerId="ADAL" clId="{B10B7B39-2ABD-4C62-8983-C68601FCF583}" dt="2023-03-11T19:09:34.020" v="1232" actId="14100"/>
          <ac:picMkLst>
            <pc:docMk/>
            <pc:sldMk cId="2648739550" sldId="423"/>
            <ac:picMk id="10" creationId="{9A8BCB35-777E-BB1C-41A0-2555CC450568}"/>
          </ac:picMkLst>
        </pc:picChg>
        <pc:picChg chg="add mod">
          <ac:chgData name="Zhizi Wen" userId="b804997a-63ad-4c7f-9308-31a917908f04" providerId="ADAL" clId="{B10B7B39-2ABD-4C62-8983-C68601FCF583}" dt="2023-03-11T19:15:52.192" v="1372"/>
          <ac:picMkLst>
            <pc:docMk/>
            <pc:sldMk cId="2648739550" sldId="423"/>
            <ac:picMk id="12" creationId="{9F0971D8-CEDD-56C6-D5A5-E9C9B351E636}"/>
          </ac:picMkLst>
        </pc:picChg>
      </pc:sldChg>
      <pc:sldChg chg="modSp add del mod">
        <pc:chgData name="Zhizi Wen" userId="b804997a-63ad-4c7f-9308-31a917908f04" providerId="ADAL" clId="{B10B7B39-2ABD-4C62-8983-C68601FCF583}" dt="2023-03-11T19:54:20.199" v="2196" actId="47"/>
        <pc:sldMkLst>
          <pc:docMk/>
          <pc:sldMk cId="460453364" sldId="424"/>
        </pc:sldMkLst>
        <pc:spChg chg="mod">
          <ac:chgData name="Zhizi Wen" userId="b804997a-63ad-4c7f-9308-31a917908f04" providerId="ADAL" clId="{B10B7B39-2ABD-4C62-8983-C68601FCF583}" dt="2023-03-11T19:41:49.835" v="1888" actId="20577"/>
          <ac:spMkLst>
            <pc:docMk/>
            <pc:sldMk cId="460453364" sldId="424"/>
            <ac:spMk id="36" creationId="{F396825E-26E5-6EF2-8246-692C079AB205}"/>
          </ac:spMkLst>
        </pc:spChg>
      </pc:sldChg>
      <pc:sldChg chg="addSp delSp modSp add mod ord modCm modNotesTx">
        <pc:chgData name="Zhizi Wen" userId="b804997a-63ad-4c7f-9308-31a917908f04" providerId="ADAL" clId="{B10B7B39-2ABD-4C62-8983-C68601FCF583}" dt="2023-03-13T07:56:46.553" v="10247" actId="20577"/>
        <pc:sldMkLst>
          <pc:docMk/>
          <pc:sldMk cId="3170326948" sldId="439"/>
        </pc:sldMkLst>
        <pc:spChg chg="del">
          <ac:chgData name="Zhizi Wen" userId="b804997a-63ad-4c7f-9308-31a917908f04" providerId="ADAL" clId="{B10B7B39-2ABD-4C62-8983-C68601FCF583}" dt="2023-03-11T19:28:59.979" v="1620" actId="478"/>
          <ac:spMkLst>
            <pc:docMk/>
            <pc:sldMk cId="3170326948" sldId="439"/>
            <ac:spMk id="2" creationId="{516F97DF-B5B6-46D7-8B48-7F13F0B3D7D8}"/>
          </ac:spMkLst>
        </pc:spChg>
        <pc:spChg chg="add del">
          <ac:chgData name="Zhizi Wen" userId="b804997a-63ad-4c7f-9308-31a917908f04" providerId="ADAL" clId="{B10B7B39-2ABD-4C62-8983-C68601FCF583}" dt="2023-03-11T19:29:04.826" v="1622" actId="478"/>
          <ac:spMkLst>
            <pc:docMk/>
            <pc:sldMk cId="3170326948" sldId="439"/>
            <ac:spMk id="5" creationId="{A381D696-18C1-458B-33A2-F66A193B1B80}"/>
          </ac:spMkLst>
        </pc:spChg>
        <pc:spChg chg="add del">
          <ac:chgData name="Zhizi Wen" userId="b804997a-63ad-4c7f-9308-31a917908f04" providerId="ADAL" clId="{B10B7B39-2ABD-4C62-8983-C68601FCF583}" dt="2023-03-11T19:29:11.034" v="1624" actId="478"/>
          <ac:spMkLst>
            <pc:docMk/>
            <pc:sldMk cId="3170326948" sldId="439"/>
            <ac:spMk id="7" creationId="{AD44D338-2252-FD5B-6105-708C71DBF42A}"/>
          </ac:spMkLst>
        </pc:spChg>
        <pc:spChg chg="add mod">
          <ac:chgData name="Zhizi Wen" userId="b804997a-63ad-4c7f-9308-31a917908f04" providerId="ADAL" clId="{B10B7B39-2ABD-4C62-8983-C68601FCF583}" dt="2023-03-11T23:33:49.239" v="5055"/>
          <ac:spMkLst>
            <pc:docMk/>
            <pc:sldMk cId="3170326948" sldId="439"/>
            <ac:spMk id="8" creationId="{2A8F0A31-3B4A-6E38-2150-1E851124088A}"/>
          </ac:spMkLst>
        </pc:spChg>
        <pc:spChg chg="add del mod">
          <ac:chgData name="Zhizi Wen" userId="b804997a-63ad-4c7f-9308-31a917908f04" providerId="ADAL" clId="{B10B7B39-2ABD-4C62-8983-C68601FCF583}" dt="2023-03-11T19:51:38.102" v="2185"/>
          <ac:spMkLst>
            <pc:docMk/>
            <pc:sldMk cId="3170326948" sldId="439"/>
            <ac:spMk id="16" creationId="{F634068C-31B8-1B7B-A446-47FC429184DE}"/>
          </ac:spMkLst>
        </pc:spChg>
        <pc:spChg chg="add mod">
          <ac:chgData name="Zhizi Wen" userId="b804997a-63ad-4c7f-9308-31a917908f04" providerId="ADAL" clId="{B10B7B39-2ABD-4C62-8983-C68601FCF583}" dt="2023-03-11T19:52:46.202" v="2195" actId="207"/>
          <ac:spMkLst>
            <pc:docMk/>
            <pc:sldMk cId="3170326948" sldId="439"/>
            <ac:spMk id="17" creationId="{1150A66D-DCCD-3713-EC95-41368DBB40D8}"/>
          </ac:spMkLst>
        </pc:spChg>
        <pc:spChg chg="del">
          <ac:chgData name="Zhizi Wen" userId="b804997a-63ad-4c7f-9308-31a917908f04" providerId="ADAL" clId="{B10B7B39-2ABD-4C62-8983-C68601FCF583}" dt="2023-03-11T19:40:14.650" v="1862" actId="478"/>
          <ac:spMkLst>
            <pc:docMk/>
            <pc:sldMk cId="3170326948" sldId="439"/>
            <ac:spMk id="19" creationId="{40DB767A-33A9-4BD6-A3A2-22FFF6652E53}"/>
          </ac:spMkLst>
        </pc:spChg>
        <pc:spChg chg="mod">
          <ac:chgData name="Zhizi Wen" userId="b804997a-63ad-4c7f-9308-31a917908f04" providerId="ADAL" clId="{B10B7B39-2ABD-4C62-8983-C68601FCF583}" dt="2023-03-11T19:50:35.327" v="2174" actId="1036"/>
          <ac:spMkLst>
            <pc:docMk/>
            <pc:sldMk cId="3170326948" sldId="439"/>
            <ac:spMk id="20" creationId="{27985C8D-FDDD-4F6B-A925-D5E34A1AB86D}"/>
          </ac:spMkLst>
        </pc:spChg>
        <pc:spChg chg="mod">
          <ac:chgData name="Zhizi Wen" userId="b804997a-63ad-4c7f-9308-31a917908f04" providerId="ADAL" clId="{B10B7B39-2ABD-4C62-8983-C68601FCF583}" dt="2023-03-12T18:52:34.889" v="6623" actId="20577"/>
          <ac:spMkLst>
            <pc:docMk/>
            <pc:sldMk cId="3170326948" sldId="439"/>
            <ac:spMk id="21" creationId="{DC2DE330-6229-4785-B018-1F73DB6427DF}"/>
          </ac:spMkLst>
        </pc:spChg>
        <pc:spChg chg="mod">
          <ac:chgData name="Zhizi Wen" userId="b804997a-63ad-4c7f-9308-31a917908f04" providerId="ADAL" clId="{B10B7B39-2ABD-4C62-8983-C68601FCF583}" dt="2023-03-12T18:51:39.328" v="6617" actId="20577"/>
          <ac:spMkLst>
            <pc:docMk/>
            <pc:sldMk cId="3170326948" sldId="439"/>
            <ac:spMk id="22" creationId="{D059DE80-F977-47D9-BE90-74BB98B017A3}"/>
          </ac:spMkLst>
        </pc:spChg>
        <pc:spChg chg="mod">
          <ac:chgData name="Zhizi Wen" userId="b804997a-63ad-4c7f-9308-31a917908f04" providerId="ADAL" clId="{B10B7B39-2ABD-4C62-8983-C68601FCF583}" dt="2023-03-12T11:21:36.939" v="5119" actId="20577"/>
          <ac:spMkLst>
            <pc:docMk/>
            <pc:sldMk cId="3170326948" sldId="439"/>
            <ac:spMk id="23" creationId="{A726FBD2-46E4-4858-9E0C-B850BE79015C}"/>
          </ac:spMkLst>
        </pc:spChg>
        <pc:spChg chg="del mod">
          <ac:chgData name="Zhizi Wen" userId="b804997a-63ad-4c7f-9308-31a917908f04" providerId="ADAL" clId="{B10B7B39-2ABD-4C62-8983-C68601FCF583}" dt="2023-03-11T19:40:16.513" v="1864" actId="478"/>
          <ac:spMkLst>
            <pc:docMk/>
            <pc:sldMk cId="3170326948" sldId="439"/>
            <ac:spMk id="43" creationId="{D2BF0FFE-6E38-494B-B9D4-BE101A660236}"/>
          </ac:spMkLst>
        </pc:spChg>
        <pc:spChg chg="del">
          <ac:chgData name="Zhizi Wen" userId="b804997a-63ad-4c7f-9308-31a917908f04" providerId="ADAL" clId="{B10B7B39-2ABD-4C62-8983-C68601FCF583}" dt="2023-03-11T19:40:17.259" v="1865" actId="478"/>
          <ac:spMkLst>
            <pc:docMk/>
            <pc:sldMk cId="3170326948" sldId="439"/>
            <ac:spMk id="44" creationId="{E6590A9B-E427-4C07-AF2B-270D1B863F83}"/>
          </ac:spMkLst>
        </pc:spChg>
        <pc:spChg chg="del mod">
          <ac:chgData name="Zhizi Wen" userId="b804997a-63ad-4c7f-9308-31a917908f04" providerId="ADAL" clId="{B10B7B39-2ABD-4C62-8983-C68601FCF583}" dt="2023-03-11T19:40:15.441" v="1863" actId="478"/>
          <ac:spMkLst>
            <pc:docMk/>
            <pc:sldMk cId="3170326948" sldId="439"/>
            <ac:spMk id="45" creationId="{BCF68F67-90AE-41F5-88C8-35A9C37DE164}"/>
          </ac:spMkLst>
        </pc:spChg>
        <pc:spChg chg="del">
          <ac:chgData name="Zhizi Wen" userId="b804997a-63ad-4c7f-9308-31a917908f04" providerId="ADAL" clId="{B10B7B39-2ABD-4C62-8983-C68601FCF583}" dt="2023-03-11T19:42:29.931" v="1904" actId="478"/>
          <ac:spMkLst>
            <pc:docMk/>
            <pc:sldMk cId="3170326948" sldId="439"/>
            <ac:spMk id="46" creationId="{840675DC-E976-44F7-98D8-8280CB726814}"/>
          </ac:spMkLst>
        </pc:spChg>
        <pc:spChg chg="del">
          <ac:chgData name="Zhizi Wen" userId="b804997a-63ad-4c7f-9308-31a917908f04" providerId="ADAL" clId="{B10B7B39-2ABD-4C62-8983-C68601FCF583}" dt="2023-03-11T19:40:18.075" v="1866" actId="478"/>
          <ac:spMkLst>
            <pc:docMk/>
            <pc:sldMk cId="3170326948" sldId="439"/>
            <ac:spMk id="48" creationId="{6015968D-2194-494C-B35D-2736AAD4D88D}"/>
          </ac:spMkLst>
        </pc:spChg>
        <pc:spChg chg="mod">
          <ac:chgData name="Zhizi Wen" userId="b804997a-63ad-4c7f-9308-31a917908f04" providerId="ADAL" clId="{B10B7B39-2ABD-4C62-8983-C68601FCF583}" dt="2023-03-11T19:42:43.005" v="1905" actId="14861"/>
          <ac:spMkLst>
            <pc:docMk/>
            <pc:sldMk cId="3170326948" sldId="439"/>
            <ac:spMk id="50" creationId="{8165DE73-D578-4F2F-B25C-38AB00665071}"/>
          </ac:spMkLst>
        </pc:spChg>
        <pc:spChg chg="mod">
          <ac:chgData name="Zhizi Wen" userId="b804997a-63ad-4c7f-9308-31a917908f04" providerId="ADAL" clId="{B10B7B39-2ABD-4C62-8983-C68601FCF583}" dt="2023-03-11T19:30:49.749" v="1678" actId="14861"/>
          <ac:spMkLst>
            <pc:docMk/>
            <pc:sldMk cId="3170326948" sldId="439"/>
            <ac:spMk id="52" creationId="{A0970403-D9E3-44DC-A480-246217C72EF4}"/>
          </ac:spMkLst>
        </pc:spChg>
        <pc:spChg chg="mod">
          <ac:chgData name="Zhizi Wen" userId="b804997a-63ad-4c7f-9308-31a917908f04" providerId="ADAL" clId="{B10B7B39-2ABD-4C62-8983-C68601FCF583}" dt="2023-03-11T19:50:35.327" v="2174" actId="1036"/>
          <ac:spMkLst>
            <pc:docMk/>
            <pc:sldMk cId="3170326948" sldId="439"/>
            <ac:spMk id="54" creationId="{04FE5149-E562-4C57-B255-1AF0A6AF3989}"/>
          </ac:spMkLst>
        </pc:spChg>
        <pc:spChg chg="mod">
          <ac:chgData name="Zhizi Wen" userId="b804997a-63ad-4c7f-9308-31a917908f04" providerId="ADAL" clId="{B10B7B39-2ABD-4C62-8983-C68601FCF583}" dt="2023-03-11T19:50:35.327" v="2174" actId="1036"/>
          <ac:spMkLst>
            <pc:docMk/>
            <pc:sldMk cId="3170326948" sldId="439"/>
            <ac:spMk id="55" creationId="{DF290B70-ED72-467D-9FBF-7BBF8840351D}"/>
          </ac:spMkLst>
        </pc:spChg>
        <pc:spChg chg="mod">
          <ac:chgData name="Zhizi Wen" userId="b804997a-63ad-4c7f-9308-31a917908f04" providerId="ADAL" clId="{B10B7B39-2ABD-4C62-8983-C68601FCF583}" dt="2023-03-11T19:38:38.229" v="1810" actId="692"/>
          <ac:spMkLst>
            <pc:docMk/>
            <pc:sldMk cId="3170326948" sldId="439"/>
            <ac:spMk id="58" creationId="{7C8E7F8A-9ECB-4029-8067-8CC698CE3743}"/>
          </ac:spMkLst>
        </pc:spChg>
        <pc:spChg chg="mod">
          <ac:chgData name="Zhizi Wen" userId="b804997a-63ad-4c7f-9308-31a917908f04" providerId="ADAL" clId="{B10B7B39-2ABD-4C62-8983-C68601FCF583}" dt="2023-03-11T19:40:34.812" v="1868" actId="14861"/>
          <ac:spMkLst>
            <pc:docMk/>
            <pc:sldMk cId="3170326948" sldId="439"/>
            <ac:spMk id="59" creationId="{A237B092-26AB-47A4-AF59-5BC3AAAFA7E5}"/>
          </ac:spMkLst>
        </pc:spChg>
        <pc:spChg chg="mod">
          <ac:chgData name="Zhizi Wen" userId="b804997a-63ad-4c7f-9308-31a917908f04" providerId="ADAL" clId="{B10B7B39-2ABD-4C62-8983-C68601FCF583}" dt="2023-03-11T19:38:42.519" v="1811" actId="692"/>
          <ac:spMkLst>
            <pc:docMk/>
            <pc:sldMk cId="3170326948" sldId="439"/>
            <ac:spMk id="61" creationId="{F332564A-3E4E-4A55-96C9-1BF570A3EFF8}"/>
          </ac:spMkLst>
        </pc:spChg>
        <pc:spChg chg="mod">
          <ac:chgData name="Zhizi Wen" userId="b804997a-63ad-4c7f-9308-31a917908f04" providerId="ADAL" clId="{B10B7B39-2ABD-4C62-8983-C68601FCF583}" dt="2023-03-11T19:41:23.967" v="1874" actId="14861"/>
          <ac:spMkLst>
            <pc:docMk/>
            <pc:sldMk cId="3170326948" sldId="439"/>
            <ac:spMk id="62" creationId="{EE82FAA7-637B-483F-99B2-7AD25B6CBC6D}"/>
          </ac:spMkLst>
        </pc:spChg>
        <pc:spChg chg="del">
          <ac:chgData name="Zhizi Wen" userId="b804997a-63ad-4c7f-9308-31a917908f04" providerId="ADAL" clId="{B10B7B39-2ABD-4C62-8983-C68601FCF583}" dt="2023-03-11T19:26:27.138" v="1601" actId="478"/>
          <ac:spMkLst>
            <pc:docMk/>
            <pc:sldMk cId="3170326948" sldId="439"/>
            <ac:spMk id="63" creationId="{2FAD7452-6392-45BE-BD0A-238A0486CCC3}"/>
          </ac:spMkLst>
        </pc:spChg>
        <pc:grpChg chg="add del mod">
          <ac:chgData name="Zhizi Wen" userId="b804997a-63ad-4c7f-9308-31a917908f04" providerId="ADAL" clId="{B10B7B39-2ABD-4C62-8983-C68601FCF583}" dt="2023-03-11T19:50:35.327" v="2174" actId="1036"/>
          <ac:grpSpMkLst>
            <pc:docMk/>
            <pc:sldMk cId="3170326948" sldId="439"/>
            <ac:grpSpMk id="56" creationId="{C9E67802-6CF1-439A-A570-E36F96A42128}"/>
          </ac:grpSpMkLst>
        </pc:grpChg>
        <pc:grpChg chg="add del mod">
          <ac:chgData name="Zhizi Wen" userId="b804997a-63ad-4c7f-9308-31a917908f04" providerId="ADAL" clId="{B10B7B39-2ABD-4C62-8983-C68601FCF583}" dt="2023-03-11T19:50:35.327" v="2174" actId="1036"/>
          <ac:grpSpMkLst>
            <pc:docMk/>
            <pc:sldMk cId="3170326948" sldId="439"/>
            <ac:grpSpMk id="57" creationId="{DFA414AB-D746-4C28-9471-472A4DF84CCA}"/>
          </ac:grpSpMkLst>
        </pc:grpChg>
        <pc:grpChg chg="mod">
          <ac:chgData name="Zhizi Wen" userId="b804997a-63ad-4c7f-9308-31a917908f04" providerId="ADAL" clId="{B10B7B39-2ABD-4C62-8983-C68601FCF583}" dt="2023-03-11T19:50:35.327" v="2174" actId="1036"/>
          <ac:grpSpMkLst>
            <pc:docMk/>
            <pc:sldMk cId="3170326948" sldId="439"/>
            <ac:grpSpMk id="60" creationId="{BA318D9D-0F07-4F93-95ED-56A5ED5200D6}"/>
          </ac:grpSpMkLst>
        </pc:grpChg>
        <pc:grpChg chg="del mod">
          <ac:chgData name="Zhizi Wen" userId="b804997a-63ad-4c7f-9308-31a917908f04" providerId="ADAL" clId="{B10B7B39-2ABD-4C62-8983-C68601FCF583}" dt="2023-03-11T19:48:47.252" v="2118" actId="478"/>
          <ac:grpSpMkLst>
            <pc:docMk/>
            <pc:sldMk cId="3170326948" sldId="439"/>
            <ac:grpSpMk id="81" creationId="{33DAF10D-8469-4767-8E37-2FECE70D6BCF}"/>
          </ac:grpSpMkLst>
        </pc:grpChg>
        <pc:grpChg chg="del mod">
          <ac:chgData name="Zhizi Wen" userId="b804997a-63ad-4c7f-9308-31a917908f04" providerId="ADAL" clId="{B10B7B39-2ABD-4C62-8983-C68601FCF583}" dt="2023-03-11T19:41:06.907" v="1869" actId="478"/>
          <ac:grpSpMkLst>
            <pc:docMk/>
            <pc:sldMk cId="3170326948" sldId="439"/>
            <ac:grpSpMk id="92" creationId="{31599DD4-342C-462D-A4B4-CA4CA65AD154}"/>
          </ac:grpSpMkLst>
        </pc:grpChg>
        <pc:grpChg chg="del">
          <ac:chgData name="Zhizi Wen" userId="b804997a-63ad-4c7f-9308-31a917908f04" providerId="ADAL" clId="{B10B7B39-2ABD-4C62-8983-C68601FCF583}" dt="2023-03-11T19:46:41.779" v="2051" actId="478"/>
          <ac:grpSpMkLst>
            <pc:docMk/>
            <pc:sldMk cId="3170326948" sldId="439"/>
            <ac:grpSpMk id="114" creationId="{3BFB0343-E2E4-4038-9887-CDD515E2D149}"/>
          </ac:grpSpMkLst>
        </pc:grpChg>
        <pc:grpChg chg="del mod">
          <ac:chgData name="Zhizi Wen" userId="b804997a-63ad-4c7f-9308-31a917908f04" providerId="ADAL" clId="{B10B7B39-2ABD-4C62-8983-C68601FCF583}" dt="2023-03-11T19:32:57.306" v="1702" actId="478"/>
          <ac:grpSpMkLst>
            <pc:docMk/>
            <pc:sldMk cId="3170326948" sldId="439"/>
            <ac:grpSpMk id="129" creationId="{4A2E68A0-7748-48AA-8009-3E0ECA144A2B}"/>
          </ac:grpSpMkLst>
        </pc:grpChg>
        <pc:picChg chg="add mod">
          <ac:chgData name="Zhizi Wen" userId="b804997a-63ad-4c7f-9308-31a917908f04" providerId="ADAL" clId="{B10B7B39-2ABD-4C62-8983-C68601FCF583}" dt="2023-03-11T19:50:35.327" v="2174" actId="1036"/>
          <ac:picMkLst>
            <pc:docMk/>
            <pc:sldMk cId="3170326948" sldId="439"/>
            <ac:picMk id="3" creationId="{4FEE2D88-E78F-3099-A0F8-368BDDD67E3B}"/>
          </ac:picMkLst>
        </pc:picChg>
        <pc:picChg chg="add del mod">
          <ac:chgData name="Zhizi Wen" userId="b804997a-63ad-4c7f-9308-31a917908f04" providerId="ADAL" clId="{B10B7B39-2ABD-4C62-8983-C68601FCF583}" dt="2023-03-11T19:38:06.185" v="1790" actId="478"/>
          <ac:picMkLst>
            <pc:docMk/>
            <pc:sldMk cId="3170326948" sldId="439"/>
            <ac:picMk id="10" creationId="{6C7BA369-8201-E756-8A64-CB20A928D14D}"/>
          </ac:picMkLst>
        </pc:picChg>
        <pc:picChg chg="add mod">
          <ac:chgData name="Zhizi Wen" userId="b804997a-63ad-4c7f-9308-31a917908f04" providerId="ADAL" clId="{B10B7B39-2ABD-4C62-8983-C68601FCF583}" dt="2023-03-11T19:50:35.327" v="2174" actId="1036"/>
          <ac:picMkLst>
            <pc:docMk/>
            <pc:sldMk cId="3170326948" sldId="439"/>
            <ac:picMk id="12" creationId="{A98238E9-0073-43EA-4FCB-08E9B4B86BBC}"/>
          </ac:picMkLst>
        </pc:picChg>
        <pc:picChg chg="add mod">
          <ac:chgData name="Zhizi Wen" userId="b804997a-63ad-4c7f-9308-31a917908f04" providerId="ADAL" clId="{B10B7B39-2ABD-4C62-8983-C68601FCF583}" dt="2023-03-11T19:50:35.327" v="2174" actId="1036"/>
          <ac:picMkLst>
            <pc:docMk/>
            <pc:sldMk cId="3170326948" sldId="439"/>
            <ac:picMk id="13" creationId="{914DA17C-82A4-FEBA-E182-243E504C0F85}"/>
          </ac:picMkLst>
        </pc:picChg>
        <pc:picChg chg="add mod">
          <ac:chgData name="Zhizi Wen" userId="b804997a-63ad-4c7f-9308-31a917908f04" providerId="ADAL" clId="{B10B7B39-2ABD-4C62-8983-C68601FCF583}" dt="2023-03-11T19:50:35.327" v="2174" actId="1036"/>
          <ac:picMkLst>
            <pc:docMk/>
            <pc:sldMk cId="3170326948" sldId="439"/>
            <ac:picMk id="14" creationId="{76AF083F-3AA8-A1D6-AA31-1461C185BAD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Zhizi Wen" userId="b804997a-63ad-4c7f-9308-31a917908f04" providerId="ADAL" clId="{B10B7B39-2ABD-4C62-8983-C68601FCF583}" dt="2023-03-11T23:33:53.983" v="5056"/>
              <pc2:cmMkLst xmlns:pc2="http://schemas.microsoft.com/office/powerpoint/2019/9/main/command">
                <pc:docMk/>
                <pc:sldMk cId="3170326948" sldId="439"/>
                <pc2:cmMk id="{C7B51470-6A7E-D748-B121-AB46446E868F}"/>
              </pc2:cmMkLst>
            </pc226:cmChg>
          </p:ext>
        </pc:extLst>
      </pc:sldChg>
      <pc:sldChg chg="addSp delSp modSp new del mod ord modClrScheme modShow chgLayout">
        <pc:chgData name="Zhizi Wen" userId="b804997a-63ad-4c7f-9308-31a917908f04" providerId="ADAL" clId="{B10B7B39-2ABD-4C62-8983-C68601FCF583}" dt="2023-03-13T14:09:56.692" v="10375" actId="47"/>
        <pc:sldMkLst>
          <pc:docMk/>
          <pc:sldMk cId="3319547006" sldId="440"/>
        </pc:sldMkLst>
        <pc:spChg chg="mod ord">
          <ac:chgData name="Zhizi Wen" userId="b804997a-63ad-4c7f-9308-31a917908f04" providerId="ADAL" clId="{B10B7B39-2ABD-4C62-8983-C68601FCF583}" dt="2023-03-11T19:54:40.208" v="2199" actId="700"/>
          <ac:spMkLst>
            <pc:docMk/>
            <pc:sldMk cId="3319547006" sldId="440"/>
            <ac:spMk id="2" creationId="{427F25CE-A3C4-78E3-2E5F-7851C06422A7}"/>
          </ac:spMkLst>
        </pc:spChg>
        <pc:spChg chg="mod ord">
          <ac:chgData name="Zhizi Wen" userId="b804997a-63ad-4c7f-9308-31a917908f04" providerId="ADAL" clId="{B10B7B39-2ABD-4C62-8983-C68601FCF583}" dt="2023-03-11T19:54:40.208" v="2199" actId="700"/>
          <ac:spMkLst>
            <pc:docMk/>
            <pc:sldMk cId="3319547006" sldId="440"/>
            <ac:spMk id="3" creationId="{D4409A16-6CDE-9AD3-4191-8A7426D8D43B}"/>
          </ac:spMkLst>
        </pc:spChg>
        <pc:spChg chg="mod ord">
          <ac:chgData name="Zhizi Wen" userId="b804997a-63ad-4c7f-9308-31a917908f04" providerId="ADAL" clId="{B10B7B39-2ABD-4C62-8983-C68601FCF583}" dt="2023-03-11T19:54:40.208" v="2199" actId="700"/>
          <ac:spMkLst>
            <pc:docMk/>
            <pc:sldMk cId="3319547006" sldId="440"/>
            <ac:spMk id="4" creationId="{20378424-F4C2-45B7-1616-9EBD2B5F3D88}"/>
          </ac:spMkLst>
        </pc:spChg>
        <pc:spChg chg="add mod ord">
          <ac:chgData name="Zhizi Wen" userId="b804997a-63ad-4c7f-9308-31a917908f04" providerId="ADAL" clId="{B10B7B39-2ABD-4C62-8983-C68601FCF583}" dt="2023-03-11T19:55:50.181" v="2219" actId="20577"/>
          <ac:spMkLst>
            <pc:docMk/>
            <pc:sldMk cId="3319547006" sldId="440"/>
            <ac:spMk id="5" creationId="{FFAF0FEB-559E-E0EB-CA65-89094B36F6C3}"/>
          </ac:spMkLst>
        </pc:spChg>
        <pc:spChg chg="add del mod ord">
          <ac:chgData name="Zhizi Wen" userId="b804997a-63ad-4c7f-9308-31a917908f04" providerId="ADAL" clId="{B10B7B39-2ABD-4C62-8983-C68601FCF583}" dt="2023-03-11T21:04:01.529" v="2401" actId="20577"/>
          <ac:spMkLst>
            <pc:docMk/>
            <pc:sldMk cId="3319547006" sldId="440"/>
            <ac:spMk id="6" creationId="{616597F4-5B84-06C8-9FEC-44B5E5644494}"/>
          </ac:spMkLst>
        </pc:spChg>
        <pc:spChg chg="add mod ord">
          <ac:chgData name="Zhizi Wen" userId="b804997a-63ad-4c7f-9308-31a917908f04" providerId="ADAL" clId="{B10B7B39-2ABD-4C62-8983-C68601FCF583}" dt="2023-03-11T19:54:40.208" v="2199" actId="700"/>
          <ac:spMkLst>
            <pc:docMk/>
            <pc:sldMk cId="3319547006" sldId="440"/>
            <ac:spMk id="7" creationId="{07434E47-0089-6667-BB03-487B41A15DF2}"/>
          </ac:spMkLst>
        </pc:spChg>
        <pc:spChg chg="add mod ord">
          <ac:chgData name="Zhizi Wen" userId="b804997a-63ad-4c7f-9308-31a917908f04" providerId="ADAL" clId="{B10B7B39-2ABD-4C62-8983-C68601FCF583}" dt="2023-03-11T19:54:40.208" v="2199" actId="700"/>
          <ac:spMkLst>
            <pc:docMk/>
            <pc:sldMk cId="3319547006" sldId="440"/>
            <ac:spMk id="8" creationId="{40C17A9D-DE4B-D443-DE77-6B8F1C7615DD}"/>
          </ac:spMkLst>
        </pc:spChg>
      </pc:sldChg>
      <pc:sldChg chg="modSp new del mod">
        <pc:chgData name="Zhizi Wen" userId="b804997a-63ad-4c7f-9308-31a917908f04" providerId="ADAL" clId="{B10B7B39-2ABD-4C62-8983-C68601FCF583}" dt="2023-03-11T22:53:02.005" v="4573" actId="47"/>
        <pc:sldMkLst>
          <pc:docMk/>
          <pc:sldMk cId="1747256229" sldId="441"/>
        </pc:sldMkLst>
        <pc:spChg chg="mod">
          <ac:chgData name="Zhizi Wen" userId="b804997a-63ad-4c7f-9308-31a917908f04" providerId="ADAL" clId="{B10B7B39-2ABD-4C62-8983-C68601FCF583}" dt="2023-03-11T21:10:36.962" v="2404" actId="20577"/>
          <ac:spMkLst>
            <pc:docMk/>
            <pc:sldMk cId="1747256229" sldId="441"/>
            <ac:spMk id="6" creationId="{DC6E52C7-9CE6-4A6B-503E-59C28913642B}"/>
          </ac:spMkLst>
        </pc:spChg>
        <pc:spChg chg="mod">
          <ac:chgData name="Zhizi Wen" userId="b804997a-63ad-4c7f-9308-31a917908f04" providerId="ADAL" clId="{B10B7B39-2ABD-4C62-8983-C68601FCF583}" dt="2023-03-11T21:10:45.585" v="2433" actId="20577"/>
          <ac:spMkLst>
            <pc:docMk/>
            <pc:sldMk cId="1747256229" sldId="441"/>
            <ac:spMk id="8" creationId="{83A27932-3F02-8C2C-4991-10F68514A503}"/>
          </ac:spMkLst>
        </pc:spChg>
      </pc:sldChg>
      <pc:sldChg chg="addSp delSp modSp new del mod">
        <pc:chgData name="Zhizi Wen" userId="b804997a-63ad-4c7f-9308-31a917908f04" providerId="ADAL" clId="{B10B7B39-2ABD-4C62-8983-C68601FCF583}" dt="2023-03-11T22:52:55.845" v="4572" actId="47"/>
        <pc:sldMkLst>
          <pc:docMk/>
          <pc:sldMk cId="3062267723" sldId="442"/>
        </pc:sldMkLst>
        <pc:spChg chg="mod">
          <ac:chgData name="Zhizi Wen" userId="b804997a-63ad-4c7f-9308-31a917908f04" providerId="ADAL" clId="{B10B7B39-2ABD-4C62-8983-C68601FCF583}" dt="2023-03-11T21:35:05.404" v="2827" actId="20577"/>
          <ac:spMkLst>
            <pc:docMk/>
            <pc:sldMk cId="3062267723" sldId="442"/>
            <ac:spMk id="5" creationId="{C35C4297-823B-3056-9B41-366923486BB9}"/>
          </ac:spMkLst>
        </pc:spChg>
        <pc:spChg chg="mod">
          <ac:chgData name="Zhizi Wen" userId="b804997a-63ad-4c7f-9308-31a917908f04" providerId="ADAL" clId="{B10B7B39-2ABD-4C62-8983-C68601FCF583}" dt="2023-03-11T21:14:55.385" v="2462" actId="20577"/>
          <ac:spMkLst>
            <pc:docMk/>
            <pc:sldMk cId="3062267723" sldId="442"/>
            <ac:spMk id="6" creationId="{B0304633-43B9-D73E-FC20-0B7E1B13E409}"/>
          </ac:spMkLst>
        </pc:spChg>
        <pc:spChg chg="add del">
          <ac:chgData name="Zhizi Wen" userId="b804997a-63ad-4c7f-9308-31a917908f04" providerId="ADAL" clId="{B10B7B39-2ABD-4C62-8983-C68601FCF583}" dt="2023-03-11T21:16:09.046" v="2467"/>
          <ac:spMkLst>
            <pc:docMk/>
            <pc:sldMk cId="3062267723" sldId="442"/>
            <ac:spMk id="7" creationId="{1D90CE7A-2CFC-90F8-612F-6E3BE2B45463}"/>
          </ac:spMkLst>
        </pc:spChg>
        <pc:spChg chg="mod">
          <ac:chgData name="Zhizi Wen" userId="b804997a-63ad-4c7f-9308-31a917908f04" providerId="ADAL" clId="{B10B7B39-2ABD-4C62-8983-C68601FCF583}" dt="2023-03-11T21:18:27.503" v="2514"/>
          <ac:spMkLst>
            <pc:docMk/>
            <pc:sldMk cId="3062267723" sldId="442"/>
            <ac:spMk id="8" creationId="{71362751-EADA-66A2-BB4F-F54C5374AB8A}"/>
          </ac:spMkLst>
        </pc:spChg>
        <pc:picChg chg="add del mod">
          <ac:chgData name="Zhizi Wen" userId="b804997a-63ad-4c7f-9308-31a917908f04" providerId="ADAL" clId="{B10B7B39-2ABD-4C62-8983-C68601FCF583}" dt="2023-03-11T21:16:09.046" v="2467"/>
          <ac:picMkLst>
            <pc:docMk/>
            <pc:sldMk cId="3062267723" sldId="442"/>
            <ac:picMk id="10" creationId="{4C7F512A-7391-AE0A-D66F-35E8AB925348}"/>
          </ac:picMkLst>
        </pc:picChg>
        <pc:picChg chg="add mod">
          <ac:chgData name="Zhizi Wen" userId="b804997a-63ad-4c7f-9308-31a917908f04" providerId="ADAL" clId="{B10B7B39-2ABD-4C62-8983-C68601FCF583}" dt="2023-03-11T21:35:02.020" v="2817" actId="14100"/>
          <ac:picMkLst>
            <pc:docMk/>
            <pc:sldMk cId="3062267723" sldId="442"/>
            <ac:picMk id="11" creationId="{9DA33FEF-3FDC-7AA4-57F4-3D5B47736813}"/>
          </ac:picMkLst>
        </pc:picChg>
      </pc:sldChg>
      <pc:sldChg chg="addSp modSp new del mod">
        <pc:chgData name="Zhizi Wen" userId="b804997a-63ad-4c7f-9308-31a917908f04" providerId="ADAL" clId="{B10B7B39-2ABD-4C62-8983-C68601FCF583}" dt="2023-03-11T22:12:17.087" v="3628" actId="47"/>
        <pc:sldMkLst>
          <pc:docMk/>
          <pc:sldMk cId="4065303604" sldId="443"/>
        </pc:sldMkLst>
        <pc:spChg chg="mod">
          <ac:chgData name="Zhizi Wen" userId="b804997a-63ad-4c7f-9308-31a917908f04" providerId="ADAL" clId="{B10B7B39-2ABD-4C62-8983-C68601FCF583}" dt="2023-03-11T21:37:07.659" v="2854" actId="20577"/>
          <ac:spMkLst>
            <pc:docMk/>
            <pc:sldMk cId="4065303604" sldId="443"/>
            <ac:spMk id="5" creationId="{5B72D42E-70A4-2226-22DB-4D97F71CCB98}"/>
          </ac:spMkLst>
        </pc:spChg>
        <pc:spChg chg="mod">
          <ac:chgData name="Zhizi Wen" userId="b804997a-63ad-4c7f-9308-31a917908f04" providerId="ADAL" clId="{B10B7B39-2ABD-4C62-8983-C68601FCF583}" dt="2023-03-11T21:24:07.852" v="2742"/>
          <ac:spMkLst>
            <pc:docMk/>
            <pc:sldMk cId="4065303604" sldId="443"/>
            <ac:spMk id="6" creationId="{39F289A6-45E3-4104-99AD-7645B6EE28B6}"/>
          </ac:spMkLst>
        </pc:spChg>
        <pc:spChg chg="mod">
          <ac:chgData name="Zhizi Wen" userId="b804997a-63ad-4c7f-9308-31a917908f04" providerId="ADAL" clId="{B10B7B39-2ABD-4C62-8983-C68601FCF583}" dt="2023-03-11T21:24:20.240" v="2777" actId="20577"/>
          <ac:spMkLst>
            <pc:docMk/>
            <pc:sldMk cId="4065303604" sldId="443"/>
            <ac:spMk id="8" creationId="{94498F1A-ECF6-B9B2-8A70-5F8F5C4EDDD4}"/>
          </ac:spMkLst>
        </pc:spChg>
        <pc:spChg chg="add mod">
          <ac:chgData name="Zhizi Wen" userId="b804997a-63ad-4c7f-9308-31a917908f04" providerId="ADAL" clId="{B10B7B39-2ABD-4C62-8983-C68601FCF583}" dt="2023-03-11T21:54:11.652" v="3303" actId="20577"/>
          <ac:spMkLst>
            <pc:docMk/>
            <pc:sldMk cId="4065303604" sldId="443"/>
            <ac:spMk id="10" creationId="{627337B5-9076-F5CA-16F2-C3644E56FC0B}"/>
          </ac:spMkLst>
        </pc:spChg>
        <pc:picChg chg="add mod">
          <ac:chgData name="Zhizi Wen" userId="b804997a-63ad-4c7f-9308-31a917908f04" providerId="ADAL" clId="{B10B7B39-2ABD-4C62-8983-C68601FCF583}" dt="2023-03-11T21:49:36.017" v="2858" actId="1076"/>
          <ac:picMkLst>
            <pc:docMk/>
            <pc:sldMk cId="4065303604" sldId="443"/>
            <ac:picMk id="9" creationId="{F2456760-3A6B-DA85-EFDC-480A4DF24536}"/>
          </ac:picMkLst>
        </pc:picChg>
      </pc:sldChg>
      <pc:sldChg chg="addSp delSp modSp new mod addCm delCm modCm modNotesTx">
        <pc:chgData name="Zhizi Wen" userId="b804997a-63ad-4c7f-9308-31a917908f04" providerId="ADAL" clId="{B10B7B39-2ABD-4C62-8983-C68601FCF583}" dt="2023-03-12T22:10:17.820" v="8561" actId="20577"/>
        <pc:sldMkLst>
          <pc:docMk/>
          <pc:sldMk cId="35330425" sldId="444"/>
        </pc:sldMkLst>
        <pc:spChg chg="del mod">
          <ac:chgData name="Zhizi Wen" userId="b804997a-63ad-4c7f-9308-31a917908f04" providerId="ADAL" clId="{B10B7B39-2ABD-4C62-8983-C68601FCF583}" dt="2023-03-11T21:56:40.908" v="3329" actId="478"/>
          <ac:spMkLst>
            <pc:docMk/>
            <pc:sldMk cId="35330425" sldId="444"/>
            <ac:spMk id="5" creationId="{9ADA1ACE-AFD7-0B89-8CB5-88A82E10D0B8}"/>
          </ac:spMkLst>
        </pc:spChg>
        <pc:spChg chg="mod">
          <ac:chgData name="Zhizi Wen" userId="b804997a-63ad-4c7f-9308-31a917908f04" providerId="ADAL" clId="{B10B7B39-2ABD-4C62-8983-C68601FCF583}" dt="2023-03-11T21:55:22.156" v="3308"/>
          <ac:spMkLst>
            <pc:docMk/>
            <pc:sldMk cId="35330425" sldId="444"/>
            <ac:spMk id="6" creationId="{9722AF11-089F-1B76-87CB-E74D5137827A}"/>
          </ac:spMkLst>
        </pc:spChg>
        <pc:spChg chg="add del">
          <ac:chgData name="Zhizi Wen" userId="b804997a-63ad-4c7f-9308-31a917908f04" providerId="ADAL" clId="{B10B7B39-2ABD-4C62-8983-C68601FCF583}" dt="2023-03-11T22:04:09.252" v="3445"/>
          <ac:spMkLst>
            <pc:docMk/>
            <pc:sldMk cId="35330425" sldId="444"/>
            <ac:spMk id="7" creationId="{FC1FD2F2-2229-95FB-0C8E-C60B1A52A5A4}"/>
          </ac:spMkLst>
        </pc:spChg>
        <pc:spChg chg="mod">
          <ac:chgData name="Zhizi Wen" userId="b804997a-63ad-4c7f-9308-31a917908f04" providerId="ADAL" clId="{B10B7B39-2ABD-4C62-8983-C68601FCF583}" dt="2023-03-11T21:58:49.525" v="3351" actId="1076"/>
          <ac:spMkLst>
            <pc:docMk/>
            <pc:sldMk cId="35330425" sldId="444"/>
            <ac:spMk id="8" creationId="{7F1D470B-4179-CD41-B7A3-741BABFCC2A0}"/>
          </ac:spMkLst>
        </pc:spChg>
        <pc:spChg chg="add del mod">
          <ac:chgData name="Zhizi Wen" userId="b804997a-63ad-4c7f-9308-31a917908f04" providerId="ADAL" clId="{B10B7B39-2ABD-4C62-8983-C68601FCF583}" dt="2023-03-11T21:57:58.672" v="3330" actId="478"/>
          <ac:spMkLst>
            <pc:docMk/>
            <pc:sldMk cId="35330425" sldId="444"/>
            <ac:spMk id="9" creationId="{E43E6434-C832-0E22-9B83-A4E98D1D57E4}"/>
          </ac:spMkLst>
        </pc:spChg>
        <pc:spChg chg="add del mod">
          <ac:chgData name="Zhizi Wen" userId="b804997a-63ad-4c7f-9308-31a917908f04" providerId="ADAL" clId="{B10B7B39-2ABD-4C62-8983-C68601FCF583}" dt="2023-03-11T21:58:00.092" v="3331" actId="478"/>
          <ac:spMkLst>
            <pc:docMk/>
            <pc:sldMk cId="35330425" sldId="444"/>
            <ac:spMk id="10" creationId="{E21EBFF2-35A8-FA6F-354D-66CE6416F599}"/>
          </ac:spMkLst>
        </pc:spChg>
        <pc:spChg chg="add del mod">
          <ac:chgData name="Zhizi Wen" userId="b804997a-63ad-4c7f-9308-31a917908f04" providerId="ADAL" clId="{B10B7B39-2ABD-4C62-8983-C68601FCF583}" dt="2023-03-11T21:59:26.238" v="3364"/>
          <ac:spMkLst>
            <pc:docMk/>
            <pc:sldMk cId="35330425" sldId="444"/>
            <ac:spMk id="13" creationId="{9BECE2D4-65E8-A260-954E-36A27D4BD8D9}"/>
          </ac:spMkLst>
        </pc:spChg>
        <pc:spChg chg="add mod">
          <ac:chgData name="Zhizi Wen" userId="b804997a-63ad-4c7f-9308-31a917908f04" providerId="ADAL" clId="{B10B7B39-2ABD-4C62-8983-C68601FCF583}" dt="2023-03-12T11:41:26.353" v="5153" actId="113"/>
          <ac:spMkLst>
            <pc:docMk/>
            <pc:sldMk cId="35330425" sldId="444"/>
            <ac:spMk id="15" creationId="{541AA52E-8F8A-1A51-6D79-088F7EA4F04E}"/>
          </ac:spMkLst>
        </pc:spChg>
        <pc:spChg chg="add mod">
          <ac:chgData name="Zhizi Wen" userId="b804997a-63ad-4c7f-9308-31a917908f04" providerId="ADAL" clId="{B10B7B39-2ABD-4C62-8983-C68601FCF583}" dt="2023-03-12T22:03:33.738" v="7912" actId="20577"/>
          <ac:spMkLst>
            <pc:docMk/>
            <pc:sldMk cId="35330425" sldId="444"/>
            <ac:spMk id="17" creationId="{A70E028D-BF8B-B9E8-35FB-894B8366E8BF}"/>
          </ac:spMkLst>
        </pc:spChg>
        <pc:spChg chg="add mod">
          <ac:chgData name="Zhizi Wen" userId="b804997a-63ad-4c7f-9308-31a917908f04" providerId="ADAL" clId="{B10B7B39-2ABD-4C62-8983-C68601FCF583}" dt="2023-03-11T22:00:52.064" v="3425" actId="403"/>
          <ac:spMkLst>
            <pc:docMk/>
            <pc:sldMk cId="35330425" sldId="444"/>
            <ac:spMk id="18" creationId="{C97EE3D2-4BA4-EC4F-AFDD-EC0059C31476}"/>
          </ac:spMkLst>
        </pc:spChg>
        <pc:spChg chg="add mod">
          <ac:chgData name="Zhizi Wen" userId="b804997a-63ad-4c7f-9308-31a917908f04" providerId="ADAL" clId="{B10B7B39-2ABD-4C62-8983-C68601FCF583}" dt="2023-03-11T22:10:30.684" v="3589" actId="1076"/>
          <ac:spMkLst>
            <pc:docMk/>
            <pc:sldMk cId="35330425" sldId="444"/>
            <ac:spMk id="21" creationId="{843DB1E4-F853-176E-5545-40B09076E9AE}"/>
          </ac:spMkLst>
        </pc:spChg>
        <pc:spChg chg="add mod">
          <ac:chgData name="Zhizi Wen" userId="b804997a-63ad-4c7f-9308-31a917908f04" providerId="ADAL" clId="{B10B7B39-2ABD-4C62-8983-C68601FCF583}" dt="2023-03-11T22:10:30.684" v="3589" actId="1076"/>
          <ac:spMkLst>
            <pc:docMk/>
            <pc:sldMk cId="35330425" sldId="444"/>
            <ac:spMk id="27" creationId="{06A1BB5F-E009-E074-3A1C-6BB31727F4A0}"/>
          </ac:spMkLst>
        </pc:spChg>
        <pc:spChg chg="add mod">
          <ac:chgData name="Zhizi Wen" userId="b804997a-63ad-4c7f-9308-31a917908f04" providerId="ADAL" clId="{B10B7B39-2ABD-4C62-8983-C68601FCF583}" dt="2023-03-11T22:10:30.684" v="3589" actId="1076"/>
          <ac:spMkLst>
            <pc:docMk/>
            <pc:sldMk cId="35330425" sldId="444"/>
            <ac:spMk id="28" creationId="{A3D74D26-80D9-C2D1-B5CA-21BD5DF0554D}"/>
          </ac:spMkLst>
        </pc:spChg>
        <pc:spChg chg="add mod">
          <ac:chgData name="Zhizi Wen" userId="b804997a-63ad-4c7f-9308-31a917908f04" providerId="ADAL" clId="{B10B7B39-2ABD-4C62-8983-C68601FCF583}" dt="2023-03-11T22:10:30.684" v="3589" actId="1076"/>
          <ac:spMkLst>
            <pc:docMk/>
            <pc:sldMk cId="35330425" sldId="444"/>
            <ac:spMk id="29" creationId="{2EF49D93-0B02-AEF5-A672-9FF033A7C0C0}"/>
          </ac:spMkLst>
        </pc:spChg>
        <pc:spChg chg="add mod">
          <ac:chgData name="Zhizi Wen" userId="b804997a-63ad-4c7f-9308-31a917908f04" providerId="ADAL" clId="{B10B7B39-2ABD-4C62-8983-C68601FCF583}" dt="2023-03-11T22:10:30.684" v="3589" actId="1076"/>
          <ac:spMkLst>
            <pc:docMk/>
            <pc:sldMk cId="35330425" sldId="444"/>
            <ac:spMk id="34" creationId="{2BC8E2E1-81E9-D098-E5C9-0835DB763A91}"/>
          </ac:spMkLst>
        </pc:spChg>
        <pc:spChg chg="add mod">
          <ac:chgData name="Zhizi Wen" userId="b804997a-63ad-4c7f-9308-31a917908f04" providerId="ADAL" clId="{B10B7B39-2ABD-4C62-8983-C68601FCF583}" dt="2023-03-11T22:10:30.684" v="3589" actId="1076"/>
          <ac:spMkLst>
            <pc:docMk/>
            <pc:sldMk cId="35330425" sldId="444"/>
            <ac:spMk id="35" creationId="{7F52A3D6-5182-FDE7-5694-B3E17F33B17B}"/>
          </ac:spMkLst>
        </pc:spChg>
        <pc:picChg chg="add mod">
          <ac:chgData name="Zhizi Wen" userId="b804997a-63ad-4c7f-9308-31a917908f04" providerId="ADAL" clId="{B10B7B39-2ABD-4C62-8983-C68601FCF583}" dt="2023-03-11T22:00:10.175" v="3402" actId="1076"/>
          <ac:picMkLst>
            <pc:docMk/>
            <pc:sldMk cId="35330425" sldId="444"/>
            <ac:picMk id="11" creationId="{739B6BED-6A76-B7CE-41F9-5B7C1809C051}"/>
          </ac:picMkLst>
        </pc:picChg>
        <pc:picChg chg="add mod">
          <ac:chgData name="Zhizi Wen" userId="b804997a-63ad-4c7f-9308-31a917908f04" providerId="ADAL" clId="{B10B7B39-2ABD-4C62-8983-C68601FCF583}" dt="2023-03-11T22:10:30.684" v="3589" actId="1076"/>
          <ac:picMkLst>
            <pc:docMk/>
            <pc:sldMk cId="35330425" sldId="444"/>
            <ac:picMk id="22" creationId="{01D396C2-5053-CEB6-3C9D-1D95618C0A29}"/>
          </ac:picMkLst>
        </pc:picChg>
        <pc:picChg chg="add del mod">
          <ac:chgData name="Zhizi Wen" userId="b804997a-63ad-4c7f-9308-31a917908f04" providerId="ADAL" clId="{B10B7B39-2ABD-4C62-8983-C68601FCF583}" dt="2023-03-11T22:04:09.252" v="3445"/>
          <ac:picMkLst>
            <pc:docMk/>
            <pc:sldMk cId="35330425" sldId="444"/>
            <ac:picMk id="24" creationId="{18A209C0-F95F-A164-8764-06333FB534E9}"/>
          </ac:picMkLst>
        </pc:picChg>
        <pc:picChg chg="add mod modCrop">
          <ac:chgData name="Zhizi Wen" userId="b804997a-63ad-4c7f-9308-31a917908f04" providerId="ADAL" clId="{B10B7B39-2ABD-4C62-8983-C68601FCF583}" dt="2023-03-11T22:10:30.684" v="3589" actId="1076"/>
          <ac:picMkLst>
            <pc:docMk/>
            <pc:sldMk cId="35330425" sldId="444"/>
            <ac:picMk id="25" creationId="{528FDF82-8D90-4106-BFF5-6727B30DD564}"/>
          </ac:picMkLst>
        </pc:picChg>
        <pc:picChg chg="add mod modCrop">
          <ac:chgData name="Zhizi Wen" userId="b804997a-63ad-4c7f-9308-31a917908f04" providerId="ADAL" clId="{B10B7B39-2ABD-4C62-8983-C68601FCF583}" dt="2023-03-11T22:10:30.684" v="3589" actId="1076"/>
          <ac:picMkLst>
            <pc:docMk/>
            <pc:sldMk cId="35330425" sldId="444"/>
            <ac:picMk id="26" creationId="{C16E84D6-AF3F-4A5A-046B-B45C1565D948}"/>
          </ac:picMkLst>
        </pc:picChg>
        <pc:picChg chg="add mod">
          <ac:chgData name="Zhizi Wen" userId="b804997a-63ad-4c7f-9308-31a917908f04" providerId="ADAL" clId="{B10B7B39-2ABD-4C62-8983-C68601FCF583}" dt="2023-03-11T22:10:30.684" v="3589" actId="1076"/>
          <ac:picMkLst>
            <pc:docMk/>
            <pc:sldMk cId="35330425" sldId="444"/>
            <ac:picMk id="2050" creationId="{179A3E78-D92C-5AE0-543D-7BD4F44953CB}"/>
          </ac:picMkLst>
        </pc:picChg>
        <pc:cxnChg chg="add mod">
          <ac:chgData name="Zhizi Wen" userId="b804997a-63ad-4c7f-9308-31a917908f04" providerId="ADAL" clId="{B10B7B39-2ABD-4C62-8983-C68601FCF583}" dt="2023-03-11T22:49:58.058" v="4455" actId="1076"/>
          <ac:cxnSpMkLst>
            <pc:docMk/>
            <pc:sldMk cId="35330425" sldId="444"/>
            <ac:cxnSpMk id="20" creationId="{0E50CA2F-D16A-CC40-5745-DD594987D289}"/>
          </ac:cxnSpMkLst>
        </pc:cxnChg>
        <pc:cxnChg chg="add mod">
          <ac:chgData name="Zhizi Wen" userId="b804997a-63ad-4c7f-9308-31a917908f04" providerId="ADAL" clId="{B10B7B39-2ABD-4C62-8983-C68601FCF583}" dt="2023-03-11T22:10:30.684" v="3589" actId="1076"/>
          <ac:cxnSpMkLst>
            <pc:docMk/>
            <pc:sldMk cId="35330425" sldId="444"/>
            <ac:cxnSpMk id="31" creationId="{E19870DF-9EFC-65FB-C8EA-1C808B647CAC}"/>
          </ac:cxnSpMkLst>
        </pc:cxnChg>
        <pc:cxnChg chg="add mod">
          <ac:chgData name="Zhizi Wen" userId="b804997a-63ad-4c7f-9308-31a917908f04" providerId="ADAL" clId="{B10B7B39-2ABD-4C62-8983-C68601FCF583}" dt="2023-03-11T22:10:30.684" v="3589" actId="1076"/>
          <ac:cxnSpMkLst>
            <pc:docMk/>
            <pc:sldMk cId="35330425" sldId="444"/>
            <ac:cxnSpMk id="33" creationId="{3586B2E8-CC0A-914E-6E12-1539A3674BB9}"/>
          </ac:cxnSpMkLst>
        </pc:cxnChg>
        <pc:cxnChg chg="add mod">
          <ac:chgData name="Zhizi Wen" userId="b804997a-63ad-4c7f-9308-31a917908f04" providerId="ADAL" clId="{B10B7B39-2ABD-4C62-8983-C68601FCF583}" dt="2023-03-11T22:10:30.684" v="3589" actId="1076"/>
          <ac:cxnSpMkLst>
            <pc:docMk/>
            <pc:sldMk cId="35330425" sldId="444"/>
            <ac:cxnSpMk id="37" creationId="{52C87278-17F5-32C5-9001-06679EF11B57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Zhizi Wen" userId="b804997a-63ad-4c7f-9308-31a917908f04" providerId="ADAL" clId="{B10B7B39-2ABD-4C62-8983-C68601FCF583}" dt="2023-03-12T22:03:13.547" v="7880"/>
              <pc2:cmMkLst xmlns:pc2="http://schemas.microsoft.com/office/powerpoint/2019/9/main/command">
                <pc:docMk/>
                <pc:sldMk cId="35330425" sldId="444"/>
                <pc2:cmMk id="{FA82A791-199E-4ECB-ADB1-841C4C77D3F0}"/>
              </pc2:cmMkLst>
            </pc226:cmChg>
          </p:ext>
        </pc:extLst>
      </pc:sldChg>
      <pc:sldChg chg="addSp delSp modSp new mod modAnim modNotesTx">
        <pc:chgData name="Zhizi Wen" userId="b804997a-63ad-4c7f-9308-31a917908f04" providerId="ADAL" clId="{B10B7B39-2ABD-4C62-8983-C68601FCF583}" dt="2023-03-12T22:14:46.873" v="8962" actId="20577"/>
        <pc:sldMkLst>
          <pc:docMk/>
          <pc:sldMk cId="1565275033" sldId="445"/>
        </pc:sldMkLst>
        <pc:spChg chg="mod">
          <ac:chgData name="Zhizi Wen" userId="b804997a-63ad-4c7f-9308-31a917908f04" providerId="ADAL" clId="{B10B7B39-2ABD-4C62-8983-C68601FCF583}" dt="2023-03-11T23:34:28.267" v="5058" actId="403"/>
          <ac:spMkLst>
            <pc:docMk/>
            <pc:sldMk cId="1565275033" sldId="445"/>
            <ac:spMk id="5" creationId="{E8D19910-7CD4-4FD1-8C9A-46E8CBE1D079}"/>
          </ac:spMkLst>
        </pc:spChg>
        <pc:spChg chg="mod">
          <ac:chgData name="Zhizi Wen" userId="b804997a-63ad-4c7f-9308-31a917908f04" providerId="ADAL" clId="{B10B7B39-2ABD-4C62-8983-C68601FCF583}" dt="2023-03-11T22:12:29.480" v="3630"/>
          <ac:spMkLst>
            <pc:docMk/>
            <pc:sldMk cId="1565275033" sldId="445"/>
            <ac:spMk id="6" creationId="{7499249C-A25C-3F4E-1193-38220FF63072}"/>
          </ac:spMkLst>
        </pc:spChg>
        <pc:spChg chg="del">
          <ac:chgData name="Zhizi Wen" userId="b804997a-63ad-4c7f-9308-31a917908f04" providerId="ADAL" clId="{B10B7B39-2ABD-4C62-8983-C68601FCF583}" dt="2023-03-11T22:14:18.057" v="3651" actId="931"/>
          <ac:spMkLst>
            <pc:docMk/>
            <pc:sldMk cId="1565275033" sldId="445"/>
            <ac:spMk id="7" creationId="{3397B086-E4CD-0F0F-90CE-3BCE37FB313B}"/>
          </ac:spMkLst>
        </pc:spChg>
        <pc:spChg chg="mod">
          <ac:chgData name="Zhizi Wen" userId="b804997a-63ad-4c7f-9308-31a917908f04" providerId="ADAL" clId="{B10B7B39-2ABD-4C62-8983-C68601FCF583}" dt="2023-03-11T22:12:36.382" v="3650" actId="20577"/>
          <ac:spMkLst>
            <pc:docMk/>
            <pc:sldMk cId="1565275033" sldId="445"/>
            <ac:spMk id="8" creationId="{35A62A79-AFF4-6F51-EC61-2C85E0EAD279}"/>
          </ac:spMkLst>
        </pc:spChg>
        <pc:spChg chg="add del mod">
          <ac:chgData name="Zhizi Wen" userId="b804997a-63ad-4c7f-9308-31a917908f04" providerId="ADAL" clId="{B10B7B39-2ABD-4C62-8983-C68601FCF583}" dt="2023-03-11T22:14:47.522" v="3660" actId="931"/>
          <ac:spMkLst>
            <pc:docMk/>
            <pc:sldMk cId="1565275033" sldId="445"/>
            <ac:spMk id="15" creationId="{9D799310-E279-BFEE-B79B-ECEE33C5C911}"/>
          </ac:spMkLst>
        </pc:spChg>
        <pc:spChg chg="add del mod">
          <ac:chgData name="Zhizi Wen" userId="b804997a-63ad-4c7f-9308-31a917908f04" providerId="ADAL" clId="{B10B7B39-2ABD-4C62-8983-C68601FCF583}" dt="2023-03-11T22:15:36.679" v="3665" actId="931"/>
          <ac:spMkLst>
            <pc:docMk/>
            <pc:sldMk cId="1565275033" sldId="445"/>
            <ac:spMk id="19" creationId="{CC80D8C5-2E84-8FFA-A3B0-C4A9CEC4607D}"/>
          </ac:spMkLst>
        </pc:spChg>
        <pc:spChg chg="add mod">
          <ac:chgData name="Zhizi Wen" userId="b804997a-63ad-4c7f-9308-31a917908f04" providerId="ADAL" clId="{B10B7B39-2ABD-4C62-8983-C68601FCF583}" dt="2023-03-11T22:15:39.765" v="3667" actId="478"/>
          <ac:spMkLst>
            <pc:docMk/>
            <pc:sldMk cId="1565275033" sldId="445"/>
            <ac:spMk id="29" creationId="{D7B624C5-2612-038D-5989-A58444AB9853}"/>
          </ac:spMkLst>
        </pc:spChg>
        <pc:spChg chg="add mod">
          <ac:chgData name="Zhizi Wen" userId="b804997a-63ad-4c7f-9308-31a917908f04" providerId="ADAL" clId="{B10B7B39-2ABD-4C62-8983-C68601FCF583}" dt="2023-03-11T22:19:26.808" v="3797" actId="1076"/>
          <ac:spMkLst>
            <pc:docMk/>
            <pc:sldMk cId="1565275033" sldId="445"/>
            <ac:spMk id="34" creationId="{8A19CDC0-D95E-ECAF-D15B-D574CB2BE916}"/>
          </ac:spMkLst>
        </pc:spChg>
        <pc:spChg chg="add mod">
          <ac:chgData name="Zhizi Wen" userId="b804997a-63ad-4c7f-9308-31a917908f04" providerId="ADAL" clId="{B10B7B39-2ABD-4C62-8983-C68601FCF583}" dt="2023-03-11T22:25:46.514" v="4045" actId="1076"/>
          <ac:spMkLst>
            <pc:docMk/>
            <pc:sldMk cId="1565275033" sldId="445"/>
            <ac:spMk id="35" creationId="{4EBF1313-F9C4-59C7-BF98-EA793C1BA791}"/>
          </ac:spMkLst>
        </pc:spChg>
        <pc:spChg chg="add mod">
          <ac:chgData name="Zhizi Wen" userId="b804997a-63ad-4c7f-9308-31a917908f04" providerId="ADAL" clId="{B10B7B39-2ABD-4C62-8983-C68601FCF583}" dt="2023-03-11T22:26:08.124" v="4046" actId="1076"/>
          <ac:spMkLst>
            <pc:docMk/>
            <pc:sldMk cId="1565275033" sldId="445"/>
            <ac:spMk id="36" creationId="{51A7F9F2-B83D-1422-F7B4-8301D6F0A0F6}"/>
          </ac:spMkLst>
        </pc:spChg>
        <pc:spChg chg="add mod">
          <ac:chgData name="Zhizi Wen" userId="b804997a-63ad-4c7f-9308-31a917908f04" providerId="ADAL" clId="{B10B7B39-2ABD-4C62-8983-C68601FCF583}" dt="2023-03-11T22:21:10.100" v="3868" actId="1076"/>
          <ac:spMkLst>
            <pc:docMk/>
            <pc:sldMk cId="1565275033" sldId="445"/>
            <ac:spMk id="37" creationId="{F1FD8F4A-0E43-3E93-A69A-CE05223DFD27}"/>
          </ac:spMkLst>
        </pc:spChg>
        <pc:spChg chg="add mod">
          <ac:chgData name="Zhizi Wen" userId="b804997a-63ad-4c7f-9308-31a917908f04" providerId="ADAL" clId="{B10B7B39-2ABD-4C62-8983-C68601FCF583}" dt="2023-03-11T22:21:12.545" v="3869" actId="14100"/>
          <ac:spMkLst>
            <pc:docMk/>
            <pc:sldMk cId="1565275033" sldId="445"/>
            <ac:spMk id="38" creationId="{F90463EB-1FED-EDAD-8C9E-1D5D7AF69C39}"/>
          </ac:spMkLst>
        </pc:spChg>
        <pc:spChg chg="add mod">
          <ac:chgData name="Zhizi Wen" userId="b804997a-63ad-4c7f-9308-31a917908f04" providerId="ADAL" clId="{B10B7B39-2ABD-4C62-8983-C68601FCF583}" dt="2023-03-11T22:25:46.514" v="4045" actId="1076"/>
          <ac:spMkLst>
            <pc:docMk/>
            <pc:sldMk cId="1565275033" sldId="445"/>
            <ac:spMk id="42" creationId="{98AB9494-2535-FD82-D129-6F817D8CF292}"/>
          </ac:spMkLst>
        </pc:spChg>
        <pc:spChg chg="add mod">
          <ac:chgData name="Zhizi Wen" userId="b804997a-63ad-4c7f-9308-31a917908f04" providerId="ADAL" clId="{B10B7B39-2ABD-4C62-8983-C68601FCF583}" dt="2023-03-11T22:25:46.514" v="4045" actId="1076"/>
          <ac:spMkLst>
            <pc:docMk/>
            <pc:sldMk cId="1565275033" sldId="445"/>
            <ac:spMk id="43" creationId="{0D0E973C-FD1C-5A5F-3952-E42A80A12BC5}"/>
          </ac:spMkLst>
        </pc:spChg>
        <pc:spChg chg="add mod">
          <ac:chgData name="Zhizi Wen" userId="b804997a-63ad-4c7f-9308-31a917908f04" providerId="ADAL" clId="{B10B7B39-2ABD-4C62-8983-C68601FCF583}" dt="2023-03-11T22:26:08.124" v="4046" actId="1076"/>
          <ac:spMkLst>
            <pc:docMk/>
            <pc:sldMk cId="1565275033" sldId="445"/>
            <ac:spMk id="44" creationId="{841D002A-E0A8-0558-54A7-7FFDE62379D8}"/>
          </ac:spMkLst>
        </pc:spChg>
        <pc:spChg chg="add mod">
          <ac:chgData name="Zhizi Wen" userId="b804997a-63ad-4c7f-9308-31a917908f04" providerId="ADAL" clId="{B10B7B39-2ABD-4C62-8983-C68601FCF583}" dt="2023-03-11T22:26:08.124" v="4046" actId="1076"/>
          <ac:spMkLst>
            <pc:docMk/>
            <pc:sldMk cId="1565275033" sldId="445"/>
            <ac:spMk id="45" creationId="{EED3B0F3-178E-B2DD-CB8C-2DF1813BF033}"/>
          </ac:spMkLst>
        </pc:spChg>
        <pc:spChg chg="add del">
          <ac:chgData name="Zhizi Wen" userId="b804997a-63ad-4c7f-9308-31a917908f04" providerId="ADAL" clId="{B10B7B39-2ABD-4C62-8983-C68601FCF583}" dt="2023-03-11T22:22:11.332" v="3883" actId="478"/>
          <ac:spMkLst>
            <pc:docMk/>
            <pc:sldMk cId="1565275033" sldId="445"/>
            <ac:spMk id="46" creationId="{16ACDD1F-E599-922F-8775-2CC229752627}"/>
          </ac:spMkLst>
        </pc:spChg>
        <pc:spChg chg="add mod">
          <ac:chgData name="Zhizi Wen" userId="b804997a-63ad-4c7f-9308-31a917908f04" providerId="ADAL" clId="{B10B7B39-2ABD-4C62-8983-C68601FCF583}" dt="2023-03-11T22:23:28.563" v="3910" actId="1076"/>
          <ac:spMkLst>
            <pc:docMk/>
            <pc:sldMk cId="1565275033" sldId="445"/>
            <ac:spMk id="47" creationId="{D5277FE9-99EC-772C-B8A3-BBD0A3E1E423}"/>
          </ac:spMkLst>
        </pc:spChg>
        <pc:spChg chg="add mod">
          <ac:chgData name="Zhizi Wen" userId="b804997a-63ad-4c7f-9308-31a917908f04" providerId="ADAL" clId="{B10B7B39-2ABD-4C62-8983-C68601FCF583}" dt="2023-03-11T22:25:46.514" v="4045" actId="1076"/>
          <ac:spMkLst>
            <pc:docMk/>
            <pc:sldMk cId="1565275033" sldId="445"/>
            <ac:spMk id="48" creationId="{E2B45DD3-1722-E335-2B55-F9C4A9B7F05A}"/>
          </ac:spMkLst>
        </pc:spChg>
        <pc:spChg chg="add mod">
          <ac:chgData name="Zhizi Wen" userId="b804997a-63ad-4c7f-9308-31a917908f04" providerId="ADAL" clId="{B10B7B39-2ABD-4C62-8983-C68601FCF583}" dt="2023-03-11T23:34:28.267" v="5058" actId="403"/>
          <ac:spMkLst>
            <pc:docMk/>
            <pc:sldMk cId="1565275033" sldId="445"/>
            <ac:spMk id="50" creationId="{7AE2DE62-A5E9-C4E5-56EF-4D9FCE14EFC0}"/>
          </ac:spMkLst>
        </pc:spChg>
        <pc:picChg chg="add del mod">
          <ac:chgData name="Zhizi Wen" userId="b804997a-63ad-4c7f-9308-31a917908f04" providerId="ADAL" clId="{B10B7B39-2ABD-4C62-8983-C68601FCF583}" dt="2023-03-11T22:14:39.230" v="3659" actId="478"/>
          <ac:picMkLst>
            <pc:docMk/>
            <pc:sldMk cId="1565275033" sldId="445"/>
            <ac:picMk id="10" creationId="{EF897FBA-4900-1B4C-134B-B6FD06CB9097}"/>
          </ac:picMkLst>
        </pc:picChg>
        <pc:picChg chg="add mod">
          <ac:chgData name="Zhizi Wen" userId="b804997a-63ad-4c7f-9308-31a917908f04" providerId="ADAL" clId="{B10B7B39-2ABD-4C62-8983-C68601FCF583}" dt="2023-03-11T22:16:43.659" v="3720" actId="1076"/>
          <ac:picMkLst>
            <pc:docMk/>
            <pc:sldMk cId="1565275033" sldId="445"/>
            <ac:picMk id="12" creationId="{38AA30FB-33FE-120B-D595-BF2B0ED2F5A9}"/>
          </ac:picMkLst>
        </pc:picChg>
        <pc:picChg chg="add del mod">
          <ac:chgData name="Zhizi Wen" userId="b804997a-63ad-4c7f-9308-31a917908f04" providerId="ADAL" clId="{B10B7B39-2ABD-4C62-8983-C68601FCF583}" dt="2023-03-11T22:14:38.642" v="3658" actId="478"/>
          <ac:picMkLst>
            <pc:docMk/>
            <pc:sldMk cId="1565275033" sldId="445"/>
            <ac:picMk id="13" creationId="{80181471-BA73-1E25-E9CF-B1C89A2E87B3}"/>
          </ac:picMkLst>
        </pc:picChg>
        <pc:picChg chg="add del mod">
          <ac:chgData name="Zhizi Wen" userId="b804997a-63ad-4c7f-9308-31a917908f04" providerId="ADAL" clId="{B10B7B39-2ABD-4C62-8983-C68601FCF583}" dt="2023-03-11T22:14:50.853" v="3661" actId="478"/>
          <ac:picMkLst>
            <pc:docMk/>
            <pc:sldMk cId="1565275033" sldId="445"/>
            <ac:picMk id="17" creationId="{9CF1DEB8-590A-C4FA-6649-32522D5908CF}"/>
          </ac:picMkLst>
        </pc:picChg>
        <pc:picChg chg="add del mod">
          <ac:chgData name="Zhizi Wen" userId="b804997a-63ad-4c7f-9308-31a917908f04" providerId="ADAL" clId="{B10B7B39-2ABD-4C62-8983-C68601FCF583}" dt="2023-03-11T22:15:25.364" v="3664" actId="931"/>
          <ac:picMkLst>
            <pc:docMk/>
            <pc:sldMk cId="1565275033" sldId="445"/>
            <ac:picMk id="21" creationId="{ED52BC4A-CC89-358F-2620-78C5C121D408}"/>
          </ac:picMkLst>
        </pc:picChg>
        <pc:picChg chg="add del mod">
          <ac:chgData name="Zhizi Wen" userId="b804997a-63ad-4c7f-9308-31a917908f04" providerId="ADAL" clId="{B10B7B39-2ABD-4C62-8983-C68601FCF583}" dt="2023-03-11T22:15:25.364" v="3664" actId="931"/>
          <ac:picMkLst>
            <pc:docMk/>
            <pc:sldMk cId="1565275033" sldId="445"/>
            <ac:picMk id="23" creationId="{E2175C6D-E5FE-80EF-8C7A-6CAF925FBCEB}"/>
          </ac:picMkLst>
        </pc:picChg>
        <pc:picChg chg="add del mod">
          <ac:chgData name="Zhizi Wen" userId="b804997a-63ad-4c7f-9308-31a917908f04" providerId="ADAL" clId="{B10B7B39-2ABD-4C62-8983-C68601FCF583}" dt="2023-03-11T22:15:39.765" v="3667" actId="478"/>
          <ac:picMkLst>
            <pc:docMk/>
            <pc:sldMk cId="1565275033" sldId="445"/>
            <ac:picMk id="25" creationId="{BFD0262A-4AAB-F088-AA56-B3648D8F0596}"/>
          </ac:picMkLst>
        </pc:picChg>
        <pc:picChg chg="add mod">
          <ac:chgData name="Zhizi Wen" userId="b804997a-63ad-4c7f-9308-31a917908f04" providerId="ADAL" clId="{B10B7B39-2ABD-4C62-8983-C68601FCF583}" dt="2023-03-11T22:16:45.093" v="3721" actId="1076"/>
          <ac:picMkLst>
            <pc:docMk/>
            <pc:sldMk cId="1565275033" sldId="445"/>
            <ac:picMk id="27" creationId="{1223969F-B910-1723-5023-D6CE1C5CEA6E}"/>
          </ac:picMkLst>
        </pc:picChg>
        <pc:picChg chg="add mod">
          <ac:chgData name="Zhizi Wen" userId="b804997a-63ad-4c7f-9308-31a917908f04" providerId="ADAL" clId="{B10B7B39-2ABD-4C62-8983-C68601FCF583}" dt="2023-03-11T22:25:46.514" v="4045" actId="1076"/>
          <ac:picMkLst>
            <pc:docMk/>
            <pc:sldMk cId="1565275033" sldId="445"/>
            <ac:picMk id="30" creationId="{ED897868-8C40-F034-2AC2-34570BD1C9FD}"/>
          </ac:picMkLst>
        </pc:picChg>
        <pc:picChg chg="add mod">
          <ac:chgData name="Zhizi Wen" userId="b804997a-63ad-4c7f-9308-31a917908f04" providerId="ADAL" clId="{B10B7B39-2ABD-4C62-8983-C68601FCF583}" dt="2023-03-11T22:25:46.514" v="4045" actId="1076"/>
          <ac:picMkLst>
            <pc:docMk/>
            <pc:sldMk cId="1565275033" sldId="445"/>
            <ac:picMk id="31" creationId="{4BE4719A-51C2-F218-E958-DB618A6CDFBE}"/>
          </ac:picMkLst>
        </pc:picChg>
        <pc:picChg chg="add mod">
          <ac:chgData name="Zhizi Wen" userId="b804997a-63ad-4c7f-9308-31a917908f04" providerId="ADAL" clId="{B10B7B39-2ABD-4C62-8983-C68601FCF583}" dt="2023-03-11T22:26:08.124" v="4046" actId="1076"/>
          <ac:picMkLst>
            <pc:docMk/>
            <pc:sldMk cId="1565275033" sldId="445"/>
            <ac:picMk id="32" creationId="{A873258F-7D59-F7DD-3624-FBDCB3C06EE2}"/>
          </ac:picMkLst>
        </pc:picChg>
        <pc:picChg chg="add mod">
          <ac:chgData name="Zhizi Wen" userId="b804997a-63ad-4c7f-9308-31a917908f04" providerId="ADAL" clId="{B10B7B39-2ABD-4C62-8983-C68601FCF583}" dt="2023-03-11T22:26:08.124" v="4046" actId="1076"/>
          <ac:picMkLst>
            <pc:docMk/>
            <pc:sldMk cId="1565275033" sldId="445"/>
            <ac:picMk id="33" creationId="{21F13660-3335-62B6-2405-D409C51C112E}"/>
          </ac:picMkLst>
        </pc:picChg>
        <pc:picChg chg="add mod">
          <ac:chgData name="Zhizi Wen" userId="b804997a-63ad-4c7f-9308-31a917908f04" providerId="ADAL" clId="{B10B7B39-2ABD-4C62-8983-C68601FCF583}" dt="2023-03-11T22:21:30.555" v="3874" actId="14100"/>
          <ac:picMkLst>
            <pc:docMk/>
            <pc:sldMk cId="1565275033" sldId="445"/>
            <ac:picMk id="39" creationId="{2E8F7ADB-70D0-D221-F8AF-E7CA315C9659}"/>
          </ac:picMkLst>
        </pc:picChg>
        <pc:picChg chg="add del mod">
          <ac:chgData name="Zhizi Wen" userId="b804997a-63ad-4c7f-9308-31a917908f04" providerId="ADAL" clId="{B10B7B39-2ABD-4C62-8983-C68601FCF583}" dt="2023-03-11T22:23:16.037" v="3906" actId="478"/>
          <ac:picMkLst>
            <pc:docMk/>
            <pc:sldMk cId="1565275033" sldId="445"/>
            <ac:picMk id="40" creationId="{BD156A47-90ED-75AD-8F85-58FDBE7B12A0}"/>
          </ac:picMkLst>
        </pc:picChg>
        <pc:picChg chg="add mod">
          <ac:chgData name="Zhizi Wen" userId="b804997a-63ad-4c7f-9308-31a917908f04" providerId="ADAL" clId="{B10B7B39-2ABD-4C62-8983-C68601FCF583}" dt="2023-03-11T22:25:46.514" v="4045" actId="1076"/>
          <ac:picMkLst>
            <pc:docMk/>
            <pc:sldMk cId="1565275033" sldId="445"/>
            <ac:picMk id="41" creationId="{BCDA6029-3444-9BA6-E247-7466126C49AA}"/>
          </ac:picMkLst>
        </pc:picChg>
        <pc:picChg chg="add del mod">
          <ac:chgData name="Zhizi Wen" userId="b804997a-63ad-4c7f-9308-31a917908f04" providerId="ADAL" clId="{B10B7B39-2ABD-4C62-8983-C68601FCF583}" dt="2023-03-11T22:23:19.077" v="3907" actId="478"/>
          <ac:picMkLst>
            <pc:docMk/>
            <pc:sldMk cId="1565275033" sldId="445"/>
            <ac:picMk id="49" creationId="{2C9D31C1-3477-34D0-C982-6DFFD3744AAA}"/>
          </ac:picMkLst>
        </pc:picChg>
      </pc:sldChg>
      <pc:sldChg chg="addSp delSp modSp new mod addCm modNotesTx">
        <pc:chgData name="Zhizi Wen" userId="b804997a-63ad-4c7f-9308-31a917908f04" providerId="ADAL" clId="{B10B7B39-2ABD-4C62-8983-C68601FCF583}" dt="2023-03-12T22:18:48.964" v="9400" actId="20577"/>
        <pc:sldMkLst>
          <pc:docMk/>
          <pc:sldMk cId="3420241547" sldId="446"/>
        </pc:sldMkLst>
        <pc:spChg chg="add del mod">
          <ac:chgData name="Zhizi Wen" userId="b804997a-63ad-4c7f-9308-31a917908f04" providerId="ADAL" clId="{B10B7B39-2ABD-4C62-8983-C68601FCF583}" dt="2023-03-11T22:38:39.918" v="4245" actId="478"/>
          <ac:spMkLst>
            <pc:docMk/>
            <pc:sldMk cId="3420241547" sldId="446"/>
            <ac:spMk id="5" creationId="{5D0CC8BF-5AE3-8764-9DC6-85B7324FEF8B}"/>
          </ac:spMkLst>
        </pc:spChg>
        <pc:spChg chg="mod">
          <ac:chgData name="Zhizi Wen" userId="b804997a-63ad-4c7f-9308-31a917908f04" providerId="ADAL" clId="{B10B7B39-2ABD-4C62-8983-C68601FCF583}" dt="2023-03-11T22:26:39.248" v="4048"/>
          <ac:spMkLst>
            <pc:docMk/>
            <pc:sldMk cId="3420241547" sldId="446"/>
            <ac:spMk id="6" creationId="{2706F4AE-01B9-DF5E-87DC-4AC21641F93F}"/>
          </ac:spMkLst>
        </pc:spChg>
        <pc:spChg chg="mod">
          <ac:chgData name="Zhizi Wen" userId="b804997a-63ad-4c7f-9308-31a917908f04" providerId="ADAL" clId="{B10B7B39-2ABD-4C62-8983-C68601FCF583}" dt="2023-03-11T22:31:47.751" v="4109" actId="20577"/>
          <ac:spMkLst>
            <pc:docMk/>
            <pc:sldMk cId="3420241547" sldId="446"/>
            <ac:spMk id="8" creationId="{6DDA62FC-F4CB-CCDE-85B0-48276F7D2A8C}"/>
          </ac:spMkLst>
        </pc:spChg>
        <pc:spChg chg="mod">
          <ac:chgData name="Zhizi Wen" userId="b804997a-63ad-4c7f-9308-31a917908f04" providerId="ADAL" clId="{B10B7B39-2ABD-4C62-8983-C68601FCF583}" dt="2023-03-11T22:49:29.177" v="4453" actId="207"/>
          <ac:spMkLst>
            <pc:docMk/>
            <pc:sldMk cId="3420241547" sldId="446"/>
            <ac:spMk id="10" creationId="{39470D48-EA68-D314-584B-54967BABA689}"/>
          </ac:spMkLst>
        </pc:spChg>
        <pc:spChg chg="mod">
          <ac:chgData name="Zhizi Wen" userId="b804997a-63ad-4c7f-9308-31a917908f04" providerId="ADAL" clId="{B10B7B39-2ABD-4C62-8983-C68601FCF583}" dt="2023-03-11T22:49:29.177" v="4453" actId="207"/>
          <ac:spMkLst>
            <pc:docMk/>
            <pc:sldMk cId="3420241547" sldId="446"/>
            <ac:spMk id="11" creationId="{AFEDB69A-A586-DE26-5A39-F565FC2DDDBD}"/>
          </ac:spMkLst>
        </pc:spChg>
        <pc:spChg chg="add del mod">
          <ac:chgData name="Zhizi Wen" userId="b804997a-63ad-4c7f-9308-31a917908f04" providerId="ADAL" clId="{B10B7B39-2ABD-4C62-8983-C68601FCF583}" dt="2023-03-11T22:49:29.177" v="4453" actId="207"/>
          <ac:spMkLst>
            <pc:docMk/>
            <pc:sldMk cId="3420241547" sldId="446"/>
            <ac:spMk id="12" creationId="{55D82EE5-C6B2-D3EA-D21E-B7BDD22CFBC5}"/>
          </ac:spMkLst>
        </pc:spChg>
        <pc:spChg chg="add del mod">
          <ac:chgData name="Zhizi Wen" userId="b804997a-63ad-4c7f-9308-31a917908f04" providerId="ADAL" clId="{B10B7B39-2ABD-4C62-8983-C68601FCF583}" dt="2023-03-11T22:38:37.429" v="4244" actId="478"/>
          <ac:spMkLst>
            <pc:docMk/>
            <pc:sldMk cId="3420241547" sldId="446"/>
            <ac:spMk id="13" creationId="{7A7F5DA2-68EE-B6ED-3E07-F4CC9CFB20AB}"/>
          </ac:spMkLst>
        </pc:spChg>
        <pc:spChg chg="add mod">
          <ac:chgData name="Zhizi Wen" userId="b804997a-63ad-4c7f-9308-31a917908f04" providerId="ADAL" clId="{B10B7B39-2ABD-4C62-8983-C68601FCF583}" dt="2023-03-11T22:47:01.718" v="4404" actId="1076"/>
          <ac:spMkLst>
            <pc:docMk/>
            <pc:sldMk cId="3420241547" sldId="446"/>
            <ac:spMk id="14" creationId="{3CDA16E5-9B14-5100-8F1F-9B595BB0D97D}"/>
          </ac:spMkLst>
        </pc:spChg>
        <pc:spChg chg="add mod">
          <ac:chgData name="Zhizi Wen" userId="b804997a-63ad-4c7f-9308-31a917908f04" providerId="ADAL" clId="{B10B7B39-2ABD-4C62-8983-C68601FCF583}" dt="2023-03-12T19:00:12.690" v="6902" actId="1076"/>
          <ac:spMkLst>
            <pc:docMk/>
            <pc:sldMk cId="3420241547" sldId="446"/>
            <ac:spMk id="15" creationId="{CF0CFBF5-EB37-CFC1-A862-5184F166EEDF}"/>
          </ac:spMkLst>
        </pc:spChg>
        <pc:spChg chg="add mod">
          <ac:chgData name="Zhizi Wen" userId="b804997a-63ad-4c7f-9308-31a917908f04" providerId="ADAL" clId="{B10B7B39-2ABD-4C62-8983-C68601FCF583}" dt="2023-03-12T18:08:14.864" v="5339" actId="20577"/>
          <ac:spMkLst>
            <pc:docMk/>
            <pc:sldMk cId="3420241547" sldId="446"/>
            <ac:spMk id="17" creationId="{018A37E1-842D-9ED0-AE23-E78144B0C5C2}"/>
          </ac:spMkLst>
        </pc:spChg>
        <pc:spChg chg="add mod">
          <ac:chgData name="Zhizi Wen" userId="b804997a-63ad-4c7f-9308-31a917908f04" providerId="ADAL" clId="{B10B7B39-2ABD-4C62-8983-C68601FCF583}" dt="2023-03-11T22:47:35.267" v="4410" actId="14100"/>
          <ac:spMkLst>
            <pc:docMk/>
            <pc:sldMk cId="3420241547" sldId="446"/>
            <ac:spMk id="19" creationId="{A94862ED-0B16-F8DF-E1D8-BEBC04550A30}"/>
          </ac:spMkLst>
        </pc:spChg>
        <pc:spChg chg="add mod">
          <ac:chgData name="Zhizi Wen" userId="b804997a-63ad-4c7f-9308-31a917908f04" providerId="ADAL" clId="{B10B7B39-2ABD-4C62-8983-C68601FCF583}" dt="2023-03-11T22:47:24.052" v="4409" actId="14100"/>
          <ac:spMkLst>
            <pc:docMk/>
            <pc:sldMk cId="3420241547" sldId="446"/>
            <ac:spMk id="21" creationId="{910E40C9-FCDE-8335-4020-7B56564DA527}"/>
          </ac:spMkLst>
        </pc:spChg>
        <pc:spChg chg="add mod">
          <ac:chgData name="Zhizi Wen" userId="b804997a-63ad-4c7f-9308-31a917908f04" providerId="ADAL" clId="{B10B7B39-2ABD-4C62-8983-C68601FCF583}" dt="2023-03-11T22:47:01.718" v="4404" actId="1076"/>
          <ac:spMkLst>
            <pc:docMk/>
            <pc:sldMk cId="3420241547" sldId="446"/>
            <ac:spMk id="22" creationId="{6B9923DD-FFE1-35F1-836D-51717CFCA14F}"/>
          </ac:spMkLst>
        </pc:spChg>
        <pc:spChg chg="add mod">
          <ac:chgData name="Zhizi Wen" userId="b804997a-63ad-4c7f-9308-31a917908f04" providerId="ADAL" clId="{B10B7B39-2ABD-4C62-8983-C68601FCF583}" dt="2023-03-11T22:47:10.810" v="4406" actId="1076"/>
          <ac:spMkLst>
            <pc:docMk/>
            <pc:sldMk cId="3420241547" sldId="446"/>
            <ac:spMk id="24" creationId="{1A8C5F34-1AA1-8BE9-1DCC-A982DC444D0C}"/>
          </ac:spMkLst>
        </pc:spChg>
        <pc:spChg chg="add mod">
          <ac:chgData name="Zhizi Wen" userId="b804997a-63ad-4c7f-9308-31a917908f04" providerId="ADAL" clId="{B10B7B39-2ABD-4C62-8983-C68601FCF583}" dt="2023-03-11T22:47:01.718" v="4404" actId="1076"/>
          <ac:spMkLst>
            <pc:docMk/>
            <pc:sldMk cId="3420241547" sldId="446"/>
            <ac:spMk id="25" creationId="{6520BD8D-91D2-E709-6C3E-6A15A4DAF9E4}"/>
          </ac:spMkLst>
        </pc:spChg>
        <pc:spChg chg="add del">
          <ac:chgData name="Zhizi Wen" userId="b804997a-63ad-4c7f-9308-31a917908f04" providerId="ADAL" clId="{B10B7B39-2ABD-4C62-8983-C68601FCF583}" dt="2023-03-11T22:48:09.458" v="4412" actId="22"/>
          <ac:spMkLst>
            <pc:docMk/>
            <pc:sldMk cId="3420241547" sldId="446"/>
            <ac:spMk id="27" creationId="{BD0DEE5B-C1A7-542D-6D6A-662356E43EC5}"/>
          </ac:spMkLst>
        </pc:spChg>
        <pc:spChg chg="add mod">
          <ac:chgData name="Zhizi Wen" userId="b804997a-63ad-4c7f-9308-31a917908f04" providerId="ADAL" clId="{B10B7B39-2ABD-4C62-8983-C68601FCF583}" dt="2023-03-12T19:00:16.477" v="6904" actId="403"/>
          <ac:spMkLst>
            <pc:docMk/>
            <pc:sldMk cId="3420241547" sldId="446"/>
            <ac:spMk id="28" creationId="{06410780-BA15-42BC-1D8E-58971B7FD5C2}"/>
          </ac:spMkLst>
        </pc:spChg>
        <pc:grpChg chg="add del mod">
          <ac:chgData name="Zhizi Wen" userId="b804997a-63ad-4c7f-9308-31a917908f04" providerId="ADAL" clId="{B10B7B39-2ABD-4C62-8983-C68601FCF583}" dt="2023-03-11T22:49:29.177" v="4453" actId="207"/>
          <ac:grpSpMkLst>
            <pc:docMk/>
            <pc:sldMk cId="3420241547" sldId="446"/>
            <ac:grpSpMk id="9" creationId="{7567BC75-5FA2-F38D-4B03-A7A221D923D8}"/>
          </ac:grpSpMkLst>
        </pc:grpChg>
        <pc:picChg chg="add mod">
          <ac:chgData name="Zhizi Wen" userId="b804997a-63ad-4c7f-9308-31a917908f04" providerId="ADAL" clId="{B10B7B39-2ABD-4C62-8983-C68601FCF583}" dt="2023-03-12T19:00:12.690" v="6902" actId="1076"/>
          <ac:picMkLst>
            <pc:docMk/>
            <pc:sldMk cId="3420241547" sldId="446"/>
            <ac:picMk id="16" creationId="{637AD4DB-9860-A8BA-F829-FCED69B3CA26}"/>
          </ac:picMkLst>
        </pc:picChg>
        <pc:picChg chg="add del mod modCrop">
          <ac:chgData name="Zhizi Wen" userId="b804997a-63ad-4c7f-9308-31a917908f04" providerId="ADAL" clId="{B10B7B39-2ABD-4C62-8983-C68601FCF583}" dt="2023-03-11T22:41:04.869" v="4275" actId="478"/>
          <ac:picMkLst>
            <pc:docMk/>
            <pc:sldMk cId="3420241547" sldId="446"/>
            <ac:picMk id="18" creationId="{8C172269-5B4C-804A-ED05-4B991837C3A5}"/>
          </ac:picMkLst>
        </pc:picChg>
        <pc:picChg chg="add mod modCrop">
          <ac:chgData name="Zhizi Wen" userId="b804997a-63ad-4c7f-9308-31a917908f04" providerId="ADAL" clId="{B10B7B39-2ABD-4C62-8983-C68601FCF583}" dt="2023-03-11T22:47:01.718" v="4404" actId="1076"/>
          <ac:picMkLst>
            <pc:docMk/>
            <pc:sldMk cId="3420241547" sldId="446"/>
            <ac:picMk id="20" creationId="{C7161190-6ED3-4ADC-61F0-1DE7D5460DBB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izi Wen" userId="b804997a-63ad-4c7f-9308-31a917908f04" providerId="ADAL" clId="{B10B7B39-2ABD-4C62-8983-C68601FCF583}" dt="2023-03-12T18:08:37.949" v="5340"/>
              <pc2:cmMkLst xmlns:pc2="http://schemas.microsoft.com/office/powerpoint/2019/9/main/command">
                <pc:docMk/>
                <pc:sldMk cId="3420241547" sldId="446"/>
                <pc2:cmMk id="{5F9B5E6E-CB9D-41E0-973D-32D94EDF1269}"/>
              </pc2:cmMkLst>
            </pc226:cmChg>
          </p:ext>
        </pc:extLst>
      </pc:sldChg>
      <pc:sldChg chg="addSp delSp modSp add mod modNotesTx">
        <pc:chgData name="Zhizi Wen" userId="b804997a-63ad-4c7f-9308-31a917908f04" providerId="ADAL" clId="{B10B7B39-2ABD-4C62-8983-C68601FCF583}" dt="2023-03-12T22:20:28.232" v="9601" actId="20577"/>
        <pc:sldMkLst>
          <pc:docMk/>
          <pc:sldMk cId="1239922679" sldId="447"/>
        </pc:sldMkLst>
        <pc:spChg chg="mod">
          <ac:chgData name="Zhizi Wen" userId="b804997a-63ad-4c7f-9308-31a917908f04" providerId="ADAL" clId="{B10B7B39-2ABD-4C62-8983-C68601FCF583}" dt="2023-03-11T22:48:27.305" v="4450" actId="20577"/>
          <ac:spMkLst>
            <pc:docMk/>
            <pc:sldMk cId="1239922679" sldId="447"/>
            <ac:spMk id="8" creationId="{6DDA62FC-F4CB-CCDE-85B0-48276F7D2A8C}"/>
          </ac:spMkLst>
        </pc:spChg>
        <pc:spChg chg="del">
          <ac:chgData name="Zhizi Wen" userId="b804997a-63ad-4c7f-9308-31a917908f04" providerId="ADAL" clId="{B10B7B39-2ABD-4C62-8983-C68601FCF583}" dt="2023-03-11T22:48:31.551" v="4451" actId="478"/>
          <ac:spMkLst>
            <pc:docMk/>
            <pc:sldMk cId="1239922679" sldId="447"/>
            <ac:spMk id="12" creationId="{55D82EE5-C6B2-D3EA-D21E-B7BDD22CFBC5}"/>
          </ac:spMkLst>
        </pc:spChg>
        <pc:spChg chg="add mod">
          <ac:chgData name="Zhizi Wen" userId="b804997a-63ad-4c7f-9308-31a917908f04" providerId="ADAL" clId="{B10B7B39-2ABD-4C62-8983-C68601FCF583}" dt="2023-03-11T23:34:41.191" v="5060" actId="1076"/>
          <ac:spMkLst>
            <pc:docMk/>
            <pc:sldMk cId="1239922679" sldId="447"/>
            <ac:spMk id="13" creationId="{7206A4F9-F5D7-1FDB-D580-94D9EA3F7A74}"/>
          </ac:spMkLst>
        </pc:spChg>
        <pc:spChg chg="del">
          <ac:chgData name="Zhizi Wen" userId="b804997a-63ad-4c7f-9308-31a917908f04" providerId="ADAL" clId="{B10B7B39-2ABD-4C62-8983-C68601FCF583}" dt="2023-03-11T22:48:31.551" v="4451" actId="478"/>
          <ac:spMkLst>
            <pc:docMk/>
            <pc:sldMk cId="1239922679" sldId="447"/>
            <ac:spMk id="14" creationId="{3CDA16E5-9B14-5100-8F1F-9B595BB0D97D}"/>
          </ac:spMkLst>
        </pc:spChg>
        <pc:spChg chg="del">
          <ac:chgData name="Zhizi Wen" userId="b804997a-63ad-4c7f-9308-31a917908f04" providerId="ADAL" clId="{B10B7B39-2ABD-4C62-8983-C68601FCF583}" dt="2023-03-11T22:48:31.551" v="4451" actId="478"/>
          <ac:spMkLst>
            <pc:docMk/>
            <pc:sldMk cId="1239922679" sldId="447"/>
            <ac:spMk id="15" creationId="{CF0CFBF5-EB37-CFC1-A862-5184F166EEDF}"/>
          </ac:spMkLst>
        </pc:spChg>
        <pc:spChg chg="del">
          <ac:chgData name="Zhizi Wen" userId="b804997a-63ad-4c7f-9308-31a917908f04" providerId="ADAL" clId="{B10B7B39-2ABD-4C62-8983-C68601FCF583}" dt="2023-03-11T22:48:31.551" v="4451" actId="478"/>
          <ac:spMkLst>
            <pc:docMk/>
            <pc:sldMk cId="1239922679" sldId="447"/>
            <ac:spMk id="17" creationId="{018A37E1-842D-9ED0-AE23-E78144B0C5C2}"/>
          </ac:spMkLst>
        </pc:spChg>
        <pc:spChg chg="del">
          <ac:chgData name="Zhizi Wen" userId="b804997a-63ad-4c7f-9308-31a917908f04" providerId="ADAL" clId="{B10B7B39-2ABD-4C62-8983-C68601FCF583}" dt="2023-03-11T22:48:31.551" v="4451" actId="478"/>
          <ac:spMkLst>
            <pc:docMk/>
            <pc:sldMk cId="1239922679" sldId="447"/>
            <ac:spMk id="19" creationId="{A94862ED-0B16-F8DF-E1D8-BEBC04550A30}"/>
          </ac:spMkLst>
        </pc:spChg>
        <pc:spChg chg="del">
          <ac:chgData name="Zhizi Wen" userId="b804997a-63ad-4c7f-9308-31a917908f04" providerId="ADAL" clId="{B10B7B39-2ABD-4C62-8983-C68601FCF583}" dt="2023-03-11T22:48:31.551" v="4451" actId="478"/>
          <ac:spMkLst>
            <pc:docMk/>
            <pc:sldMk cId="1239922679" sldId="447"/>
            <ac:spMk id="21" creationId="{910E40C9-FCDE-8335-4020-7B56564DA527}"/>
          </ac:spMkLst>
        </pc:spChg>
        <pc:spChg chg="del">
          <ac:chgData name="Zhizi Wen" userId="b804997a-63ad-4c7f-9308-31a917908f04" providerId="ADAL" clId="{B10B7B39-2ABD-4C62-8983-C68601FCF583}" dt="2023-03-11T22:48:31.551" v="4451" actId="478"/>
          <ac:spMkLst>
            <pc:docMk/>
            <pc:sldMk cId="1239922679" sldId="447"/>
            <ac:spMk id="22" creationId="{6B9923DD-FFE1-35F1-836D-51717CFCA14F}"/>
          </ac:spMkLst>
        </pc:spChg>
        <pc:spChg chg="add mod">
          <ac:chgData name="Zhizi Wen" userId="b804997a-63ad-4c7f-9308-31a917908f04" providerId="ADAL" clId="{B10B7B39-2ABD-4C62-8983-C68601FCF583}" dt="2023-03-12T11:47:36.311" v="5208" actId="113"/>
          <ac:spMkLst>
            <pc:docMk/>
            <pc:sldMk cId="1239922679" sldId="447"/>
            <ac:spMk id="23" creationId="{C5304FA5-BDE6-6579-0552-0E925733E465}"/>
          </ac:spMkLst>
        </pc:spChg>
        <pc:spChg chg="del">
          <ac:chgData name="Zhizi Wen" userId="b804997a-63ad-4c7f-9308-31a917908f04" providerId="ADAL" clId="{B10B7B39-2ABD-4C62-8983-C68601FCF583}" dt="2023-03-11T22:48:31.551" v="4451" actId="478"/>
          <ac:spMkLst>
            <pc:docMk/>
            <pc:sldMk cId="1239922679" sldId="447"/>
            <ac:spMk id="24" creationId="{1A8C5F34-1AA1-8BE9-1DCC-A982DC444D0C}"/>
          </ac:spMkLst>
        </pc:spChg>
        <pc:spChg chg="del">
          <ac:chgData name="Zhizi Wen" userId="b804997a-63ad-4c7f-9308-31a917908f04" providerId="ADAL" clId="{B10B7B39-2ABD-4C62-8983-C68601FCF583}" dt="2023-03-11T22:48:31.551" v="4451" actId="478"/>
          <ac:spMkLst>
            <pc:docMk/>
            <pc:sldMk cId="1239922679" sldId="447"/>
            <ac:spMk id="25" creationId="{6520BD8D-91D2-E709-6C3E-6A15A4DAF9E4}"/>
          </ac:spMkLst>
        </pc:spChg>
        <pc:grpChg chg="del">
          <ac:chgData name="Zhizi Wen" userId="b804997a-63ad-4c7f-9308-31a917908f04" providerId="ADAL" clId="{B10B7B39-2ABD-4C62-8983-C68601FCF583}" dt="2023-03-11T22:48:31.551" v="4451" actId="478"/>
          <ac:grpSpMkLst>
            <pc:docMk/>
            <pc:sldMk cId="1239922679" sldId="447"/>
            <ac:grpSpMk id="9" creationId="{7567BC75-5FA2-F38D-4B03-A7A221D923D8}"/>
          </ac:grpSpMkLst>
        </pc:grpChg>
        <pc:picChg chg="add mod">
          <ac:chgData name="Zhizi Wen" userId="b804997a-63ad-4c7f-9308-31a917908f04" providerId="ADAL" clId="{B10B7B39-2ABD-4C62-8983-C68601FCF583}" dt="2023-03-11T22:50:57.433" v="4484" actId="14100"/>
          <ac:picMkLst>
            <pc:docMk/>
            <pc:sldMk cId="1239922679" sldId="447"/>
            <ac:picMk id="5" creationId="{4C564FC2-C68F-8503-8FE4-BABE080CE19D}"/>
          </ac:picMkLst>
        </pc:picChg>
        <pc:picChg chg="del">
          <ac:chgData name="Zhizi Wen" userId="b804997a-63ad-4c7f-9308-31a917908f04" providerId="ADAL" clId="{B10B7B39-2ABD-4C62-8983-C68601FCF583}" dt="2023-03-11T22:48:31.551" v="4451" actId="478"/>
          <ac:picMkLst>
            <pc:docMk/>
            <pc:sldMk cId="1239922679" sldId="447"/>
            <ac:picMk id="16" creationId="{637AD4DB-9860-A8BA-F829-FCED69B3CA26}"/>
          </ac:picMkLst>
        </pc:picChg>
        <pc:picChg chg="del">
          <ac:chgData name="Zhizi Wen" userId="b804997a-63ad-4c7f-9308-31a917908f04" providerId="ADAL" clId="{B10B7B39-2ABD-4C62-8983-C68601FCF583}" dt="2023-03-11T22:48:31.551" v="4451" actId="478"/>
          <ac:picMkLst>
            <pc:docMk/>
            <pc:sldMk cId="1239922679" sldId="447"/>
            <ac:picMk id="20" creationId="{C7161190-6ED3-4ADC-61F0-1DE7D5460DBB}"/>
          </ac:picMkLst>
        </pc:picChg>
      </pc:sldChg>
      <pc:sldChg chg="addSp delSp modSp new mod modNotesTx">
        <pc:chgData name="Zhizi Wen" userId="b804997a-63ad-4c7f-9308-31a917908f04" providerId="ADAL" clId="{B10B7B39-2ABD-4C62-8983-C68601FCF583}" dt="2023-03-12T22:23:20.720" v="9990" actId="20577"/>
        <pc:sldMkLst>
          <pc:docMk/>
          <pc:sldMk cId="4261430014" sldId="448"/>
        </pc:sldMkLst>
        <pc:spChg chg="del">
          <ac:chgData name="Zhizi Wen" userId="b804997a-63ad-4c7f-9308-31a917908f04" providerId="ADAL" clId="{B10B7B39-2ABD-4C62-8983-C68601FCF583}" dt="2023-03-11T22:55:57.542" v="4644" actId="478"/>
          <ac:spMkLst>
            <pc:docMk/>
            <pc:sldMk cId="4261430014" sldId="448"/>
            <ac:spMk id="5" creationId="{DEBBA930-83C8-DD47-488D-258EF028E4B5}"/>
          </ac:spMkLst>
        </pc:spChg>
        <pc:spChg chg="mod">
          <ac:chgData name="Zhizi Wen" userId="b804997a-63ad-4c7f-9308-31a917908f04" providerId="ADAL" clId="{B10B7B39-2ABD-4C62-8983-C68601FCF583}" dt="2023-03-11T22:53:42.910" v="4586" actId="20577"/>
          <ac:spMkLst>
            <pc:docMk/>
            <pc:sldMk cId="4261430014" sldId="448"/>
            <ac:spMk id="6" creationId="{D2768595-F3B3-8385-1FDA-8E4B5E9B06C9}"/>
          </ac:spMkLst>
        </pc:spChg>
        <pc:spChg chg="mod">
          <ac:chgData name="Zhizi Wen" userId="b804997a-63ad-4c7f-9308-31a917908f04" providerId="ADAL" clId="{B10B7B39-2ABD-4C62-8983-C68601FCF583}" dt="2023-03-11T22:54:33.704" v="4643" actId="20577"/>
          <ac:spMkLst>
            <pc:docMk/>
            <pc:sldMk cId="4261430014" sldId="448"/>
            <ac:spMk id="8" creationId="{D705343A-47E9-DD12-42FB-045B1B813186}"/>
          </ac:spMkLst>
        </pc:spChg>
        <pc:spChg chg="add mod">
          <ac:chgData name="Zhizi Wen" userId="b804997a-63ad-4c7f-9308-31a917908f04" providerId="ADAL" clId="{B10B7B39-2ABD-4C62-8983-C68601FCF583}" dt="2023-03-11T23:21:15.858" v="4972" actId="21"/>
          <ac:spMkLst>
            <pc:docMk/>
            <pc:sldMk cId="4261430014" sldId="448"/>
            <ac:spMk id="12" creationId="{673BA53C-6B4A-B4E6-BED7-0EED73263DB3}"/>
          </ac:spMkLst>
        </pc:spChg>
        <pc:spChg chg="add mod">
          <ac:chgData name="Zhizi Wen" userId="b804997a-63ad-4c7f-9308-31a917908f04" providerId="ADAL" clId="{B10B7B39-2ABD-4C62-8983-C68601FCF583}" dt="2023-03-11T23:33:07.603" v="5054" actId="20577"/>
          <ac:spMkLst>
            <pc:docMk/>
            <pc:sldMk cId="4261430014" sldId="448"/>
            <ac:spMk id="13" creationId="{ECE80654-7598-A8B3-BE28-748BE9DCEB75}"/>
          </ac:spMkLst>
        </pc:spChg>
        <pc:spChg chg="add mod">
          <ac:chgData name="Zhizi Wen" userId="b804997a-63ad-4c7f-9308-31a917908f04" providerId="ADAL" clId="{B10B7B39-2ABD-4C62-8983-C68601FCF583}" dt="2023-03-11T23:34:58.263" v="5062" actId="12"/>
          <ac:spMkLst>
            <pc:docMk/>
            <pc:sldMk cId="4261430014" sldId="448"/>
            <ac:spMk id="14" creationId="{31827BBB-FB24-8B6B-5531-9F7AA8DDA399}"/>
          </ac:spMkLst>
        </pc:spChg>
        <pc:spChg chg="add mod">
          <ac:chgData name="Zhizi Wen" userId="b804997a-63ad-4c7f-9308-31a917908f04" providerId="ADAL" clId="{B10B7B39-2ABD-4C62-8983-C68601FCF583}" dt="2023-03-12T18:15:10.232" v="5363" actId="1035"/>
          <ac:spMkLst>
            <pc:docMk/>
            <pc:sldMk cId="4261430014" sldId="448"/>
            <ac:spMk id="15" creationId="{1C6FF346-6ACB-7115-8002-FA4638630620}"/>
          </ac:spMkLst>
        </pc:spChg>
        <pc:spChg chg="add mod">
          <ac:chgData name="Zhizi Wen" userId="b804997a-63ad-4c7f-9308-31a917908f04" providerId="ADAL" clId="{B10B7B39-2ABD-4C62-8983-C68601FCF583}" dt="2023-03-12T18:26:52.236" v="5365" actId="1035"/>
          <ac:spMkLst>
            <pc:docMk/>
            <pc:sldMk cId="4261430014" sldId="448"/>
            <ac:spMk id="16" creationId="{E2ACABDD-61DD-8432-9F9F-F9A00EC529E5}"/>
          </ac:spMkLst>
        </pc:spChg>
        <pc:graphicFrameChg chg="add mod">
          <ac:chgData name="Zhizi Wen" userId="b804997a-63ad-4c7f-9308-31a917908f04" providerId="ADAL" clId="{B10B7B39-2ABD-4C62-8983-C68601FCF583}" dt="2023-03-11T23:14:31.070" v="4831" actId="14100"/>
          <ac:graphicFrameMkLst>
            <pc:docMk/>
            <pc:sldMk cId="4261430014" sldId="448"/>
            <ac:graphicFrameMk id="11" creationId="{B8F61A57-2A71-9425-22C2-8122C49DDCFA}"/>
          </ac:graphicFrameMkLst>
        </pc:graphicFrameChg>
      </pc:sldChg>
      <pc:sldChg chg="modSp mod">
        <pc:chgData name="Zhizi Wen" userId="b804997a-63ad-4c7f-9308-31a917908f04" providerId="ADAL" clId="{B10B7B39-2ABD-4C62-8983-C68601FCF583}" dt="2023-03-12T11:53:09.181" v="5214" actId="20577"/>
        <pc:sldMkLst>
          <pc:docMk/>
          <pc:sldMk cId="3925525262" sldId="449"/>
        </pc:sldMkLst>
        <pc:spChg chg="mod">
          <ac:chgData name="Zhizi Wen" userId="b804997a-63ad-4c7f-9308-31a917908f04" providerId="ADAL" clId="{B10B7B39-2ABD-4C62-8983-C68601FCF583}" dt="2023-03-12T11:10:54.764" v="5080" actId="20577"/>
          <ac:spMkLst>
            <pc:docMk/>
            <pc:sldMk cId="3925525262" sldId="449"/>
            <ac:spMk id="9" creationId="{06E69EF6-5F75-EF00-A656-2EF79BFF6CB7}"/>
          </ac:spMkLst>
        </pc:spChg>
        <pc:spChg chg="mod">
          <ac:chgData name="Zhizi Wen" userId="b804997a-63ad-4c7f-9308-31a917908f04" providerId="ADAL" clId="{B10B7B39-2ABD-4C62-8983-C68601FCF583}" dt="2023-03-12T11:53:09.181" v="5214" actId="20577"/>
          <ac:spMkLst>
            <pc:docMk/>
            <pc:sldMk cId="3925525262" sldId="449"/>
            <ac:spMk id="20" creationId="{2AD08722-C387-44A0-8955-313CD959C971}"/>
          </ac:spMkLst>
        </pc:spChg>
      </pc:sldChg>
      <pc:sldChg chg="modSp mod addCm">
        <pc:chgData name="Zhizi Wen" userId="b804997a-63ad-4c7f-9308-31a917908f04" providerId="ADAL" clId="{B10B7B39-2ABD-4C62-8983-C68601FCF583}" dt="2023-03-12T11:54:53.973" v="5215"/>
        <pc:sldMkLst>
          <pc:docMk/>
          <pc:sldMk cId="2367796705" sldId="450"/>
        </pc:sldMkLst>
        <pc:spChg chg="mod">
          <ac:chgData name="Zhizi Wen" userId="b804997a-63ad-4c7f-9308-31a917908f04" providerId="ADAL" clId="{B10B7B39-2ABD-4C62-8983-C68601FCF583}" dt="2023-03-12T11:10:50.477" v="5079" actId="20577"/>
          <ac:spMkLst>
            <pc:docMk/>
            <pc:sldMk cId="2367796705" sldId="450"/>
            <ac:spMk id="9" creationId="{06E69EF6-5F75-EF00-A656-2EF79BFF6CB7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izi Wen" userId="b804997a-63ad-4c7f-9308-31a917908f04" providerId="ADAL" clId="{B10B7B39-2ABD-4C62-8983-C68601FCF583}" dt="2023-03-12T11:54:53.973" v="5215"/>
              <pc2:cmMkLst xmlns:pc2="http://schemas.microsoft.com/office/powerpoint/2019/9/main/command">
                <pc:docMk/>
                <pc:sldMk cId="2367796705" sldId="450"/>
                <pc2:cmMk id="{61D5B0D8-7E7E-4E39-B4D4-38325816D74E}"/>
              </pc2:cmMkLst>
            </pc226:cmChg>
          </p:ext>
        </pc:extLst>
      </pc:sldChg>
      <pc:sldChg chg="modSp mod">
        <pc:chgData name="Zhizi Wen" userId="b804997a-63ad-4c7f-9308-31a917908f04" providerId="ADAL" clId="{B10B7B39-2ABD-4C62-8983-C68601FCF583}" dt="2023-03-12T11:10:47.021" v="5078" actId="20577"/>
        <pc:sldMkLst>
          <pc:docMk/>
          <pc:sldMk cId="2948339296" sldId="451"/>
        </pc:sldMkLst>
        <pc:spChg chg="mod">
          <ac:chgData name="Zhizi Wen" userId="b804997a-63ad-4c7f-9308-31a917908f04" providerId="ADAL" clId="{B10B7B39-2ABD-4C62-8983-C68601FCF583}" dt="2023-03-12T11:10:47.021" v="5078" actId="20577"/>
          <ac:spMkLst>
            <pc:docMk/>
            <pc:sldMk cId="2948339296" sldId="451"/>
            <ac:spMk id="9" creationId="{06E69EF6-5F75-EF00-A656-2EF79BFF6CB7}"/>
          </ac:spMkLst>
        </pc:spChg>
      </pc:sldChg>
      <pc:sldChg chg="modSp mod addCm">
        <pc:chgData name="Zhizi Wen" userId="b804997a-63ad-4c7f-9308-31a917908f04" providerId="ADAL" clId="{B10B7B39-2ABD-4C62-8983-C68601FCF583}" dt="2023-03-12T20:47:52.584" v="7062" actId="20577"/>
        <pc:sldMkLst>
          <pc:docMk/>
          <pc:sldMk cId="2655198833" sldId="453"/>
        </pc:sldMkLst>
        <pc:spChg chg="mod">
          <ac:chgData name="Zhizi Wen" userId="b804997a-63ad-4c7f-9308-31a917908f04" providerId="ADAL" clId="{B10B7B39-2ABD-4C62-8983-C68601FCF583}" dt="2023-03-12T11:10:43.732" v="5077" actId="20577"/>
          <ac:spMkLst>
            <pc:docMk/>
            <pc:sldMk cId="2655198833" sldId="453"/>
            <ac:spMk id="9" creationId="{06E69EF6-5F75-EF00-A656-2EF79BFF6CB7}"/>
          </ac:spMkLst>
        </pc:spChg>
        <pc:spChg chg="mod">
          <ac:chgData name="Zhizi Wen" userId="b804997a-63ad-4c7f-9308-31a917908f04" providerId="ADAL" clId="{B10B7B39-2ABD-4C62-8983-C68601FCF583}" dt="2023-03-12T20:47:37.912" v="7061" actId="12788"/>
          <ac:spMkLst>
            <pc:docMk/>
            <pc:sldMk cId="2655198833" sldId="453"/>
            <ac:spMk id="10" creationId="{2EAF70E9-9520-C359-3F14-F7FA04BB93BF}"/>
          </ac:spMkLst>
        </pc:spChg>
        <pc:spChg chg="mod">
          <ac:chgData name="Zhizi Wen" userId="b804997a-63ad-4c7f-9308-31a917908f04" providerId="ADAL" clId="{B10B7B39-2ABD-4C62-8983-C68601FCF583}" dt="2023-03-12T20:47:37.912" v="7061" actId="12788"/>
          <ac:spMkLst>
            <pc:docMk/>
            <pc:sldMk cId="2655198833" sldId="453"/>
            <ac:spMk id="11" creationId="{EC364AED-479C-F7DA-9EF9-4B90512195B1}"/>
          </ac:spMkLst>
        </pc:spChg>
        <pc:spChg chg="mod">
          <ac:chgData name="Zhizi Wen" userId="b804997a-63ad-4c7f-9308-31a917908f04" providerId="ADAL" clId="{B10B7B39-2ABD-4C62-8983-C68601FCF583}" dt="2023-03-12T20:47:52.584" v="7062" actId="20577"/>
          <ac:spMkLst>
            <pc:docMk/>
            <pc:sldMk cId="2655198833" sldId="453"/>
            <ac:spMk id="12" creationId="{84012948-F49E-52CB-1B35-38C5377A581C}"/>
          </ac:spMkLst>
        </pc:spChg>
        <pc:spChg chg="mod">
          <ac:chgData name="Zhizi Wen" userId="b804997a-63ad-4c7f-9308-31a917908f04" providerId="ADAL" clId="{B10B7B39-2ABD-4C62-8983-C68601FCF583}" dt="2023-03-12T20:47:37.912" v="7061" actId="12788"/>
          <ac:spMkLst>
            <pc:docMk/>
            <pc:sldMk cId="2655198833" sldId="453"/>
            <ac:spMk id="13" creationId="{5A6F146E-E2F5-F43C-C605-758F11CDD892}"/>
          </ac:spMkLst>
        </pc:spChg>
        <pc:cxnChg chg="mod">
          <ac:chgData name="Zhizi Wen" userId="b804997a-63ad-4c7f-9308-31a917908f04" providerId="ADAL" clId="{B10B7B39-2ABD-4C62-8983-C68601FCF583}" dt="2023-03-12T20:47:37.912" v="7061" actId="12788"/>
          <ac:cxnSpMkLst>
            <pc:docMk/>
            <pc:sldMk cId="2655198833" sldId="453"/>
            <ac:cxnSpMk id="14" creationId="{6BECFF38-CF1E-59B7-9376-85C8A4A69B4E}"/>
          </ac:cxnSpMkLst>
        </pc:cxnChg>
        <pc:cxnChg chg="mod">
          <ac:chgData name="Zhizi Wen" userId="b804997a-63ad-4c7f-9308-31a917908f04" providerId="ADAL" clId="{B10B7B39-2ABD-4C62-8983-C68601FCF583}" dt="2023-03-12T20:47:37.912" v="7061" actId="12788"/>
          <ac:cxnSpMkLst>
            <pc:docMk/>
            <pc:sldMk cId="2655198833" sldId="453"/>
            <ac:cxnSpMk id="15" creationId="{F6CF47A3-2A9A-0BE0-21AD-330CBE5AFC6F}"/>
          </ac:cxnSpMkLst>
        </pc:cxnChg>
        <pc:cxnChg chg="mod">
          <ac:chgData name="Zhizi Wen" userId="b804997a-63ad-4c7f-9308-31a917908f04" providerId="ADAL" clId="{B10B7B39-2ABD-4C62-8983-C68601FCF583}" dt="2023-03-12T20:47:37.912" v="7061" actId="12788"/>
          <ac:cxnSpMkLst>
            <pc:docMk/>
            <pc:sldMk cId="2655198833" sldId="453"/>
            <ac:cxnSpMk id="16" creationId="{F2ACEC68-6370-A589-54AA-AACBA02286C0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izi Wen" userId="b804997a-63ad-4c7f-9308-31a917908f04" providerId="ADAL" clId="{B10B7B39-2ABD-4C62-8983-C68601FCF583}" dt="2023-03-12T20:26:22.972" v="6989"/>
              <pc2:cmMkLst xmlns:pc2="http://schemas.microsoft.com/office/powerpoint/2019/9/main/command">
                <pc:docMk/>
                <pc:sldMk cId="2655198833" sldId="453"/>
                <pc2:cmMk id="{D5AFF52A-7341-4738-8990-3036216C00D9}"/>
              </pc2:cmMkLst>
            </pc226:cmChg>
          </p:ext>
        </pc:extLst>
      </pc:sldChg>
      <pc:sldChg chg="modSp mod ord modShow addCm">
        <pc:chgData name="Zhizi Wen" userId="b804997a-63ad-4c7f-9308-31a917908f04" providerId="ADAL" clId="{B10B7B39-2ABD-4C62-8983-C68601FCF583}" dt="2023-03-13T10:55:23.681" v="10366"/>
        <pc:sldMkLst>
          <pc:docMk/>
          <pc:sldMk cId="4251489337" sldId="454"/>
        </pc:sldMkLst>
        <pc:spChg chg="mod">
          <ac:chgData name="Zhizi Wen" userId="b804997a-63ad-4c7f-9308-31a917908f04" providerId="ADAL" clId="{B10B7B39-2ABD-4C62-8983-C68601FCF583}" dt="2023-03-12T11:10:41.068" v="5076" actId="20577"/>
          <ac:spMkLst>
            <pc:docMk/>
            <pc:sldMk cId="4251489337" sldId="454"/>
            <ac:spMk id="9" creationId="{06E69EF6-5F75-EF00-A656-2EF79BFF6CB7}"/>
          </ac:spMkLst>
        </pc:spChg>
        <pc:spChg chg="mod">
          <ac:chgData name="Zhizi Wen" userId="b804997a-63ad-4c7f-9308-31a917908f04" providerId="ADAL" clId="{B10B7B39-2ABD-4C62-8983-C68601FCF583}" dt="2023-03-12T19:08:19.521" v="6926" actId="1076"/>
          <ac:spMkLst>
            <pc:docMk/>
            <pc:sldMk cId="4251489337" sldId="454"/>
            <ac:spMk id="11" creationId="{318B7312-9E49-377E-6D95-00D0F5667CEE}"/>
          </ac:spMkLst>
        </pc:spChg>
        <pc:spChg chg="mod">
          <ac:chgData name="Zhizi Wen" userId="b804997a-63ad-4c7f-9308-31a917908f04" providerId="ADAL" clId="{B10B7B39-2ABD-4C62-8983-C68601FCF583}" dt="2023-03-12T19:07:59.018" v="6924" actId="20577"/>
          <ac:spMkLst>
            <pc:docMk/>
            <pc:sldMk cId="4251489337" sldId="454"/>
            <ac:spMk id="29" creationId="{466DF9F0-F8BC-1F8B-1F36-472A232FE9B4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izi Wen" userId="b804997a-63ad-4c7f-9308-31a917908f04" providerId="ADAL" clId="{B10B7B39-2ABD-4C62-8983-C68601FCF583}" dt="2023-03-12T12:09:06.188" v="5220"/>
              <pc2:cmMkLst xmlns:pc2="http://schemas.microsoft.com/office/powerpoint/2019/9/main/command">
                <pc:docMk/>
                <pc:sldMk cId="4251489337" sldId="454"/>
                <pc2:cmMk id="{201D8BB1-3D35-47A4-8708-8D8708C8BFEE}"/>
              </pc2:cmMkLst>
            </pc226:cmChg>
          </p:ext>
        </pc:extLst>
      </pc:sldChg>
      <pc:sldChg chg="modSp del mod ord modShow addCm">
        <pc:chgData name="Zhizi Wen" userId="b804997a-63ad-4c7f-9308-31a917908f04" providerId="ADAL" clId="{B10B7B39-2ABD-4C62-8983-C68601FCF583}" dt="2023-03-13T14:09:56.692" v="10375" actId="47"/>
        <pc:sldMkLst>
          <pc:docMk/>
          <pc:sldMk cId="3634877119" sldId="455"/>
        </pc:sldMkLst>
        <pc:spChg chg="mod">
          <ac:chgData name="Zhizi Wen" userId="b804997a-63ad-4c7f-9308-31a917908f04" providerId="ADAL" clId="{B10B7B39-2ABD-4C62-8983-C68601FCF583}" dt="2023-03-12T11:10:37.826" v="5075" actId="20577"/>
          <ac:spMkLst>
            <pc:docMk/>
            <pc:sldMk cId="3634877119" sldId="455"/>
            <ac:spMk id="9" creationId="{06E69EF6-5F75-EF00-A656-2EF79BFF6CB7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izi Wen" userId="b804997a-63ad-4c7f-9308-31a917908f04" providerId="ADAL" clId="{B10B7B39-2ABD-4C62-8983-C68601FCF583}" dt="2023-03-12T12:04:57.989" v="5219"/>
              <pc2:cmMkLst xmlns:pc2="http://schemas.microsoft.com/office/powerpoint/2019/9/main/command">
                <pc:docMk/>
                <pc:sldMk cId="3634877119" sldId="455"/>
                <pc2:cmMk id="{6B26C48F-7156-49C7-BBBB-A0E8265656C7}"/>
              </pc2:cmMkLst>
            </pc226:cmChg>
          </p:ext>
        </pc:extLst>
      </pc:sldChg>
      <pc:sldChg chg="modSp 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1731582872" sldId="456"/>
        </pc:sldMkLst>
        <pc:spChg chg="mod">
          <ac:chgData name="Zhizi Wen" userId="b804997a-63ad-4c7f-9308-31a917908f04" providerId="ADAL" clId="{B10B7B39-2ABD-4C62-8983-C68601FCF583}" dt="2023-03-12T11:10:34.583" v="5074" actId="20577"/>
          <ac:spMkLst>
            <pc:docMk/>
            <pc:sldMk cId="1731582872" sldId="456"/>
            <ac:spMk id="9" creationId="{06E69EF6-5F75-EF00-A656-2EF79BFF6CB7}"/>
          </ac:spMkLst>
        </pc:spChg>
      </pc:sldChg>
      <pc:sldChg chg="modSp del mod ord modShow">
        <pc:chgData name="Zhizi Wen" userId="b804997a-63ad-4c7f-9308-31a917908f04" providerId="ADAL" clId="{B10B7B39-2ABD-4C62-8983-C68601FCF583}" dt="2023-03-13T14:09:56.692" v="10375" actId="47"/>
        <pc:sldMkLst>
          <pc:docMk/>
          <pc:sldMk cId="1959561535" sldId="457"/>
        </pc:sldMkLst>
        <pc:spChg chg="mod">
          <ac:chgData name="Zhizi Wen" userId="b804997a-63ad-4c7f-9308-31a917908f04" providerId="ADAL" clId="{B10B7B39-2ABD-4C62-8983-C68601FCF583}" dt="2023-03-12T12:00:01.052" v="5218" actId="20577"/>
          <ac:spMkLst>
            <pc:docMk/>
            <pc:sldMk cId="1959561535" sldId="457"/>
            <ac:spMk id="9" creationId="{06E69EF6-5F75-EF00-A656-2EF79BFF6CB7}"/>
          </ac:spMkLst>
        </pc:spChg>
      </pc:sldChg>
      <pc:sldChg chg="addSp delSp modSp mod addCm modCm">
        <pc:chgData name="Zhizi Wen" userId="b804997a-63ad-4c7f-9308-31a917908f04" providerId="ADAL" clId="{B10B7B39-2ABD-4C62-8983-C68601FCF583}" dt="2023-03-13T07:59:09.509" v="10271" actId="14100"/>
        <pc:sldMkLst>
          <pc:docMk/>
          <pc:sldMk cId="634732272" sldId="458"/>
        </pc:sldMkLst>
        <pc:spChg chg="add del mod">
          <ac:chgData name="Zhizi Wen" userId="b804997a-63ad-4c7f-9308-31a917908f04" providerId="ADAL" clId="{B10B7B39-2ABD-4C62-8983-C68601FCF583}" dt="2023-03-12T19:03:58.296" v="6920" actId="478"/>
          <ac:spMkLst>
            <pc:docMk/>
            <pc:sldMk cId="634732272" sldId="458"/>
            <ac:spMk id="12" creationId="{14ACF0EE-64AB-CD90-C9DD-49E207C4D876}"/>
          </ac:spMkLst>
        </pc:spChg>
        <pc:spChg chg="mod">
          <ac:chgData name="Zhizi Wen" userId="b804997a-63ad-4c7f-9308-31a917908f04" providerId="ADAL" clId="{B10B7B39-2ABD-4C62-8983-C68601FCF583}" dt="2023-03-13T07:58:54.230" v="10269" actId="1036"/>
          <ac:spMkLst>
            <pc:docMk/>
            <pc:sldMk cId="634732272" sldId="458"/>
            <ac:spMk id="19" creationId="{9C574363-8D56-4907-88DB-F19E396AEB20}"/>
          </ac:spMkLst>
        </pc:spChg>
        <pc:spChg chg="mod">
          <ac:chgData name="Zhizi Wen" userId="b804997a-63ad-4c7f-9308-31a917908f04" providerId="ADAL" clId="{B10B7B39-2ABD-4C62-8983-C68601FCF583}" dt="2023-03-13T07:58:49.607" v="10259" actId="1036"/>
          <ac:spMkLst>
            <pc:docMk/>
            <pc:sldMk cId="634732272" sldId="458"/>
            <ac:spMk id="20" creationId="{2AD08722-C387-44A0-8955-313CD959C971}"/>
          </ac:spMkLst>
        </pc:spChg>
        <pc:spChg chg="mod">
          <ac:chgData name="Zhizi Wen" userId="b804997a-63ad-4c7f-9308-31a917908f04" providerId="ADAL" clId="{B10B7B39-2ABD-4C62-8983-C68601FCF583}" dt="2023-03-13T07:59:09.509" v="10271" actId="14100"/>
          <ac:spMkLst>
            <pc:docMk/>
            <pc:sldMk cId="634732272" sldId="458"/>
            <ac:spMk id="21" creationId="{03AEB1A7-4A22-4EA3-B891-8CE774B86F7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izi Wen" userId="b804997a-63ad-4c7f-9308-31a917908f04" providerId="ADAL" clId="{B10B7B39-2ABD-4C62-8983-C68601FCF583}" dt="2023-03-12T20:30:45.795" v="6992"/>
              <pc2:cmMkLst xmlns:pc2="http://schemas.microsoft.com/office/powerpoint/2019/9/main/command">
                <pc:docMk/>
                <pc:sldMk cId="634732272" sldId="458"/>
                <pc2:cmMk id="{DBEAE10B-61D3-4363-9172-86A46C20023A}"/>
              </pc2:cmMkLst>
            </pc226:cmChg>
            <pc226:cmChg xmlns:pc226="http://schemas.microsoft.com/office/powerpoint/2022/06/main/command" chg="add mod">
              <pc226:chgData name="Zhizi Wen" userId="b804997a-63ad-4c7f-9308-31a917908f04" providerId="ADAL" clId="{B10B7B39-2ABD-4C62-8983-C68601FCF583}" dt="2023-03-12T20:29:52.042" v="6991"/>
              <pc2:cmMkLst xmlns:pc2="http://schemas.microsoft.com/office/powerpoint/2019/9/main/command">
                <pc:docMk/>
                <pc:sldMk cId="634732272" sldId="458"/>
                <pc2:cmMk id="{09C2A943-FD10-475C-891D-BCB582BE9F9B}"/>
              </pc2:cmMkLst>
            </pc226:cmChg>
            <pc226:cmChg xmlns:pc226="http://schemas.microsoft.com/office/powerpoint/2022/06/main/command" chg="add">
              <pc226:chgData name="Zhizi Wen" userId="b804997a-63ad-4c7f-9308-31a917908f04" providerId="ADAL" clId="{B10B7B39-2ABD-4C62-8983-C68601FCF583}" dt="2023-03-12T12:16:33.644" v="5225"/>
              <pc2:cmMkLst xmlns:pc2="http://schemas.microsoft.com/office/powerpoint/2019/9/main/command">
                <pc:docMk/>
                <pc:sldMk cId="634732272" sldId="458"/>
                <pc2:cmMk id="{23CFA189-6F18-4643-8561-F0711E756A11}"/>
              </pc2:cmMkLst>
            </pc226:cmChg>
            <pc226:cmChg xmlns:pc226="http://schemas.microsoft.com/office/powerpoint/2022/06/main/command" chg="add">
              <pc226:chgData name="Zhizi Wen" userId="b804997a-63ad-4c7f-9308-31a917908f04" providerId="ADAL" clId="{B10B7B39-2ABD-4C62-8983-C68601FCF583}" dt="2023-03-12T20:31:55.880" v="6994"/>
              <pc2:cmMkLst xmlns:pc2="http://schemas.microsoft.com/office/powerpoint/2019/9/main/command">
                <pc:docMk/>
                <pc:sldMk cId="634732272" sldId="458"/>
                <pc2:cmMk id="{0B751B91-E3E0-4D79-8F12-D16ADCBC32BA}"/>
              </pc2:cmMkLst>
            </pc226:cmChg>
            <pc226:cmChg xmlns:pc226="http://schemas.microsoft.com/office/powerpoint/2022/06/main/command" chg="add">
              <pc226:chgData name="Zhizi Wen" userId="b804997a-63ad-4c7f-9308-31a917908f04" providerId="ADAL" clId="{B10B7B39-2ABD-4C62-8983-C68601FCF583}" dt="2023-03-12T12:14:22.207" v="5224"/>
              <pc2:cmMkLst xmlns:pc2="http://schemas.microsoft.com/office/powerpoint/2019/9/main/command">
                <pc:docMk/>
                <pc:sldMk cId="634732272" sldId="458"/>
                <pc2:cmMk id="{46F21FBF-F394-43D7-B180-2C1D64EC012D}"/>
              </pc2:cmMkLst>
            </pc226:cmChg>
            <pc226:cmChg xmlns:pc226="http://schemas.microsoft.com/office/powerpoint/2022/06/main/command" chg="add">
              <pc226:chgData name="Zhizi Wen" userId="b804997a-63ad-4c7f-9308-31a917908f04" providerId="ADAL" clId="{B10B7B39-2ABD-4C62-8983-C68601FCF583}" dt="2023-03-12T12:09:50.128" v="5221"/>
              <pc2:cmMkLst xmlns:pc2="http://schemas.microsoft.com/office/powerpoint/2019/9/main/command">
                <pc:docMk/>
                <pc:sldMk cId="634732272" sldId="458"/>
                <pc2:cmMk id="{AF054BE5-CA0E-45D9-A768-F7AA369561C0}"/>
              </pc2:cmMkLst>
            </pc226:cmChg>
            <pc226:cmChg xmlns:pc226="http://schemas.microsoft.com/office/powerpoint/2022/06/main/command" chg="add mod">
              <pc226:chgData name="Zhizi Wen" userId="b804997a-63ad-4c7f-9308-31a917908f04" providerId="ADAL" clId="{B10B7B39-2ABD-4C62-8983-C68601FCF583}" dt="2023-03-12T20:30:58.970" v="6993" actId="20577"/>
              <pc2:cmMkLst xmlns:pc2="http://schemas.microsoft.com/office/powerpoint/2019/9/main/command">
                <pc:docMk/>
                <pc:sldMk cId="634732272" sldId="458"/>
                <pc2:cmMk id="{FC456CF9-A427-4FA3-A8FF-F887655498C9}"/>
              </pc2:cmMkLst>
            </pc226:cmChg>
          </p:ext>
        </pc:extLst>
      </pc:sldChg>
      <pc:sldChg chg="addSp delSp modSp mod modClrScheme chgLayout">
        <pc:chgData name="Zhizi Wen" userId="b804997a-63ad-4c7f-9308-31a917908f04" providerId="ADAL" clId="{B10B7B39-2ABD-4C62-8983-C68601FCF583}" dt="2023-03-12T11:29:43.212" v="5150" actId="20577"/>
        <pc:sldMkLst>
          <pc:docMk/>
          <pc:sldMk cId="184180007" sldId="459"/>
        </pc:sldMkLst>
        <pc:spChg chg="add del mod ord">
          <ac:chgData name="Zhizi Wen" userId="b804997a-63ad-4c7f-9308-31a917908f04" providerId="ADAL" clId="{B10B7B39-2ABD-4C62-8983-C68601FCF583}" dt="2023-03-12T11:02:53.573" v="5066" actId="700"/>
          <ac:spMkLst>
            <pc:docMk/>
            <pc:sldMk cId="184180007" sldId="459"/>
            <ac:spMk id="2" creationId="{E6855167-DC05-6EF1-4E5C-8BF41C180EF2}"/>
          </ac:spMkLst>
        </pc:spChg>
        <pc:spChg chg="add del mod ord">
          <ac:chgData name="Zhizi Wen" userId="b804997a-63ad-4c7f-9308-31a917908f04" providerId="ADAL" clId="{B10B7B39-2ABD-4C62-8983-C68601FCF583}" dt="2023-03-12T11:02:53.573" v="5066" actId="700"/>
          <ac:spMkLst>
            <pc:docMk/>
            <pc:sldMk cId="184180007" sldId="459"/>
            <ac:spMk id="5" creationId="{79A4D246-FF79-3809-0753-8BE2E9EE7E97}"/>
          </ac:spMkLst>
        </pc:spChg>
        <pc:spChg chg="add del mod ord">
          <ac:chgData name="Zhizi Wen" userId="b804997a-63ad-4c7f-9308-31a917908f04" providerId="ADAL" clId="{B10B7B39-2ABD-4C62-8983-C68601FCF583}" dt="2023-03-12T11:02:53.573" v="5066" actId="700"/>
          <ac:spMkLst>
            <pc:docMk/>
            <pc:sldMk cId="184180007" sldId="459"/>
            <ac:spMk id="7" creationId="{DA710322-A67E-E48B-F967-932DBECC3262}"/>
          </ac:spMkLst>
        </pc:spChg>
        <pc:spChg chg="mod">
          <ac:chgData name="Zhizi Wen" userId="b804997a-63ad-4c7f-9308-31a917908f04" providerId="ADAL" clId="{B10B7B39-2ABD-4C62-8983-C68601FCF583}" dt="2023-03-12T11:29:43.212" v="5150" actId="20577"/>
          <ac:spMkLst>
            <pc:docMk/>
            <pc:sldMk cId="184180007" sldId="459"/>
            <ac:spMk id="8" creationId="{C85311EC-8BB8-2CFE-1A7D-B80BF4DEA6F7}"/>
          </ac:spMkLst>
        </pc:spChg>
        <pc:spChg chg="add del mod ord">
          <ac:chgData name="Zhizi Wen" userId="b804997a-63ad-4c7f-9308-31a917908f04" providerId="ADAL" clId="{B10B7B39-2ABD-4C62-8983-C68601FCF583}" dt="2023-03-12T11:02:53.573" v="5066" actId="700"/>
          <ac:spMkLst>
            <pc:docMk/>
            <pc:sldMk cId="184180007" sldId="459"/>
            <ac:spMk id="10" creationId="{0BA209C3-337A-1CF7-22BC-CD21CFDCF777}"/>
          </ac:spMkLst>
        </pc:spChg>
      </pc:sldChg>
      <pc:sldChg chg="modSp mod addCm modCm">
        <pc:chgData name="Zhizi Wen" userId="b804997a-63ad-4c7f-9308-31a917908f04" providerId="ADAL" clId="{B10B7B39-2ABD-4C62-8983-C68601FCF583}" dt="2023-03-12T21:23:03.263" v="7241" actId="403"/>
        <pc:sldMkLst>
          <pc:docMk/>
          <pc:sldMk cId="1935823479" sldId="461"/>
        </pc:sldMkLst>
        <pc:spChg chg="mod">
          <ac:chgData name="Zhizi Wen" userId="b804997a-63ad-4c7f-9308-31a917908f04" providerId="ADAL" clId="{B10B7B39-2ABD-4C62-8983-C68601FCF583}" dt="2023-03-12T19:29:14.687" v="6935" actId="1038"/>
          <ac:spMkLst>
            <pc:docMk/>
            <pc:sldMk cId="1935823479" sldId="461"/>
            <ac:spMk id="3" creationId="{05E5A4A0-A94D-BD8A-DE59-EE5DB9F2D880}"/>
          </ac:spMkLst>
        </pc:spChg>
        <pc:spChg chg="mod">
          <ac:chgData name="Zhizi Wen" userId="b804997a-63ad-4c7f-9308-31a917908f04" providerId="ADAL" clId="{B10B7B39-2ABD-4C62-8983-C68601FCF583}" dt="2023-03-12T19:28:54.367" v="6928" actId="1076"/>
          <ac:spMkLst>
            <pc:docMk/>
            <pc:sldMk cId="1935823479" sldId="461"/>
            <ac:spMk id="4" creationId="{8BFEA6ED-2DB4-9F14-A0A2-05F87535397E}"/>
          </ac:spMkLst>
        </pc:spChg>
        <pc:spChg chg="mod">
          <ac:chgData name="Zhizi Wen" userId="b804997a-63ad-4c7f-9308-31a917908f04" providerId="ADAL" clId="{B10B7B39-2ABD-4C62-8983-C68601FCF583}" dt="2023-03-12T16:02:50.034" v="5267" actId="108"/>
          <ac:spMkLst>
            <pc:docMk/>
            <pc:sldMk cId="1935823479" sldId="461"/>
            <ac:spMk id="5" creationId="{DD6F2C6E-97C8-6F7C-C7CD-092FD51F1892}"/>
          </ac:spMkLst>
        </pc:spChg>
        <pc:spChg chg="mod">
          <ac:chgData name="Zhizi Wen" userId="b804997a-63ad-4c7f-9308-31a917908f04" providerId="ADAL" clId="{B10B7B39-2ABD-4C62-8983-C68601FCF583}" dt="2023-03-12T16:06:55.293" v="5303" actId="1036"/>
          <ac:spMkLst>
            <pc:docMk/>
            <pc:sldMk cId="1935823479" sldId="461"/>
            <ac:spMk id="7" creationId="{377FD9EF-52ED-9BA1-2193-21FC03A2A87C}"/>
          </ac:spMkLst>
        </pc:spChg>
        <pc:spChg chg="mod">
          <ac:chgData name="Zhizi Wen" userId="b804997a-63ad-4c7f-9308-31a917908f04" providerId="ADAL" clId="{B10B7B39-2ABD-4C62-8983-C68601FCF583}" dt="2023-03-12T16:06:55.293" v="5303" actId="1036"/>
          <ac:spMkLst>
            <pc:docMk/>
            <pc:sldMk cId="1935823479" sldId="461"/>
            <ac:spMk id="8" creationId="{9DF27481-03DD-D88B-D221-CA9A8BD55E7D}"/>
          </ac:spMkLst>
        </pc:spChg>
        <pc:spChg chg="mod">
          <ac:chgData name="Zhizi Wen" userId="b804997a-63ad-4c7f-9308-31a917908f04" providerId="ADAL" clId="{B10B7B39-2ABD-4C62-8983-C68601FCF583}" dt="2023-03-12T16:06:55.293" v="5303" actId="1036"/>
          <ac:spMkLst>
            <pc:docMk/>
            <pc:sldMk cId="1935823479" sldId="461"/>
            <ac:spMk id="9" creationId="{E20AA695-7706-0067-1672-3305255F0C50}"/>
          </ac:spMkLst>
        </pc:spChg>
        <pc:spChg chg="mod">
          <ac:chgData name="Zhizi Wen" userId="b804997a-63ad-4c7f-9308-31a917908f04" providerId="ADAL" clId="{B10B7B39-2ABD-4C62-8983-C68601FCF583}" dt="2023-03-12T16:06:55.293" v="5303" actId="1036"/>
          <ac:spMkLst>
            <pc:docMk/>
            <pc:sldMk cId="1935823479" sldId="461"/>
            <ac:spMk id="10" creationId="{F4BB34C1-4621-72B9-420C-60378EB82964}"/>
          </ac:spMkLst>
        </pc:spChg>
        <pc:spChg chg="mod">
          <ac:chgData name="Zhizi Wen" userId="b804997a-63ad-4c7f-9308-31a917908f04" providerId="ADAL" clId="{B10B7B39-2ABD-4C62-8983-C68601FCF583}" dt="2023-03-12T16:06:55.293" v="5303" actId="1036"/>
          <ac:spMkLst>
            <pc:docMk/>
            <pc:sldMk cId="1935823479" sldId="461"/>
            <ac:spMk id="11" creationId="{0EC5A77C-6968-3140-5531-246EEC7D31FE}"/>
          </ac:spMkLst>
        </pc:spChg>
        <pc:spChg chg="mod">
          <ac:chgData name="Zhizi Wen" userId="b804997a-63ad-4c7f-9308-31a917908f04" providerId="ADAL" clId="{B10B7B39-2ABD-4C62-8983-C68601FCF583}" dt="2023-03-12T16:06:55.293" v="5303" actId="1036"/>
          <ac:spMkLst>
            <pc:docMk/>
            <pc:sldMk cId="1935823479" sldId="461"/>
            <ac:spMk id="12" creationId="{E77991CF-1CF2-2A7E-9E6D-2B67698BA382}"/>
          </ac:spMkLst>
        </pc:spChg>
        <pc:spChg chg="mod">
          <ac:chgData name="Zhizi Wen" userId="b804997a-63ad-4c7f-9308-31a917908f04" providerId="ADAL" clId="{B10B7B39-2ABD-4C62-8983-C68601FCF583}" dt="2023-03-12T16:06:48.312" v="5293" actId="1076"/>
          <ac:spMkLst>
            <pc:docMk/>
            <pc:sldMk cId="1935823479" sldId="461"/>
            <ac:spMk id="17" creationId="{321B00DA-0C54-1DFD-FF85-36DC175FF2E1}"/>
          </ac:spMkLst>
        </pc:spChg>
        <pc:spChg chg="mod">
          <ac:chgData name="Zhizi Wen" userId="b804997a-63ad-4c7f-9308-31a917908f04" providerId="ADAL" clId="{B10B7B39-2ABD-4C62-8983-C68601FCF583}" dt="2023-03-12T16:06:43.895" v="5292" actId="1076"/>
          <ac:spMkLst>
            <pc:docMk/>
            <pc:sldMk cId="1935823479" sldId="461"/>
            <ac:spMk id="21" creationId="{8DB80EA5-9653-305E-BC65-CB041F34AB12}"/>
          </ac:spMkLst>
        </pc:spChg>
        <pc:spChg chg="mod">
          <ac:chgData name="Zhizi Wen" userId="b804997a-63ad-4c7f-9308-31a917908f04" providerId="ADAL" clId="{B10B7B39-2ABD-4C62-8983-C68601FCF583}" dt="2023-03-12T19:29:00.962" v="6929" actId="1076"/>
          <ac:spMkLst>
            <pc:docMk/>
            <pc:sldMk cId="1935823479" sldId="461"/>
            <ac:spMk id="22" creationId="{A766D317-FA3A-2906-C098-6CE25A4ED5B7}"/>
          </ac:spMkLst>
        </pc:spChg>
        <pc:spChg chg="mod">
          <ac:chgData name="Zhizi Wen" userId="b804997a-63ad-4c7f-9308-31a917908f04" providerId="ADAL" clId="{B10B7B39-2ABD-4C62-8983-C68601FCF583}" dt="2023-03-12T19:29:07.983" v="6930" actId="1076"/>
          <ac:spMkLst>
            <pc:docMk/>
            <pc:sldMk cId="1935823479" sldId="461"/>
            <ac:spMk id="23" creationId="{E2E54F89-0027-0F5F-A785-EB24F45D2E4F}"/>
          </ac:spMkLst>
        </pc:spChg>
        <pc:spChg chg="mod">
          <ac:chgData name="Zhizi Wen" userId="b804997a-63ad-4c7f-9308-31a917908f04" providerId="ADAL" clId="{B10B7B39-2ABD-4C62-8983-C68601FCF583}" dt="2023-03-12T21:23:03.263" v="7241" actId="403"/>
          <ac:spMkLst>
            <pc:docMk/>
            <pc:sldMk cId="1935823479" sldId="461"/>
            <ac:spMk id="24" creationId="{CEA5BA0A-8E35-423E-EF8F-75E8E3AD000C}"/>
          </ac:spMkLst>
        </pc:spChg>
        <pc:spChg chg="mod">
          <ac:chgData name="Zhizi Wen" userId="b804997a-63ad-4c7f-9308-31a917908f04" providerId="ADAL" clId="{B10B7B39-2ABD-4C62-8983-C68601FCF583}" dt="2023-03-12T21:23:03.263" v="7241" actId="403"/>
          <ac:spMkLst>
            <pc:docMk/>
            <pc:sldMk cId="1935823479" sldId="461"/>
            <ac:spMk id="26" creationId="{92EA6FF6-DF24-58DA-E183-126FCA886E2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izi Wen" userId="b804997a-63ad-4c7f-9308-31a917908f04" providerId="ADAL" clId="{B10B7B39-2ABD-4C62-8983-C68601FCF583}" dt="2023-03-12T19:57:03.881" v="6978"/>
              <pc2:cmMkLst xmlns:pc2="http://schemas.microsoft.com/office/powerpoint/2019/9/main/command">
                <pc:docMk/>
                <pc:sldMk cId="1935823479" sldId="461"/>
                <pc2:cmMk id="{945CF8A1-8429-4942-98DF-2EC27F65D17A}"/>
              </pc2:cmMkLst>
            </pc226:cmChg>
            <pc226:cmChg xmlns:pc226="http://schemas.microsoft.com/office/powerpoint/2022/06/main/command" chg="add mod">
              <pc226:chgData name="Zhizi Wen" userId="b804997a-63ad-4c7f-9308-31a917908f04" providerId="ADAL" clId="{B10B7B39-2ABD-4C62-8983-C68601FCF583}" dt="2023-03-12T19:57:20.600" v="6979"/>
              <pc2:cmMkLst xmlns:pc2="http://schemas.microsoft.com/office/powerpoint/2019/9/main/command">
                <pc:docMk/>
                <pc:sldMk cId="1935823479" sldId="461"/>
                <pc2:cmMk id="{F5EDD7AC-146C-4CB1-B0D1-90B19B3FADA3}"/>
              </pc2:cmMkLst>
            </pc226:cmChg>
          </p:ext>
        </pc:extLst>
      </pc:sldChg>
      <pc:sldChg chg="modSp mod">
        <pc:chgData name="Zhizi Wen" userId="b804997a-63ad-4c7f-9308-31a917908f04" providerId="ADAL" clId="{B10B7B39-2ABD-4C62-8983-C68601FCF583}" dt="2023-03-12T20:00:31.071" v="6985" actId="20577"/>
        <pc:sldMkLst>
          <pc:docMk/>
          <pc:sldMk cId="2255513899" sldId="462"/>
        </pc:sldMkLst>
        <pc:spChg chg="mod">
          <ac:chgData name="Zhizi Wen" userId="b804997a-63ad-4c7f-9308-31a917908f04" providerId="ADAL" clId="{B10B7B39-2ABD-4C62-8983-C68601FCF583}" dt="2023-03-12T16:03:00.093" v="5268" actId="108"/>
          <ac:spMkLst>
            <pc:docMk/>
            <pc:sldMk cId="2255513899" sldId="462"/>
            <ac:spMk id="7" creationId="{77755B5F-5B92-9175-C19B-E27003856FAD}"/>
          </ac:spMkLst>
        </pc:spChg>
        <pc:spChg chg="mod">
          <ac:chgData name="Zhizi Wen" userId="b804997a-63ad-4c7f-9308-31a917908f04" providerId="ADAL" clId="{B10B7B39-2ABD-4C62-8983-C68601FCF583}" dt="2023-03-12T20:00:28.439" v="6982" actId="20577"/>
          <ac:spMkLst>
            <pc:docMk/>
            <pc:sldMk cId="2255513899" sldId="462"/>
            <ac:spMk id="20" creationId="{D4FC2B63-E7E7-12F9-1D6B-98845D1B1D2B}"/>
          </ac:spMkLst>
        </pc:spChg>
        <pc:spChg chg="mod">
          <ac:chgData name="Zhizi Wen" userId="b804997a-63ad-4c7f-9308-31a917908f04" providerId="ADAL" clId="{B10B7B39-2ABD-4C62-8983-C68601FCF583}" dt="2023-03-12T20:00:31.071" v="6985" actId="20577"/>
          <ac:spMkLst>
            <pc:docMk/>
            <pc:sldMk cId="2255513899" sldId="462"/>
            <ac:spMk id="21" creationId="{E4F597D5-8DF0-CAFD-461E-060B703D5DD2}"/>
          </ac:spMkLst>
        </pc:spChg>
      </pc:sldChg>
      <pc:sldChg chg="addSp delSp modSp mod modClrScheme chgLayout">
        <pc:chgData name="Zhizi Wen" userId="b804997a-63ad-4c7f-9308-31a917908f04" providerId="ADAL" clId="{B10B7B39-2ABD-4C62-8983-C68601FCF583}" dt="2023-03-12T20:01:30.127" v="6987" actId="20577"/>
        <pc:sldMkLst>
          <pc:docMk/>
          <pc:sldMk cId="2866409584" sldId="463"/>
        </pc:sldMkLst>
        <pc:spChg chg="mod ord">
          <ac:chgData name="Zhizi Wen" userId="b804997a-63ad-4c7f-9308-31a917908f04" providerId="ADAL" clId="{B10B7B39-2ABD-4C62-8983-C68601FCF583}" dt="2023-03-12T16:03:17.800" v="5271" actId="700"/>
          <ac:spMkLst>
            <pc:docMk/>
            <pc:sldMk cId="2866409584" sldId="463"/>
            <ac:spMk id="2" creationId="{ED6C46B3-551E-EB4A-1B19-8431C04D399B}"/>
          </ac:spMkLst>
        </pc:spChg>
        <pc:spChg chg="mod">
          <ac:chgData name="Zhizi Wen" userId="b804997a-63ad-4c7f-9308-31a917908f04" providerId="ADAL" clId="{B10B7B39-2ABD-4C62-8983-C68601FCF583}" dt="2023-03-12T16:03:22.174" v="5272" actId="1076"/>
          <ac:spMkLst>
            <pc:docMk/>
            <pc:sldMk cId="2866409584" sldId="463"/>
            <ac:spMk id="7" creationId="{77755B5F-5B92-9175-C19B-E27003856FAD}"/>
          </ac:spMkLst>
        </pc:spChg>
        <pc:spChg chg="add del mod ord">
          <ac:chgData name="Zhizi Wen" userId="b804997a-63ad-4c7f-9308-31a917908f04" providerId="ADAL" clId="{B10B7B39-2ABD-4C62-8983-C68601FCF583}" dt="2023-03-12T16:03:17.800" v="5271" actId="700"/>
          <ac:spMkLst>
            <pc:docMk/>
            <pc:sldMk cId="2866409584" sldId="463"/>
            <ac:spMk id="10" creationId="{DCD05728-857C-BAAD-66DC-FFE1434F3E1C}"/>
          </ac:spMkLst>
        </pc:spChg>
        <pc:spChg chg="mod">
          <ac:chgData name="Zhizi Wen" userId="b804997a-63ad-4c7f-9308-31a917908f04" providerId="ADAL" clId="{B10B7B39-2ABD-4C62-8983-C68601FCF583}" dt="2023-03-12T17:55:13.807" v="5323" actId="1036"/>
          <ac:spMkLst>
            <pc:docMk/>
            <pc:sldMk cId="2866409584" sldId="463"/>
            <ac:spMk id="12" creationId="{8D357758-4FEB-B762-246C-27DCEC51BF63}"/>
          </ac:spMkLst>
        </pc:spChg>
        <pc:spChg chg="mod">
          <ac:chgData name="Zhizi Wen" userId="b804997a-63ad-4c7f-9308-31a917908f04" providerId="ADAL" clId="{B10B7B39-2ABD-4C62-8983-C68601FCF583}" dt="2023-03-12T20:01:24.620" v="6986" actId="20577"/>
          <ac:spMkLst>
            <pc:docMk/>
            <pc:sldMk cId="2866409584" sldId="463"/>
            <ac:spMk id="14" creationId="{36524B13-3083-EE3D-7344-3BA9222A0038}"/>
          </ac:spMkLst>
        </pc:spChg>
        <pc:spChg chg="add del mod ord">
          <ac:chgData name="Zhizi Wen" userId="b804997a-63ad-4c7f-9308-31a917908f04" providerId="ADAL" clId="{B10B7B39-2ABD-4C62-8983-C68601FCF583}" dt="2023-03-12T16:03:17.800" v="5271" actId="700"/>
          <ac:spMkLst>
            <pc:docMk/>
            <pc:sldMk cId="2866409584" sldId="463"/>
            <ac:spMk id="18" creationId="{78951315-158E-2808-CAC8-CF5B3A5DBFED}"/>
          </ac:spMkLst>
        </pc:spChg>
        <pc:spChg chg="add del mod ord">
          <ac:chgData name="Zhizi Wen" userId="b804997a-63ad-4c7f-9308-31a917908f04" providerId="ADAL" clId="{B10B7B39-2ABD-4C62-8983-C68601FCF583}" dt="2023-03-12T16:03:17.800" v="5271" actId="700"/>
          <ac:spMkLst>
            <pc:docMk/>
            <pc:sldMk cId="2866409584" sldId="463"/>
            <ac:spMk id="22" creationId="{EAA2AC73-E8FF-725B-B60E-50E7F6C2BCB3}"/>
          </ac:spMkLst>
        </pc:spChg>
        <pc:spChg chg="mod">
          <ac:chgData name="Zhizi Wen" userId="b804997a-63ad-4c7f-9308-31a917908f04" providerId="ADAL" clId="{B10B7B39-2ABD-4C62-8983-C68601FCF583}" dt="2023-03-12T17:55:30.121" v="5325" actId="20577"/>
          <ac:spMkLst>
            <pc:docMk/>
            <pc:sldMk cId="2866409584" sldId="463"/>
            <ac:spMk id="49" creationId="{C2D251FA-5B20-E766-32CF-774E1A12EBC7}"/>
          </ac:spMkLst>
        </pc:spChg>
        <pc:spChg chg="mod">
          <ac:chgData name="Zhizi Wen" userId="b804997a-63ad-4c7f-9308-31a917908f04" providerId="ADAL" clId="{B10B7B39-2ABD-4C62-8983-C68601FCF583}" dt="2023-03-12T20:01:30.127" v="6987" actId="20577"/>
          <ac:spMkLst>
            <pc:docMk/>
            <pc:sldMk cId="2866409584" sldId="463"/>
            <ac:spMk id="51" creationId="{18886323-BEEE-8EAE-F32E-209EFCAB56D6}"/>
          </ac:spMkLst>
        </pc:spChg>
        <pc:spChg chg="mod">
          <ac:chgData name="Zhizi Wen" userId="b804997a-63ad-4c7f-9308-31a917908f04" providerId="ADAL" clId="{B10B7B39-2ABD-4C62-8983-C68601FCF583}" dt="2023-03-12T17:55:13.807" v="5323" actId="1036"/>
          <ac:spMkLst>
            <pc:docMk/>
            <pc:sldMk cId="2866409584" sldId="463"/>
            <ac:spMk id="54" creationId="{2BD66993-A970-317F-9AE8-7315DE173F59}"/>
          </ac:spMkLst>
        </pc:spChg>
        <pc:graphicFrameChg chg="modGraphic">
          <ac:chgData name="Zhizi Wen" userId="b804997a-63ad-4c7f-9308-31a917908f04" providerId="ADAL" clId="{B10B7B39-2ABD-4C62-8983-C68601FCF583}" dt="2023-03-12T19:01:20.012" v="6910" actId="2062"/>
          <ac:graphicFrameMkLst>
            <pc:docMk/>
            <pc:sldMk cId="2866409584" sldId="463"/>
            <ac:graphicFrameMk id="10" creationId="{9D2FE82C-A508-B4E7-6DC1-12C70F41D85D}"/>
          </ac:graphicFrameMkLst>
        </pc:graphicFrameChg>
        <pc:graphicFrameChg chg="modGraphic">
          <ac:chgData name="Zhizi Wen" userId="b804997a-63ad-4c7f-9308-31a917908f04" providerId="ADAL" clId="{B10B7B39-2ABD-4C62-8983-C68601FCF583}" dt="2023-03-12T19:01:25.094" v="6912" actId="2062"/>
          <ac:graphicFrameMkLst>
            <pc:docMk/>
            <pc:sldMk cId="2866409584" sldId="463"/>
            <ac:graphicFrameMk id="17" creationId="{1A72981D-85A2-0BDE-D0D9-3C526F5FD55B}"/>
          </ac:graphicFrameMkLst>
        </pc:graphicFrameChg>
      </pc:sldChg>
      <pc:sldChg chg="modSp mod">
        <pc:chgData name="Zhizi Wen" userId="b804997a-63ad-4c7f-9308-31a917908f04" providerId="ADAL" clId="{B10B7B39-2ABD-4C62-8983-C68601FCF583}" dt="2023-03-12T16:04:11.048" v="5287" actId="1038"/>
        <pc:sldMkLst>
          <pc:docMk/>
          <pc:sldMk cId="1610430565" sldId="466"/>
        </pc:sldMkLst>
        <pc:spChg chg="mod">
          <ac:chgData name="Zhizi Wen" userId="b804997a-63ad-4c7f-9308-31a917908f04" providerId="ADAL" clId="{B10B7B39-2ABD-4C62-8983-C68601FCF583}" dt="2023-03-12T16:04:03.230" v="5280" actId="1038"/>
          <ac:spMkLst>
            <pc:docMk/>
            <pc:sldMk cId="1610430565" sldId="466"/>
            <ac:spMk id="22" creationId="{45C4492B-81F3-C8F9-C8C4-B07E84CAB7F4}"/>
          </ac:spMkLst>
        </pc:spChg>
        <pc:spChg chg="mod">
          <ac:chgData name="Zhizi Wen" userId="b804997a-63ad-4c7f-9308-31a917908f04" providerId="ADAL" clId="{B10B7B39-2ABD-4C62-8983-C68601FCF583}" dt="2023-03-12T16:04:03.230" v="5280" actId="1038"/>
          <ac:spMkLst>
            <pc:docMk/>
            <pc:sldMk cId="1610430565" sldId="466"/>
            <ac:spMk id="23" creationId="{05DDE25B-51F1-D0E1-6C59-34A73D2B892B}"/>
          </ac:spMkLst>
        </pc:spChg>
        <pc:spChg chg="mod">
          <ac:chgData name="Zhizi Wen" userId="b804997a-63ad-4c7f-9308-31a917908f04" providerId="ADAL" clId="{B10B7B39-2ABD-4C62-8983-C68601FCF583}" dt="2023-03-12T16:04:03.230" v="5280" actId="1038"/>
          <ac:spMkLst>
            <pc:docMk/>
            <pc:sldMk cId="1610430565" sldId="466"/>
            <ac:spMk id="24" creationId="{9B54641F-D5E5-CF13-ED20-525296D1786B}"/>
          </ac:spMkLst>
        </pc:spChg>
        <pc:spChg chg="mod">
          <ac:chgData name="Zhizi Wen" userId="b804997a-63ad-4c7f-9308-31a917908f04" providerId="ADAL" clId="{B10B7B39-2ABD-4C62-8983-C68601FCF583}" dt="2023-03-12T16:04:11.048" v="5287" actId="1038"/>
          <ac:spMkLst>
            <pc:docMk/>
            <pc:sldMk cId="1610430565" sldId="466"/>
            <ac:spMk id="26" creationId="{70020BB5-B308-A2E2-F4C8-90579362E27E}"/>
          </ac:spMkLst>
        </pc:spChg>
        <pc:spChg chg="mod">
          <ac:chgData name="Zhizi Wen" userId="b804997a-63ad-4c7f-9308-31a917908f04" providerId="ADAL" clId="{B10B7B39-2ABD-4C62-8983-C68601FCF583}" dt="2023-03-12T16:04:11.048" v="5287" actId="1038"/>
          <ac:spMkLst>
            <pc:docMk/>
            <pc:sldMk cId="1610430565" sldId="466"/>
            <ac:spMk id="28" creationId="{021F9344-DF2C-5C22-6319-F615685D7A06}"/>
          </ac:spMkLst>
        </pc:spChg>
        <pc:spChg chg="mod">
          <ac:chgData name="Zhizi Wen" userId="b804997a-63ad-4c7f-9308-31a917908f04" providerId="ADAL" clId="{B10B7B39-2ABD-4C62-8983-C68601FCF583}" dt="2023-03-12T16:04:11.048" v="5287" actId="1038"/>
          <ac:spMkLst>
            <pc:docMk/>
            <pc:sldMk cId="1610430565" sldId="466"/>
            <ac:spMk id="30" creationId="{09670C48-1A79-65FA-36CD-F7D15F34C862}"/>
          </ac:spMkLst>
        </pc:spChg>
      </pc:sldChg>
      <pc:sldChg chg="addSp delSp modSp new mod modClrScheme chgLayout">
        <pc:chgData name="Zhizi Wen" userId="b804997a-63ad-4c7f-9308-31a917908f04" providerId="ADAL" clId="{B10B7B39-2ABD-4C62-8983-C68601FCF583}" dt="2023-03-12T12:42:10.908" v="5260" actId="20577"/>
        <pc:sldMkLst>
          <pc:docMk/>
          <pc:sldMk cId="352037524" sldId="467"/>
        </pc:sldMkLst>
        <pc:spChg chg="mod ord">
          <ac:chgData name="Zhizi Wen" userId="b804997a-63ad-4c7f-9308-31a917908f04" providerId="ADAL" clId="{B10B7B39-2ABD-4C62-8983-C68601FCF583}" dt="2023-03-12T12:20:42.411" v="5234" actId="700"/>
          <ac:spMkLst>
            <pc:docMk/>
            <pc:sldMk cId="352037524" sldId="467"/>
            <ac:spMk id="2" creationId="{6282EAE4-2CCD-0135-0B8E-442345984C3C}"/>
          </ac:spMkLst>
        </pc:spChg>
        <pc:spChg chg="del">
          <ac:chgData name="Zhizi Wen" userId="b804997a-63ad-4c7f-9308-31a917908f04" providerId="ADAL" clId="{B10B7B39-2ABD-4C62-8983-C68601FCF583}" dt="2023-03-12T12:20:35.580" v="5233" actId="700"/>
          <ac:spMkLst>
            <pc:docMk/>
            <pc:sldMk cId="352037524" sldId="467"/>
            <ac:spMk id="3" creationId="{983CE238-7E26-468F-8E14-810574DB0D15}"/>
          </ac:spMkLst>
        </pc:spChg>
        <pc:spChg chg="mod ord">
          <ac:chgData name="Zhizi Wen" userId="b804997a-63ad-4c7f-9308-31a917908f04" providerId="ADAL" clId="{B10B7B39-2ABD-4C62-8983-C68601FCF583}" dt="2023-03-12T12:20:42.411" v="5234" actId="700"/>
          <ac:spMkLst>
            <pc:docMk/>
            <pc:sldMk cId="352037524" sldId="467"/>
            <ac:spMk id="4" creationId="{1623A207-55F1-CC9C-EFA3-085F713AA7A1}"/>
          </ac:spMkLst>
        </pc:spChg>
        <pc:spChg chg="add del mod ord">
          <ac:chgData name="Zhizi Wen" userId="b804997a-63ad-4c7f-9308-31a917908f04" providerId="ADAL" clId="{B10B7B39-2ABD-4C62-8983-C68601FCF583}" dt="2023-03-12T12:20:42.411" v="5234" actId="700"/>
          <ac:spMkLst>
            <pc:docMk/>
            <pc:sldMk cId="352037524" sldId="467"/>
            <ac:spMk id="5" creationId="{23407BA3-8E51-B01B-3665-934BC616757A}"/>
          </ac:spMkLst>
        </pc:spChg>
        <pc:spChg chg="add del mod ord">
          <ac:chgData name="Zhizi Wen" userId="b804997a-63ad-4c7f-9308-31a917908f04" providerId="ADAL" clId="{B10B7B39-2ABD-4C62-8983-C68601FCF583}" dt="2023-03-12T12:20:42.411" v="5234" actId="700"/>
          <ac:spMkLst>
            <pc:docMk/>
            <pc:sldMk cId="352037524" sldId="467"/>
            <ac:spMk id="6" creationId="{D3AA8FEF-E159-C164-72D5-1FA31D0CBFB8}"/>
          </ac:spMkLst>
        </pc:spChg>
        <pc:spChg chg="add del mod ord">
          <ac:chgData name="Zhizi Wen" userId="b804997a-63ad-4c7f-9308-31a917908f04" providerId="ADAL" clId="{B10B7B39-2ABD-4C62-8983-C68601FCF583}" dt="2023-03-12T12:20:42.411" v="5234" actId="700"/>
          <ac:spMkLst>
            <pc:docMk/>
            <pc:sldMk cId="352037524" sldId="467"/>
            <ac:spMk id="7" creationId="{B28CB49A-73CF-D4ED-9BD3-69611576EEB7}"/>
          </ac:spMkLst>
        </pc:spChg>
        <pc:spChg chg="add mod ord">
          <ac:chgData name="Zhizi Wen" userId="b804997a-63ad-4c7f-9308-31a917908f04" providerId="ADAL" clId="{B10B7B39-2ABD-4C62-8983-C68601FCF583}" dt="2023-03-12T12:42:10.908" v="5260" actId="20577"/>
          <ac:spMkLst>
            <pc:docMk/>
            <pc:sldMk cId="352037524" sldId="467"/>
            <ac:spMk id="8" creationId="{D0FAD2DF-C0FA-2DA5-14E7-43EEC27D6EB8}"/>
          </ac:spMkLst>
        </pc:spChg>
        <pc:spChg chg="add mod ord">
          <ac:chgData name="Zhizi Wen" userId="b804997a-63ad-4c7f-9308-31a917908f04" providerId="ADAL" clId="{B10B7B39-2ABD-4C62-8983-C68601FCF583}" dt="2023-03-12T12:20:42.411" v="5234" actId="700"/>
          <ac:spMkLst>
            <pc:docMk/>
            <pc:sldMk cId="352037524" sldId="467"/>
            <ac:spMk id="9" creationId="{15320D16-7752-637A-72DF-7D0A508A334C}"/>
          </ac:spMkLst>
        </pc:spChg>
      </pc:sldChg>
      <pc:sldChg chg="modSp mod">
        <pc:chgData name="Zhizi Wen" userId="b804997a-63ad-4c7f-9308-31a917908f04" providerId="ADAL" clId="{B10B7B39-2ABD-4C62-8983-C68601FCF583}" dt="2023-03-12T19:00:50.042" v="6908" actId="2062"/>
        <pc:sldMkLst>
          <pc:docMk/>
          <pc:sldMk cId="37830688" sldId="468"/>
        </pc:sldMkLst>
        <pc:graphicFrameChg chg="mod modGraphic">
          <ac:chgData name="Zhizi Wen" userId="b804997a-63ad-4c7f-9308-31a917908f04" providerId="ADAL" clId="{B10B7B39-2ABD-4C62-8983-C68601FCF583}" dt="2023-03-12T19:00:50.042" v="6908" actId="2062"/>
          <ac:graphicFrameMkLst>
            <pc:docMk/>
            <pc:sldMk cId="37830688" sldId="468"/>
            <ac:graphicFrameMk id="6" creationId="{6DA70F5C-C36A-0908-15F7-DCADB4D18BD9}"/>
          </ac:graphicFrameMkLst>
        </pc:graphicFrameChg>
      </pc:sldChg>
      <pc:sldChg chg="modSp mod addCm modCm">
        <pc:chgData name="Zhizi Wen" userId="b804997a-63ad-4c7f-9308-31a917908f04" providerId="ADAL" clId="{B10B7B39-2ABD-4C62-8983-C68601FCF583}" dt="2023-03-12T20:04:12.199" v="6988"/>
        <pc:sldMkLst>
          <pc:docMk/>
          <pc:sldMk cId="4024365205" sldId="469"/>
        </pc:sldMkLst>
        <pc:spChg chg="mod">
          <ac:chgData name="Zhizi Wen" userId="b804997a-63ad-4c7f-9308-31a917908f04" providerId="ADAL" clId="{B10B7B39-2ABD-4C62-8983-C68601FCF583}" dt="2023-03-12T19:01:39.680" v="6917" actId="20577"/>
          <ac:spMkLst>
            <pc:docMk/>
            <pc:sldMk cId="4024365205" sldId="469"/>
            <ac:spMk id="3" creationId="{8D59EEA6-6D0B-3DB0-6732-138CB214717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Zhizi Wen" userId="b804997a-63ad-4c7f-9308-31a917908f04" providerId="ADAL" clId="{B10B7B39-2ABD-4C62-8983-C68601FCF583}" dt="2023-03-12T20:04:12.199" v="6988"/>
              <pc2:cmMkLst xmlns:pc2="http://schemas.microsoft.com/office/powerpoint/2019/9/main/command">
                <pc:docMk/>
                <pc:sldMk cId="4024365205" sldId="469"/>
                <pc2:cmMk id="{71915EA6-0061-45D1-83A3-4402490C989D}"/>
              </pc2:cmMkLst>
            </pc226:cmChg>
          </p:ext>
        </pc:extLst>
      </pc:sldChg>
      <pc:sldChg chg="ord">
        <pc:chgData name="Zhizi Wen" userId="b804997a-63ad-4c7f-9308-31a917908f04" providerId="ADAL" clId="{B10B7B39-2ABD-4C62-8983-C68601FCF583}" dt="2023-03-13T10:55:23.681" v="10366"/>
        <pc:sldMkLst>
          <pc:docMk/>
          <pc:sldMk cId="2567389131" sldId="470"/>
        </pc:sldMkLst>
      </pc:sldChg>
      <pc:sldChg chg="modSp mod addCm">
        <pc:chgData name="Zhizi Wen" userId="b804997a-63ad-4c7f-9308-31a917908f04" providerId="ADAL" clId="{B10B7B39-2ABD-4C62-8983-C68601FCF583}" dt="2023-03-12T21:25:35.378" v="7245" actId="688"/>
        <pc:sldMkLst>
          <pc:docMk/>
          <pc:sldMk cId="1517247070" sldId="471"/>
        </pc:sldMkLst>
        <pc:picChg chg="mod">
          <ac:chgData name="Zhizi Wen" userId="b804997a-63ad-4c7f-9308-31a917908f04" providerId="ADAL" clId="{B10B7B39-2ABD-4C62-8983-C68601FCF583}" dt="2023-03-12T21:25:31.034" v="7244" actId="688"/>
          <ac:picMkLst>
            <pc:docMk/>
            <pc:sldMk cId="1517247070" sldId="471"/>
            <ac:picMk id="10" creationId="{4A367D47-3503-B877-E629-E34A51F92BE0}"/>
          </ac:picMkLst>
        </pc:picChg>
        <pc:picChg chg="mod">
          <ac:chgData name="Zhizi Wen" userId="b804997a-63ad-4c7f-9308-31a917908f04" providerId="ADAL" clId="{B10B7B39-2ABD-4C62-8983-C68601FCF583}" dt="2023-03-12T21:25:35.378" v="7245" actId="688"/>
          <ac:picMkLst>
            <pc:docMk/>
            <pc:sldMk cId="1517247070" sldId="471"/>
            <ac:picMk id="12" creationId="{3B632815-F60F-6085-EBF1-ED4B0656DF25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izi Wen" userId="b804997a-63ad-4c7f-9308-31a917908f04" providerId="ADAL" clId="{B10B7B39-2ABD-4C62-8983-C68601FCF583}" dt="2023-03-12T21:24:43.784" v="7242"/>
              <pc2:cmMkLst xmlns:pc2="http://schemas.microsoft.com/office/powerpoint/2019/9/main/command">
                <pc:docMk/>
                <pc:sldMk cId="1517247070" sldId="471"/>
                <pc2:cmMk id="{D5100408-4242-437A-B696-E093EF0BADC9}"/>
              </pc2:cmMkLst>
            </pc226:cmChg>
            <pc226:cmChg xmlns:pc226="http://schemas.microsoft.com/office/powerpoint/2022/06/main/command" chg="add">
              <pc226:chgData name="Zhizi Wen" userId="b804997a-63ad-4c7f-9308-31a917908f04" providerId="ADAL" clId="{B10B7B39-2ABD-4C62-8983-C68601FCF583}" dt="2023-03-12T16:06:04.478" v="5288"/>
              <pc2:cmMkLst xmlns:pc2="http://schemas.microsoft.com/office/powerpoint/2019/9/main/command">
                <pc:docMk/>
                <pc:sldMk cId="1517247070" sldId="471"/>
                <pc2:cmMk id="{F3120616-89A3-4AD9-BB43-0F011360DA08}"/>
              </pc2:cmMkLst>
            </pc226:cmChg>
          </p:ext>
        </pc:extLst>
      </pc:sldChg>
      <pc:sldChg chg="modSp mod addCm">
        <pc:chgData name="Zhizi Wen" userId="b804997a-63ad-4c7f-9308-31a917908f04" providerId="ADAL" clId="{B10B7B39-2ABD-4C62-8983-C68601FCF583}" dt="2023-03-12T21:52:27.322" v="7465" actId="20577"/>
        <pc:sldMkLst>
          <pc:docMk/>
          <pc:sldMk cId="1284442770" sldId="472"/>
        </pc:sldMkLst>
        <pc:spChg chg="mod">
          <ac:chgData name="Zhizi Wen" userId="b804997a-63ad-4c7f-9308-31a917908f04" providerId="ADAL" clId="{B10B7B39-2ABD-4C62-8983-C68601FCF583}" dt="2023-03-12T21:52:27.322" v="7465" actId="20577"/>
          <ac:spMkLst>
            <pc:docMk/>
            <pc:sldMk cId="1284442770" sldId="472"/>
            <ac:spMk id="7" creationId="{77755B5F-5B92-9175-C19B-E27003856FA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izi Wen" userId="b804997a-63ad-4c7f-9308-31a917908f04" providerId="ADAL" clId="{B10B7B39-2ABD-4C62-8983-C68601FCF583}" dt="2023-03-12T19:28:35.157" v="6927"/>
              <pc2:cmMkLst xmlns:pc2="http://schemas.microsoft.com/office/powerpoint/2019/9/main/command">
                <pc:docMk/>
                <pc:sldMk cId="1284442770" sldId="472"/>
                <pc2:cmMk id="{5A40A181-2497-4F99-AA4A-EA266A83E216}"/>
              </pc2:cmMkLst>
            </pc226:cmChg>
          </p:ext>
        </pc:extLst>
      </pc:sldChg>
      <pc:sldChg chg="modSp mod addCm">
        <pc:chgData name="Zhizi Wen" userId="b804997a-63ad-4c7f-9308-31a917908f04" providerId="ADAL" clId="{B10B7B39-2ABD-4C62-8983-C68601FCF583}" dt="2023-03-12T20:48:29.874" v="7074" actId="14100"/>
        <pc:sldMkLst>
          <pc:docMk/>
          <pc:sldMk cId="1715379756" sldId="473"/>
        </pc:sldMkLst>
        <pc:spChg chg="mod">
          <ac:chgData name="Zhizi Wen" userId="b804997a-63ad-4c7f-9308-31a917908f04" providerId="ADAL" clId="{B10B7B39-2ABD-4C62-8983-C68601FCF583}" dt="2023-03-12T20:48:29.874" v="7074" actId="14100"/>
          <ac:spMkLst>
            <pc:docMk/>
            <pc:sldMk cId="1715379756" sldId="473"/>
            <ac:spMk id="31" creationId="{AF8FB2E4-44F4-A2A4-1A59-D391A727F29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izi Wen" userId="b804997a-63ad-4c7f-9308-31a917908f04" providerId="ADAL" clId="{B10B7B39-2ABD-4C62-8983-C68601FCF583}" dt="2023-03-12T18:07:37.787" v="5326"/>
              <pc2:cmMkLst xmlns:pc2="http://schemas.microsoft.com/office/powerpoint/2019/9/main/command">
                <pc:docMk/>
                <pc:sldMk cId="1715379756" sldId="473"/>
                <pc2:cmMk id="{51EB9D37-95BE-45B1-98C0-CF3F96E3175F}"/>
              </pc2:cmMkLst>
            </pc226:cmChg>
          </p:ext>
        </pc:extLst>
      </pc:sldChg>
      <pc:sldChg chg="modSp mod">
        <pc:chgData name="Zhizi Wen" userId="b804997a-63ad-4c7f-9308-31a917908f04" providerId="ADAL" clId="{B10B7B39-2ABD-4C62-8983-C68601FCF583}" dt="2023-03-12T20:48:41.900" v="7079" actId="14100"/>
        <pc:sldMkLst>
          <pc:docMk/>
          <pc:sldMk cId="4276674024" sldId="478"/>
        </pc:sldMkLst>
        <pc:spChg chg="mod">
          <ac:chgData name="Zhizi Wen" userId="b804997a-63ad-4c7f-9308-31a917908f04" providerId="ADAL" clId="{B10B7B39-2ABD-4C62-8983-C68601FCF583}" dt="2023-03-12T20:48:41.900" v="7079" actId="14100"/>
          <ac:spMkLst>
            <pc:docMk/>
            <pc:sldMk cId="4276674024" sldId="478"/>
            <ac:spMk id="31" creationId="{AF8FB2E4-44F4-A2A4-1A59-D391A727F293}"/>
          </ac:spMkLst>
        </pc:spChg>
      </pc:sldChg>
      <pc:sldChg chg="addSp delSp modSp new del mod ord modClrScheme chgLayout">
        <pc:chgData name="Zhizi Wen" userId="b804997a-63ad-4c7f-9308-31a917908f04" providerId="ADAL" clId="{B10B7B39-2ABD-4C62-8983-C68601FCF583}" dt="2023-03-13T14:09:56.692" v="10375" actId="47"/>
        <pc:sldMkLst>
          <pc:docMk/>
          <pc:sldMk cId="4159921369" sldId="480"/>
        </pc:sldMkLst>
        <pc:spChg chg="del mod ord">
          <ac:chgData name="Zhizi Wen" userId="b804997a-63ad-4c7f-9308-31a917908f04" providerId="ADAL" clId="{B10B7B39-2ABD-4C62-8983-C68601FCF583}" dt="2023-03-12T18:37:17.286" v="5369" actId="700"/>
          <ac:spMkLst>
            <pc:docMk/>
            <pc:sldMk cId="4159921369" sldId="480"/>
            <ac:spMk id="2" creationId="{C936C640-FC89-405C-C366-B5F0F0B0B649}"/>
          </ac:spMkLst>
        </pc:spChg>
        <pc:spChg chg="del mod ord">
          <ac:chgData name="Zhizi Wen" userId="b804997a-63ad-4c7f-9308-31a917908f04" providerId="ADAL" clId="{B10B7B39-2ABD-4C62-8983-C68601FCF583}" dt="2023-03-12T18:37:17.286" v="5369" actId="700"/>
          <ac:spMkLst>
            <pc:docMk/>
            <pc:sldMk cId="4159921369" sldId="480"/>
            <ac:spMk id="3" creationId="{D512DB26-B58C-5DFB-47F5-14BE224C59F0}"/>
          </ac:spMkLst>
        </pc:spChg>
        <pc:spChg chg="add del mod ord">
          <ac:chgData name="Zhizi Wen" userId="b804997a-63ad-4c7f-9308-31a917908f04" providerId="ADAL" clId="{B10B7B39-2ABD-4C62-8983-C68601FCF583}" dt="2023-03-12T18:37:21.381" v="5370" actId="700"/>
          <ac:spMkLst>
            <pc:docMk/>
            <pc:sldMk cId="4159921369" sldId="480"/>
            <ac:spMk id="4" creationId="{886D45B9-4663-0B9B-D8F8-F1D8DDE97DF4}"/>
          </ac:spMkLst>
        </pc:spChg>
        <pc:spChg chg="add del mod ord">
          <ac:chgData name="Zhizi Wen" userId="b804997a-63ad-4c7f-9308-31a917908f04" providerId="ADAL" clId="{B10B7B39-2ABD-4C62-8983-C68601FCF583}" dt="2023-03-12T18:37:21.381" v="5370" actId="700"/>
          <ac:spMkLst>
            <pc:docMk/>
            <pc:sldMk cId="4159921369" sldId="480"/>
            <ac:spMk id="5" creationId="{BC0E3A92-885B-FCA1-172B-D94CF311A34F}"/>
          </ac:spMkLst>
        </pc:spChg>
        <pc:spChg chg="add del mod ord">
          <ac:chgData name="Zhizi Wen" userId="b804997a-63ad-4c7f-9308-31a917908f04" providerId="ADAL" clId="{B10B7B39-2ABD-4C62-8983-C68601FCF583}" dt="2023-03-12T18:37:21.381" v="5370" actId="700"/>
          <ac:spMkLst>
            <pc:docMk/>
            <pc:sldMk cId="4159921369" sldId="480"/>
            <ac:spMk id="6" creationId="{298C6621-313B-0E32-683A-CB2065C7E773}"/>
          </ac:spMkLst>
        </pc:spChg>
        <pc:spChg chg="add del mod ord">
          <ac:chgData name="Zhizi Wen" userId="b804997a-63ad-4c7f-9308-31a917908f04" providerId="ADAL" clId="{B10B7B39-2ABD-4C62-8983-C68601FCF583}" dt="2023-03-12T18:37:21.381" v="5370" actId="700"/>
          <ac:spMkLst>
            <pc:docMk/>
            <pc:sldMk cId="4159921369" sldId="480"/>
            <ac:spMk id="7" creationId="{32E41D49-0637-1918-94A7-3B5DDDA80871}"/>
          </ac:spMkLst>
        </pc:spChg>
        <pc:spChg chg="add mod ord">
          <ac:chgData name="Zhizi Wen" userId="b804997a-63ad-4c7f-9308-31a917908f04" providerId="ADAL" clId="{B10B7B39-2ABD-4C62-8983-C68601FCF583}" dt="2023-03-12T18:37:32.991" v="5398" actId="20577"/>
          <ac:spMkLst>
            <pc:docMk/>
            <pc:sldMk cId="4159921369" sldId="480"/>
            <ac:spMk id="8" creationId="{3C86ED45-28A4-DA9D-AC34-CD2CABCC5AE2}"/>
          </ac:spMkLst>
        </pc:spChg>
        <pc:spChg chg="add mod ord">
          <ac:chgData name="Zhizi Wen" userId="b804997a-63ad-4c7f-9308-31a917908f04" providerId="ADAL" clId="{B10B7B39-2ABD-4C62-8983-C68601FCF583}" dt="2023-03-12T18:41:30.460" v="5687" actId="1076"/>
          <ac:spMkLst>
            <pc:docMk/>
            <pc:sldMk cId="4159921369" sldId="480"/>
            <ac:spMk id="9" creationId="{E8F31CF0-EFCD-A088-44A2-8BB4623D79B3}"/>
          </ac:spMkLst>
        </pc:spChg>
        <pc:spChg chg="add mod ord">
          <ac:chgData name="Zhizi Wen" userId="b804997a-63ad-4c7f-9308-31a917908f04" providerId="ADAL" clId="{B10B7B39-2ABD-4C62-8983-C68601FCF583}" dt="2023-03-12T18:37:21.381" v="5370" actId="700"/>
          <ac:spMkLst>
            <pc:docMk/>
            <pc:sldMk cId="4159921369" sldId="480"/>
            <ac:spMk id="10" creationId="{0158A601-9F7C-DC7F-F212-01733CBB0162}"/>
          </ac:spMkLst>
        </pc:spChg>
        <pc:spChg chg="add del mod ord">
          <ac:chgData name="Zhizi Wen" userId="b804997a-63ad-4c7f-9308-31a917908f04" providerId="ADAL" clId="{B10B7B39-2ABD-4C62-8983-C68601FCF583}" dt="2023-03-12T18:38:39.597" v="5424"/>
          <ac:spMkLst>
            <pc:docMk/>
            <pc:sldMk cId="4159921369" sldId="480"/>
            <ac:spMk id="11" creationId="{36D02B25-6D1E-6263-4E8E-EEA1235E6DA4}"/>
          </ac:spMkLst>
        </pc:spChg>
        <pc:spChg chg="add mod">
          <ac:chgData name="Zhizi Wen" userId="b804997a-63ad-4c7f-9308-31a917908f04" providerId="ADAL" clId="{B10B7B39-2ABD-4C62-8983-C68601FCF583}" dt="2023-03-12T19:37:03.447" v="6977" actId="20577"/>
          <ac:spMkLst>
            <pc:docMk/>
            <pc:sldMk cId="4159921369" sldId="480"/>
            <ac:spMk id="18" creationId="{0C766839-D336-EBE8-E4B7-222BA5074CCB}"/>
          </ac:spMkLst>
        </pc:spChg>
        <pc:spChg chg="add mod">
          <ac:chgData name="Zhizi Wen" userId="b804997a-63ad-4c7f-9308-31a917908f04" providerId="ADAL" clId="{B10B7B39-2ABD-4C62-8983-C68601FCF583}" dt="2023-03-12T18:41:14.837" v="5684" actId="1076"/>
          <ac:spMkLst>
            <pc:docMk/>
            <pc:sldMk cId="4159921369" sldId="480"/>
            <ac:spMk id="20" creationId="{0521801C-3ABC-D7E1-2F8F-C5B2BC5F22AC}"/>
          </ac:spMkLst>
        </pc:spChg>
        <pc:picChg chg="add del mod">
          <ac:chgData name="Zhizi Wen" userId="b804997a-63ad-4c7f-9308-31a917908f04" providerId="ADAL" clId="{B10B7B39-2ABD-4C62-8983-C68601FCF583}" dt="2023-03-12T18:38:18.840" v="5415"/>
          <ac:picMkLst>
            <pc:docMk/>
            <pc:sldMk cId="4159921369" sldId="480"/>
            <ac:picMk id="13" creationId="{D2E09800-AEC7-DA84-53CE-4CFC1A706C63}"/>
          </ac:picMkLst>
        </pc:picChg>
        <pc:picChg chg="add mod">
          <ac:chgData name="Zhizi Wen" userId="b804997a-63ad-4c7f-9308-31a917908f04" providerId="ADAL" clId="{B10B7B39-2ABD-4C62-8983-C68601FCF583}" dt="2023-03-12T18:38:54.672" v="5434" actId="1076"/>
          <ac:picMkLst>
            <pc:docMk/>
            <pc:sldMk cId="4159921369" sldId="480"/>
            <ac:picMk id="14" creationId="{106BC9A3-B0CE-E663-FE71-D306721D18FE}"/>
          </ac:picMkLst>
        </pc:picChg>
        <pc:picChg chg="add del mod">
          <ac:chgData name="Zhizi Wen" userId="b804997a-63ad-4c7f-9308-31a917908f04" providerId="ADAL" clId="{B10B7B39-2ABD-4C62-8983-C68601FCF583}" dt="2023-03-12T18:38:39.597" v="5424"/>
          <ac:picMkLst>
            <pc:docMk/>
            <pc:sldMk cId="4159921369" sldId="480"/>
            <ac:picMk id="16" creationId="{933724BB-33CE-8DC9-9BA3-6490D484AF74}"/>
          </ac:picMkLst>
        </pc:picChg>
        <pc:picChg chg="add mod">
          <ac:chgData name="Zhizi Wen" userId="b804997a-63ad-4c7f-9308-31a917908f04" providerId="ADAL" clId="{B10B7B39-2ABD-4C62-8983-C68601FCF583}" dt="2023-03-12T18:38:47.679" v="5430" actId="1076"/>
          <ac:picMkLst>
            <pc:docMk/>
            <pc:sldMk cId="4159921369" sldId="480"/>
            <ac:picMk id="17" creationId="{8C93BAAE-54DD-1463-4A62-C7A483FB5320}"/>
          </ac:picMkLst>
        </pc:picChg>
        <pc:picChg chg="add mod">
          <ac:chgData name="Zhizi Wen" userId="b804997a-63ad-4c7f-9308-31a917908f04" providerId="ADAL" clId="{B10B7B39-2ABD-4C62-8983-C68601FCF583}" dt="2023-03-12T18:40:28.812" v="5552" actId="1076"/>
          <ac:picMkLst>
            <pc:docMk/>
            <pc:sldMk cId="4159921369" sldId="480"/>
            <ac:picMk id="19" creationId="{48E62658-F783-92C6-6569-93D7B1D476D5}"/>
          </ac:picMkLst>
        </pc:picChg>
      </pc:sldChg>
      <pc:sldChg chg="ord">
        <pc:chgData name="Zhizi Wen" userId="b804997a-63ad-4c7f-9308-31a917908f04" providerId="ADAL" clId="{B10B7B39-2ABD-4C62-8983-C68601FCF583}" dt="2023-03-13T10:55:36.855" v="10370"/>
        <pc:sldMkLst>
          <pc:docMk/>
          <pc:sldMk cId="3141209888" sldId="481"/>
        </pc:sldMkLst>
      </pc:sldChg>
      <pc:sldChg chg="addSp delSp modSp new mod modClrScheme chgLayout">
        <pc:chgData name="Zhizi Wen" userId="b804997a-63ad-4c7f-9308-31a917908f04" providerId="ADAL" clId="{B10B7B39-2ABD-4C62-8983-C68601FCF583}" dt="2023-03-12T20:57:14.940" v="7131" actId="14100"/>
        <pc:sldMkLst>
          <pc:docMk/>
          <pc:sldMk cId="3005408630" sldId="482"/>
        </pc:sldMkLst>
        <pc:spChg chg="del mod ord">
          <ac:chgData name="Zhizi Wen" userId="b804997a-63ad-4c7f-9308-31a917908f04" providerId="ADAL" clId="{B10B7B39-2ABD-4C62-8983-C68601FCF583}" dt="2023-03-12T20:53:29.342" v="7081" actId="700"/>
          <ac:spMkLst>
            <pc:docMk/>
            <pc:sldMk cId="3005408630" sldId="482"/>
            <ac:spMk id="2" creationId="{035CA5E0-C873-4326-5D76-667D102B4288}"/>
          </ac:spMkLst>
        </pc:spChg>
        <pc:spChg chg="del mod ord">
          <ac:chgData name="Zhizi Wen" userId="b804997a-63ad-4c7f-9308-31a917908f04" providerId="ADAL" clId="{B10B7B39-2ABD-4C62-8983-C68601FCF583}" dt="2023-03-12T20:53:29.342" v="7081" actId="700"/>
          <ac:spMkLst>
            <pc:docMk/>
            <pc:sldMk cId="3005408630" sldId="482"/>
            <ac:spMk id="3" creationId="{558333B1-8A6D-92C9-D0EA-80028F1FB91B}"/>
          </ac:spMkLst>
        </pc:spChg>
        <pc:spChg chg="add mod ord">
          <ac:chgData name="Zhizi Wen" userId="b804997a-63ad-4c7f-9308-31a917908f04" providerId="ADAL" clId="{B10B7B39-2ABD-4C62-8983-C68601FCF583}" dt="2023-03-12T20:53:35.681" v="7089" actId="20577"/>
          <ac:spMkLst>
            <pc:docMk/>
            <pc:sldMk cId="3005408630" sldId="482"/>
            <ac:spMk id="4" creationId="{01D899DA-688D-5F08-4715-ADEB84986AAB}"/>
          </ac:spMkLst>
        </pc:spChg>
        <pc:spChg chg="add mod ord">
          <ac:chgData name="Zhizi Wen" userId="b804997a-63ad-4c7f-9308-31a917908f04" providerId="ADAL" clId="{B10B7B39-2ABD-4C62-8983-C68601FCF583}" dt="2023-03-12T20:53:29.342" v="7081" actId="700"/>
          <ac:spMkLst>
            <pc:docMk/>
            <pc:sldMk cId="3005408630" sldId="482"/>
            <ac:spMk id="5" creationId="{76D11DE9-A3A0-D856-70A1-65B52077427C}"/>
          </ac:spMkLst>
        </pc:spChg>
        <pc:spChg chg="add mod ord">
          <ac:chgData name="Zhizi Wen" userId="b804997a-63ad-4c7f-9308-31a917908f04" providerId="ADAL" clId="{B10B7B39-2ABD-4C62-8983-C68601FCF583}" dt="2023-03-12T20:53:29.342" v="7081" actId="700"/>
          <ac:spMkLst>
            <pc:docMk/>
            <pc:sldMk cId="3005408630" sldId="482"/>
            <ac:spMk id="6" creationId="{18ABCDBF-B382-35CC-ECE3-D61CABA3FD7E}"/>
          </ac:spMkLst>
        </pc:spChg>
        <pc:spChg chg="add mod ord">
          <ac:chgData name="Zhizi Wen" userId="b804997a-63ad-4c7f-9308-31a917908f04" providerId="ADAL" clId="{B10B7B39-2ABD-4C62-8983-C68601FCF583}" dt="2023-03-12T20:53:29.342" v="7081" actId="700"/>
          <ac:spMkLst>
            <pc:docMk/>
            <pc:sldMk cId="3005408630" sldId="482"/>
            <ac:spMk id="7" creationId="{D8C49C67-4B74-3BFE-FB8B-CAEB66BF9019}"/>
          </ac:spMkLst>
        </pc:spChg>
        <pc:spChg chg="add del mod">
          <ac:chgData name="Zhizi Wen" userId="b804997a-63ad-4c7f-9308-31a917908f04" providerId="ADAL" clId="{B10B7B39-2ABD-4C62-8983-C68601FCF583}" dt="2023-03-12T20:57:03.207" v="7116" actId="478"/>
          <ac:spMkLst>
            <pc:docMk/>
            <pc:sldMk cId="3005408630" sldId="482"/>
            <ac:spMk id="8" creationId="{79FD5991-24EA-2BE6-014D-5539439427A5}"/>
          </ac:spMkLst>
        </pc:spChg>
        <pc:spChg chg="add mod">
          <ac:chgData name="Zhizi Wen" userId="b804997a-63ad-4c7f-9308-31a917908f04" providerId="ADAL" clId="{B10B7B39-2ABD-4C62-8983-C68601FCF583}" dt="2023-03-12T20:57:14.940" v="7131" actId="14100"/>
          <ac:spMkLst>
            <pc:docMk/>
            <pc:sldMk cId="3005408630" sldId="482"/>
            <ac:spMk id="11" creationId="{6A90F412-C815-F675-CB0F-3A5282C9611B}"/>
          </ac:spMkLst>
        </pc:spChg>
      </pc:sldChg>
      <pc:sldChg chg="addSp delSp modSp mod">
        <pc:chgData name="Zhizi Wen" userId="b804997a-63ad-4c7f-9308-31a917908f04" providerId="ADAL" clId="{B10B7B39-2ABD-4C62-8983-C68601FCF583}" dt="2023-03-12T21:44:36.469" v="7390" actId="12789"/>
        <pc:sldMkLst>
          <pc:docMk/>
          <pc:sldMk cId="1358568689" sldId="483"/>
        </pc:sldMkLst>
        <pc:spChg chg="mod">
          <ac:chgData name="Zhizi Wen" userId="b804997a-63ad-4c7f-9308-31a917908f04" providerId="ADAL" clId="{B10B7B39-2ABD-4C62-8983-C68601FCF583}" dt="2023-03-12T21:44:36.469" v="7390" actId="12789"/>
          <ac:spMkLst>
            <pc:docMk/>
            <pc:sldMk cId="1358568689" sldId="483"/>
            <ac:spMk id="5" creationId="{999413CF-BC13-9311-2F28-18AC24A4E18A}"/>
          </ac:spMkLst>
        </pc:spChg>
        <pc:spChg chg="mod">
          <ac:chgData name="Zhizi Wen" userId="b804997a-63ad-4c7f-9308-31a917908f04" providerId="ADAL" clId="{B10B7B39-2ABD-4C62-8983-C68601FCF583}" dt="2023-03-12T21:44:28.185" v="7389" actId="12789"/>
          <ac:spMkLst>
            <pc:docMk/>
            <pc:sldMk cId="1358568689" sldId="483"/>
            <ac:spMk id="7" creationId="{E2AA8519-58F1-8711-EDA8-7D459D8F4089}"/>
          </ac:spMkLst>
        </pc:spChg>
        <pc:spChg chg="mod">
          <ac:chgData name="Zhizi Wen" userId="b804997a-63ad-4c7f-9308-31a917908f04" providerId="ADAL" clId="{B10B7B39-2ABD-4C62-8983-C68601FCF583}" dt="2023-03-12T21:44:28.185" v="7389" actId="12789"/>
          <ac:spMkLst>
            <pc:docMk/>
            <pc:sldMk cId="1358568689" sldId="483"/>
            <ac:spMk id="9" creationId="{8391E5F6-6DCF-CA36-9BF1-D97A66BF3DCE}"/>
          </ac:spMkLst>
        </pc:spChg>
        <pc:spChg chg="del mod">
          <ac:chgData name="Zhizi Wen" userId="b804997a-63ad-4c7f-9308-31a917908f04" providerId="ADAL" clId="{B10B7B39-2ABD-4C62-8983-C68601FCF583}" dt="2023-03-12T21:05:36.592" v="7237" actId="478"/>
          <ac:spMkLst>
            <pc:docMk/>
            <pc:sldMk cId="1358568689" sldId="483"/>
            <ac:spMk id="10" creationId="{D78018F5-FD3B-C4D8-4EA8-74A68A440C69}"/>
          </ac:spMkLst>
        </pc:spChg>
        <pc:spChg chg="mod">
          <ac:chgData name="Zhizi Wen" userId="b804997a-63ad-4c7f-9308-31a917908f04" providerId="ADAL" clId="{B10B7B39-2ABD-4C62-8983-C68601FCF583}" dt="2023-03-12T21:44:36.469" v="7390" actId="12789"/>
          <ac:spMkLst>
            <pc:docMk/>
            <pc:sldMk cId="1358568689" sldId="483"/>
            <ac:spMk id="11" creationId="{578007E2-35AC-E558-621C-1D05C013F7A5}"/>
          </ac:spMkLst>
        </pc:spChg>
        <pc:spChg chg="add del">
          <ac:chgData name="Zhizi Wen" userId="b804997a-63ad-4c7f-9308-31a917908f04" providerId="ADAL" clId="{B10B7B39-2ABD-4C62-8983-C68601FCF583}" dt="2023-03-12T21:02:38.349" v="7189"/>
          <ac:spMkLst>
            <pc:docMk/>
            <pc:sldMk cId="1358568689" sldId="483"/>
            <ac:spMk id="19" creationId="{F9E47EA2-B594-9C8D-0E43-C87E6488D273}"/>
          </ac:spMkLst>
        </pc:spChg>
        <pc:spChg chg="add del mod">
          <ac:chgData name="Zhizi Wen" userId="b804997a-63ad-4c7f-9308-31a917908f04" providerId="ADAL" clId="{B10B7B39-2ABD-4C62-8983-C68601FCF583}" dt="2023-03-12T21:03:14.610" v="7198"/>
          <ac:spMkLst>
            <pc:docMk/>
            <pc:sldMk cId="1358568689" sldId="483"/>
            <ac:spMk id="22" creationId="{0D26A276-C3BB-BFA8-6349-2085A0C2B025}"/>
          </ac:spMkLst>
        </pc:spChg>
        <pc:spChg chg="add del mod">
          <ac:chgData name="Zhizi Wen" userId="b804997a-63ad-4c7f-9308-31a917908f04" providerId="ADAL" clId="{B10B7B39-2ABD-4C62-8983-C68601FCF583}" dt="2023-03-12T21:03:51.658" v="7208"/>
          <ac:spMkLst>
            <pc:docMk/>
            <pc:sldMk cId="1358568689" sldId="483"/>
            <ac:spMk id="24" creationId="{260F816F-6DE6-215C-2F58-FFF2422D4C87}"/>
          </ac:spMkLst>
        </pc:spChg>
        <pc:spChg chg="del">
          <ac:chgData name="Zhizi Wen" userId="b804997a-63ad-4c7f-9308-31a917908f04" providerId="ADAL" clId="{B10B7B39-2ABD-4C62-8983-C68601FCF583}" dt="2023-03-12T20:59:47.411" v="7153"/>
          <ac:spMkLst>
            <pc:docMk/>
            <pc:sldMk cId="1358568689" sldId="483"/>
            <ac:spMk id="25" creationId="{059C6D3C-DD2F-0887-DED9-E6BDFB258999}"/>
          </ac:spMkLst>
        </pc:spChg>
        <pc:picChg chg="del mod ord">
          <ac:chgData name="Zhizi Wen" userId="b804997a-63ad-4c7f-9308-31a917908f04" providerId="ADAL" clId="{B10B7B39-2ABD-4C62-8983-C68601FCF583}" dt="2023-03-12T21:03:51.658" v="7208"/>
          <ac:picMkLst>
            <pc:docMk/>
            <pc:sldMk cId="1358568689" sldId="483"/>
            <ac:picMk id="2" creationId="{1320C3A6-D727-888E-2C0B-2CD0D0B69E90}"/>
          </ac:picMkLst>
        </pc:picChg>
        <pc:picChg chg="add del mod">
          <ac:chgData name="Zhizi Wen" userId="b804997a-63ad-4c7f-9308-31a917908f04" providerId="ADAL" clId="{B10B7B39-2ABD-4C62-8983-C68601FCF583}" dt="2023-03-12T20:59:47.411" v="7153"/>
          <ac:picMkLst>
            <pc:docMk/>
            <pc:sldMk cId="1358568689" sldId="483"/>
            <ac:picMk id="6" creationId="{C62CC1BB-C7E4-9B79-8CEF-C88289D9F729}"/>
          </ac:picMkLst>
        </pc:picChg>
        <pc:picChg chg="mod">
          <ac:chgData name="Zhizi Wen" userId="b804997a-63ad-4c7f-9308-31a917908f04" providerId="ADAL" clId="{B10B7B39-2ABD-4C62-8983-C68601FCF583}" dt="2023-03-12T21:44:17.616" v="7388" actId="1076"/>
          <ac:picMkLst>
            <pc:docMk/>
            <pc:sldMk cId="1358568689" sldId="483"/>
            <ac:picMk id="8" creationId="{CB926A95-BC58-4DBA-2F37-010FB4BAB5C0}"/>
          </ac:picMkLst>
        </pc:picChg>
        <pc:picChg chg="del mod ord">
          <ac:chgData name="Zhizi Wen" userId="b804997a-63ad-4c7f-9308-31a917908f04" providerId="ADAL" clId="{B10B7B39-2ABD-4C62-8983-C68601FCF583}" dt="2023-03-12T21:02:38.349" v="7189"/>
          <ac:picMkLst>
            <pc:docMk/>
            <pc:sldMk cId="1358568689" sldId="483"/>
            <ac:picMk id="12" creationId="{9723746A-CC1F-E6F5-BE0F-363259695CF6}"/>
          </ac:picMkLst>
        </pc:picChg>
        <pc:picChg chg="mod">
          <ac:chgData name="Zhizi Wen" userId="b804997a-63ad-4c7f-9308-31a917908f04" providerId="ADAL" clId="{B10B7B39-2ABD-4C62-8983-C68601FCF583}" dt="2023-03-12T21:29:22.233" v="7281" actId="1076"/>
          <ac:picMkLst>
            <pc:docMk/>
            <pc:sldMk cId="1358568689" sldId="483"/>
            <ac:picMk id="16" creationId="{7E174AA8-BE14-06A5-B407-9E4C3DDBFAF1}"/>
          </ac:picMkLst>
        </pc:picChg>
        <pc:picChg chg="add del mod">
          <ac:chgData name="Zhizi Wen" userId="b804997a-63ad-4c7f-9308-31a917908f04" providerId="ADAL" clId="{B10B7B39-2ABD-4C62-8983-C68601FCF583}" dt="2023-03-12T21:02:42.697" v="7191" actId="478"/>
          <ac:picMkLst>
            <pc:docMk/>
            <pc:sldMk cId="1358568689" sldId="483"/>
            <ac:picMk id="17" creationId="{6E6346B7-6000-D71F-A89C-243C9FE53A39}"/>
          </ac:picMkLst>
        </pc:picChg>
        <pc:picChg chg="mod">
          <ac:chgData name="Zhizi Wen" userId="b804997a-63ad-4c7f-9308-31a917908f04" providerId="ADAL" clId="{B10B7B39-2ABD-4C62-8983-C68601FCF583}" dt="2023-03-12T21:43:58.906" v="7386" actId="1076"/>
          <ac:picMkLst>
            <pc:docMk/>
            <pc:sldMk cId="1358568689" sldId="483"/>
            <ac:picMk id="20" creationId="{04BC30C1-7CB4-C63E-1BB9-0241BD0EFCA2}"/>
          </ac:picMkLst>
        </pc:picChg>
        <pc:picChg chg="del mod ord">
          <ac:chgData name="Zhizi Wen" userId="b804997a-63ad-4c7f-9308-31a917908f04" providerId="ADAL" clId="{B10B7B39-2ABD-4C62-8983-C68601FCF583}" dt="2023-03-12T21:03:54.472" v="7209" actId="478"/>
          <ac:picMkLst>
            <pc:docMk/>
            <pc:sldMk cId="1358568689" sldId="483"/>
            <ac:picMk id="23" creationId="{E4077574-C1B2-02AA-EF23-A50ADD7F7614}"/>
          </ac:picMkLst>
        </pc:picChg>
        <pc:picChg chg="mod">
          <ac:chgData name="Zhizi Wen" userId="b804997a-63ad-4c7f-9308-31a917908f04" providerId="ADAL" clId="{B10B7B39-2ABD-4C62-8983-C68601FCF583}" dt="2023-03-12T21:44:03.610" v="7387" actId="1076"/>
          <ac:picMkLst>
            <pc:docMk/>
            <pc:sldMk cId="1358568689" sldId="483"/>
            <ac:picMk id="26" creationId="{ED7C538C-9928-A739-D773-8A02B663DDFF}"/>
          </ac:picMkLst>
        </pc:picChg>
      </pc:sldChg>
      <pc:sldChg chg="addSp modSp mod ord">
        <pc:chgData name="Zhizi Wen" userId="b804997a-63ad-4c7f-9308-31a917908f04" providerId="ADAL" clId="{B10B7B39-2ABD-4C62-8983-C68601FCF583}" dt="2023-03-12T21:43:48.464" v="7385"/>
        <pc:sldMkLst>
          <pc:docMk/>
          <pc:sldMk cId="306320928" sldId="484"/>
        </pc:sldMkLst>
        <pc:spChg chg="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5" creationId="{94FB67CD-D51E-5113-5255-93E5850405AD}"/>
          </ac:spMkLst>
        </pc:spChg>
        <pc:spChg chg="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6" creationId="{2530141C-9625-E9B8-7A2E-EF3866888612}"/>
          </ac:spMkLst>
        </pc:spChg>
        <pc:spChg chg="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7" creationId="{6C361DF2-E21A-DDE6-1EA0-BBBCDC8550CA}"/>
          </ac:spMkLst>
        </pc:spChg>
        <pc:spChg chg="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8" creationId="{BB24F5BC-33CE-031A-55A5-5F9E8A82EB26}"/>
          </ac:spMkLst>
        </pc:spChg>
        <pc:spChg chg="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9" creationId="{4E186976-1753-2BDE-C5D6-2577346A98A9}"/>
          </ac:spMkLst>
        </pc:spChg>
        <pc:spChg chg="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10" creationId="{54E56050-911B-FE2E-72BB-5C028B7D63F7}"/>
          </ac:spMkLst>
        </pc:spChg>
        <pc:spChg chg="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11" creationId="{03A735B1-00C7-26D1-D169-0EED3A8C423A}"/>
          </ac:spMkLst>
        </pc:spChg>
        <pc:spChg chg="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12" creationId="{A5B9A236-02D1-722C-6B83-5DC6A53FEB1F}"/>
          </ac:spMkLst>
        </pc:spChg>
        <pc:spChg chg="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13" creationId="{E11A03C1-9CBC-2CF1-CD57-A96FD7CEC7A1}"/>
          </ac:spMkLst>
        </pc:spChg>
        <pc:spChg chg="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14" creationId="{F925FA0B-3865-B804-5709-915BE57C2C72}"/>
          </ac:spMkLst>
        </pc:spChg>
        <pc:spChg chg="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16" creationId="{57C8BB72-8ABD-B530-E5DB-8A444F1F41BC}"/>
          </ac:spMkLst>
        </pc:spChg>
        <pc:spChg chg="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29" creationId="{EB0D0403-D3D4-78E4-86A4-1E3864F49102}"/>
          </ac:spMkLst>
        </pc:spChg>
        <pc:spChg chg="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30" creationId="{5DB1F23E-3317-60CA-2613-3190EF0F40C7}"/>
          </ac:spMkLst>
        </pc:spChg>
        <pc:spChg chg="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32" creationId="{5C589B4C-ECEC-B21D-D736-45C1E62358E8}"/>
          </ac:spMkLst>
        </pc:spChg>
        <pc:spChg chg="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33" creationId="{0F5B1A1F-8FA2-AA9C-49F8-32B02190336C}"/>
          </ac:spMkLst>
        </pc:spChg>
        <pc:spChg chg="add 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35" creationId="{38B17F04-2DDF-513B-E41D-9ED08D8018E3}"/>
          </ac:spMkLst>
        </pc:spChg>
        <pc:spChg chg="add mod">
          <ac:chgData name="Zhizi Wen" userId="b804997a-63ad-4c7f-9308-31a917908f04" providerId="ADAL" clId="{B10B7B39-2ABD-4C62-8983-C68601FCF583}" dt="2023-03-12T21:43:32.136" v="7383" actId="255"/>
          <ac:spMkLst>
            <pc:docMk/>
            <pc:sldMk cId="306320928" sldId="484"/>
            <ac:spMk id="37" creationId="{AB2C15F8-CE52-5EFC-39B7-6BAA9FFB2E9D}"/>
          </ac:spMkLst>
        </pc:spChg>
      </pc:sldChg>
      <pc:sldChg chg="modSp mod modNotesTx">
        <pc:chgData name="Zhizi Wen" userId="b804997a-63ad-4c7f-9308-31a917908f04" providerId="ADAL" clId="{B10B7B39-2ABD-4C62-8983-C68601FCF583}" dt="2023-03-13T08:43:58.336" v="10364" actId="20577"/>
        <pc:sldMkLst>
          <pc:docMk/>
          <pc:sldMk cId="2614601513" sldId="485"/>
        </pc:sldMkLst>
        <pc:spChg chg="mod">
          <ac:chgData name="Zhizi Wen" userId="b804997a-63ad-4c7f-9308-31a917908f04" providerId="ADAL" clId="{B10B7B39-2ABD-4C62-8983-C68601FCF583}" dt="2023-03-13T08:43:58.336" v="10364" actId="20577"/>
          <ac:spMkLst>
            <pc:docMk/>
            <pc:sldMk cId="2614601513" sldId="485"/>
            <ac:spMk id="14" creationId="{B600814F-C5FB-A5A6-C7E7-672B5C1EA70C}"/>
          </ac:spMkLst>
        </pc:spChg>
      </pc:sldChg>
    </pc:docChg>
  </pc:docChgLst>
  <pc:docChgLst>
    <pc:chgData name="Wilps, Julius" userId="6d1b960f-b4ab-492d-83e7-05f23c28b40e" providerId="ADAL" clId="{4789F316-EAD1-FA40-BE77-0012B6729D3A}"/>
    <pc:docChg chg="undo custSel addSld delSld modSld sldOrd">
      <pc:chgData name="Wilps, Julius" userId="6d1b960f-b4ab-492d-83e7-05f23c28b40e" providerId="ADAL" clId="{4789F316-EAD1-FA40-BE77-0012B6729D3A}" dt="2023-01-16T08:33:11.477" v="1156" actId="20578"/>
      <pc:docMkLst>
        <pc:docMk/>
      </pc:docMkLst>
      <pc:sldChg chg="addSp delSp mod">
        <pc:chgData name="Wilps, Julius" userId="6d1b960f-b4ab-492d-83e7-05f23c28b40e" providerId="ADAL" clId="{4789F316-EAD1-FA40-BE77-0012B6729D3A}" dt="2023-01-16T00:27:17.062" v="27" actId="478"/>
        <pc:sldMkLst>
          <pc:docMk/>
          <pc:sldMk cId="1105244631" sldId="309"/>
        </pc:sldMkLst>
        <pc:spChg chg="add del">
          <ac:chgData name="Wilps, Julius" userId="6d1b960f-b4ab-492d-83e7-05f23c28b40e" providerId="ADAL" clId="{4789F316-EAD1-FA40-BE77-0012B6729D3A}" dt="2023-01-16T00:27:17.062" v="27" actId="478"/>
          <ac:spMkLst>
            <pc:docMk/>
            <pc:sldMk cId="1105244631" sldId="309"/>
            <ac:spMk id="7" creationId="{7CA1F73F-5688-3F40-62CF-6D092963B749}"/>
          </ac:spMkLst>
        </pc:spChg>
        <pc:spChg chg="add del">
          <ac:chgData name="Wilps, Julius" userId="6d1b960f-b4ab-492d-83e7-05f23c28b40e" providerId="ADAL" clId="{4789F316-EAD1-FA40-BE77-0012B6729D3A}" dt="2023-01-16T00:27:17.062" v="27" actId="478"/>
          <ac:spMkLst>
            <pc:docMk/>
            <pc:sldMk cId="1105244631" sldId="309"/>
            <ac:spMk id="8" creationId="{4D8E256D-E048-8CF6-0F63-F0FF4E161F2B}"/>
          </ac:spMkLst>
        </pc:spChg>
        <pc:spChg chg="add del">
          <ac:chgData name="Wilps, Julius" userId="6d1b960f-b4ab-492d-83e7-05f23c28b40e" providerId="ADAL" clId="{4789F316-EAD1-FA40-BE77-0012B6729D3A}" dt="2023-01-16T00:27:17.062" v="27" actId="478"/>
          <ac:spMkLst>
            <pc:docMk/>
            <pc:sldMk cId="1105244631" sldId="309"/>
            <ac:spMk id="13" creationId="{842FEF85-31BE-62AF-DEC9-19FE7A93A67E}"/>
          </ac:spMkLst>
        </pc:spChg>
        <pc:spChg chg="add del">
          <ac:chgData name="Wilps, Julius" userId="6d1b960f-b4ab-492d-83e7-05f23c28b40e" providerId="ADAL" clId="{4789F316-EAD1-FA40-BE77-0012B6729D3A}" dt="2023-01-16T00:27:17.062" v="27" actId="478"/>
          <ac:spMkLst>
            <pc:docMk/>
            <pc:sldMk cId="1105244631" sldId="309"/>
            <ac:spMk id="14" creationId="{A1509CCB-30D2-0087-E1A3-8505B227F851}"/>
          </ac:spMkLst>
        </pc:spChg>
        <pc:spChg chg="add del">
          <ac:chgData name="Wilps, Julius" userId="6d1b960f-b4ab-492d-83e7-05f23c28b40e" providerId="ADAL" clId="{4789F316-EAD1-FA40-BE77-0012B6729D3A}" dt="2023-01-16T00:27:13.575" v="26" actId="478"/>
          <ac:spMkLst>
            <pc:docMk/>
            <pc:sldMk cId="1105244631" sldId="309"/>
            <ac:spMk id="15" creationId="{F15F3407-4E9E-D79E-7190-268031C28594}"/>
          </ac:spMkLst>
        </pc:spChg>
        <pc:spChg chg="add del">
          <ac:chgData name="Wilps, Julius" userId="6d1b960f-b4ab-492d-83e7-05f23c28b40e" providerId="ADAL" clId="{4789F316-EAD1-FA40-BE77-0012B6729D3A}" dt="2023-01-16T00:27:13.575" v="26" actId="478"/>
          <ac:spMkLst>
            <pc:docMk/>
            <pc:sldMk cId="1105244631" sldId="309"/>
            <ac:spMk id="16" creationId="{A5917B02-D70B-C36A-4091-A5BC5C99B881}"/>
          </ac:spMkLst>
        </pc:spChg>
        <pc:spChg chg="add del">
          <ac:chgData name="Wilps, Julius" userId="6d1b960f-b4ab-492d-83e7-05f23c28b40e" providerId="ADAL" clId="{4789F316-EAD1-FA40-BE77-0012B6729D3A}" dt="2023-01-16T00:27:13.575" v="26" actId="478"/>
          <ac:spMkLst>
            <pc:docMk/>
            <pc:sldMk cId="1105244631" sldId="309"/>
            <ac:spMk id="17" creationId="{0BB91761-B43E-4B79-8771-B5E56F494B93}"/>
          </ac:spMkLst>
        </pc:spChg>
        <pc:spChg chg="add del">
          <ac:chgData name="Wilps, Julius" userId="6d1b960f-b4ab-492d-83e7-05f23c28b40e" providerId="ADAL" clId="{4789F316-EAD1-FA40-BE77-0012B6729D3A}" dt="2023-01-16T00:27:13.575" v="26" actId="478"/>
          <ac:spMkLst>
            <pc:docMk/>
            <pc:sldMk cId="1105244631" sldId="309"/>
            <ac:spMk id="18" creationId="{908D4997-0612-6796-2E5B-50B94D36BBB4}"/>
          </ac:spMkLst>
        </pc:spChg>
        <pc:spChg chg="add del">
          <ac:chgData name="Wilps, Julius" userId="6d1b960f-b4ab-492d-83e7-05f23c28b40e" providerId="ADAL" clId="{4789F316-EAD1-FA40-BE77-0012B6729D3A}" dt="2023-01-16T00:27:13.575" v="26" actId="478"/>
          <ac:spMkLst>
            <pc:docMk/>
            <pc:sldMk cId="1105244631" sldId="309"/>
            <ac:spMk id="19" creationId="{B94662F6-9E3A-72A8-242F-35DD0177E26F}"/>
          </ac:spMkLst>
        </pc:spChg>
        <pc:spChg chg="add del">
          <ac:chgData name="Wilps, Julius" userId="6d1b960f-b4ab-492d-83e7-05f23c28b40e" providerId="ADAL" clId="{4789F316-EAD1-FA40-BE77-0012B6729D3A}" dt="2023-01-16T00:27:13.575" v="26" actId="478"/>
          <ac:spMkLst>
            <pc:docMk/>
            <pc:sldMk cId="1105244631" sldId="309"/>
            <ac:spMk id="20" creationId="{7F623404-66EC-6A5B-6213-67F17B928EF2}"/>
          </ac:spMkLst>
        </pc:spChg>
        <pc:spChg chg="add del">
          <ac:chgData name="Wilps, Julius" userId="6d1b960f-b4ab-492d-83e7-05f23c28b40e" providerId="ADAL" clId="{4789F316-EAD1-FA40-BE77-0012B6729D3A}" dt="2023-01-16T00:27:13.575" v="26" actId="478"/>
          <ac:spMkLst>
            <pc:docMk/>
            <pc:sldMk cId="1105244631" sldId="309"/>
            <ac:spMk id="21" creationId="{BD517215-39C2-F73B-5E42-43ABC48F307E}"/>
          </ac:spMkLst>
        </pc:spChg>
        <pc:spChg chg="add del">
          <ac:chgData name="Wilps, Julius" userId="6d1b960f-b4ab-492d-83e7-05f23c28b40e" providerId="ADAL" clId="{4789F316-EAD1-FA40-BE77-0012B6729D3A}" dt="2023-01-16T00:27:13.575" v="26" actId="478"/>
          <ac:spMkLst>
            <pc:docMk/>
            <pc:sldMk cId="1105244631" sldId="309"/>
            <ac:spMk id="22" creationId="{56BA97D1-5DA7-1346-DBB8-37C8ED272301}"/>
          </ac:spMkLst>
        </pc:spChg>
        <pc:spChg chg="add del">
          <ac:chgData name="Wilps, Julius" userId="6d1b960f-b4ab-492d-83e7-05f23c28b40e" providerId="ADAL" clId="{4789F316-EAD1-FA40-BE77-0012B6729D3A}" dt="2023-01-16T00:27:13.575" v="26" actId="478"/>
          <ac:spMkLst>
            <pc:docMk/>
            <pc:sldMk cId="1105244631" sldId="309"/>
            <ac:spMk id="23" creationId="{9E6D0BEC-D527-E645-034A-49EDBE81C11A}"/>
          </ac:spMkLst>
        </pc:spChg>
        <pc:spChg chg="add del">
          <ac:chgData name="Wilps, Julius" userId="6d1b960f-b4ab-492d-83e7-05f23c28b40e" providerId="ADAL" clId="{4789F316-EAD1-FA40-BE77-0012B6729D3A}" dt="2023-01-16T00:27:13.575" v="26" actId="478"/>
          <ac:spMkLst>
            <pc:docMk/>
            <pc:sldMk cId="1105244631" sldId="309"/>
            <ac:spMk id="24" creationId="{1AA048B4-D9E3-0140-9581-46C241D4D34B}"/>
          </ac:spMkLst>
        </pc:spChg>
        <pc:spChg chg="add del">
          <ac:chgData name="Wilps, Julius" userId="6d1b960f-b4ab-492d-83e7-05f23c28b40e" providerId="ADAL" clId="{4789F316-EAD1-FA40-BE77-0012B6729D3A}" dt="2023-01-16T00:27:13.575" v="26" actId="478"/>
          <ac:spMkLst>
            <pc:docMk/>
            <pc:sldMk cId="1105244631" sldId="309"/>
            <ac:spMk id="25" creationId="{96495CF2-E5AF-AC25-8389-006F9D64DCEF}"/>
          </ac:spMkLst>
        </pc:spChg>
        <pc:spChg chg="add del">
          <ac:chgData name="Wilps, Julius" userId="6d1b960f-b4ab-492d-83e7-05f23c28b40e" providerId="ADAL" clId="{4789F316-EAD1-FA40-BE77-0012B6729D3A}" dt="2023-01-16T00:27:13.575" v="26" actId="478"/>
          <ac:spMkLst>
            <pc:docMk/>
            <pc:sldMk cId="1105244631" sldId="309"/>
            <ac:spMk id="26" creationId="{A35F4854-0F86-815D-5BEB-35E5633DADC6}"/>
          </ac:spMkLst>
        </pc:spChg>
      </pc:sldChg>
      <pc:sldChg chg="addSp delSp modSp add del mod ord modShow">
        <pc:chgData name="Wilps, Julius" userId="6d1b960f-b4ab-492d-83e7-05f23c28b40e" providerId="ADAL" clId="{4789F316-EAD1-FA40-BE77-0012B6729D3A}" dt="2023-01-16T08:33:11.477" v="1156" actId="20578"/>
        <pc:sldMkLst>
          <pc:docMk/>
          <pc:sldMk cId="3365579940" sldId="313"/>
        </pc:sldMkLst>
        <pc:spChg chg="mod">
          <ac:chgData name="Wilps, Julius" userId="6d1b960f-b4ab-492d-83e7-05f23c28b40e" providerId="ADAL" clId="{4789F316-EAD1-FA40-BE77-0012B6729D3A}" dt="2023-01-16T01:11:41.291" v="663" actId="20577"/>
          <ac:spMkLst>
            <pc:docMk/>
            <pc:sldMk cId="3365579940" sldId="313"/>
            <ac:spMk id="5" creationId="{0B153BA7-ECB5-ABBE-08DA-6C95A9A6080E}"/>
          </ac:spMkLst>
        </pc:spChg>
        <pc:spChg chg="mod">
          <ac:chgData name="Wilps, Julius" userId="6d1b960f-b4ab-492d-83e7-05f23c28b40e" providerId="ADAL" clId="{4789F316-EAD1-FA40-BE77-0012B6729D3A}" dt="2023-01-16T00:27:28.806" v="32" actId="20577"/>
          <ac:spMkLst>
            <pc:docMk/>
            <pc:sldMk cId="3365579940" sldId="313"/>
            <ac:spMk id="6" creationId="{E450DA48-F0EF-A832-A7E0-8A17473B3711}"/>
          </ac:spMkLst>
        </pc:spChg>
        <pc:spChg chg="del">
          <ac:chgData name="Wilps, Julius" userId="6d1b960f-b4ab-492d-83e7-05f23c28b40e" providerId="ADAL" clId="{4789F316-EAD1-FA40-BE77-0012B6729D3A}" dt="2023-01-16T01:04:56.012" v="327"/>
          <ac:spMkLst>
            <pc:docMk/>
            <pc:sldMk cId="3365579940" sldId="313"/>
            <ac:spMk id="7" creationId="{7C2A067B-8F93-EC12-4741-960F4A609AFF}"/>
          </ac:spMkLst>
        </pc:spChg>
        <pc:spChg chg="del">
          <ac:chgData name="Wilps, Julius" userId="6d1b960f-b4ab-492d-83e7-05f23c28b40e" providerId="ADAL" clId="{4789F316-EAD1-FA40-BE77-0012B6729D3A}" dt="2023-01-16T01:02:27.266" v="237" actId="478"/>
          <ac:spMkLst>
            <pc:docMk/>
            <pc:sldMk cId="3365579940" sldId="313"/>
            <ac:spMk id="8" creationId="{C19FFF25-5D82-43AE-D52B-971D1D01476C}"/>
          </ac:spMkLst>
        </pc:spChg>
        <pc:spChg chg="add mod">
          <ac:chgData name="Wilps, Julius" userId="6d1b960f-b4ab-492d-83e7-05f23c28b40e" providerId="ADAL" clId="{4789F316-EAD1-FA40-BE77-0012B6729D3A}" dt="2023-01-16T01:04:20.529" v="320" actId="20577"/>
          <ac:spMkLst>
            <pc:docMk/>
            <pc:sldMk cId="3365579940" sldId="313"/>
            <ac:spMk id="9" creationId="{4C29366D-3C11-1906-07D8-6511F875A711}"/>
          </ac:spMkLst>
        </pc:spChg>
        <pc:spChg chg="add mod">
          <ac:chgData name="Wilps, Julius" userId="6d1b960f-b4ab-492d-83e7-05f23c28b40e" providerId="ADAL" clId="{4789F316-EAD1-FA40-BE77-0012B6729D3A}" dt="2023-01-16T01:06:04.464" v="347" actId="478"/>
          <ac:spMkLst>
            <pc:docMk/>
            <pc:sldMk cId="3365579940" sldId="313"/>
            <ac:spMk id="15" creationId="{1374F7B4-D991-4B8E-CE2E-A47A462EA478}"/>
          </ac:spMkLst>
        </pc:spChg>
        <pc:picChg chg="add del mod">
          <ac:chgData name="Wilps, Julius" userId="6d1b960f-b4ab-492d-83e7-05f23c28b40e" providerId="ADAL" clId="{4789F316-EAD1-FA40-BE77-0012B6729D3A}" dt="2023-01-16T01:06:04.464" v="347" actId="478"/>
          <ac:picMkLst>
            <pc:docMk/>
            <pc:sldMk cId="3365579940" sldId="313"/>
            <ac:picMk id="11" creationId="{3832E3B2-9EB7-1D22-0BEF-2844F8E80250}"/>
          </ac:picMkLst>
        </pc:picChg>
        <pc:picChg chg="add del mod">
          <ac:chgData name="Wilps, Julius" userId="6d1b960f-b4ab-492d-83e7-05f23c28b40e" providerId="ADAL" clId="{4789F316-EAD1-FA40-BE77-0012B6729D3A}" dt="2023-01-16T01:06:02.496" v="346" actId="478"/>
          <ac:picMkLst>
            <pc:docMk/>
            <pc:sldMk cId="3365579940" sldId="313"/>
            <ac:picMk id="13" creationId="{BAD059F5-0359-CCB4-D4D2-2D0A78AADD84}"/>
          </ac:picMkLst>
        </pc:picChg>
      </pc:sldChg>
      <pc:sldChg chg="modSp mod">
        <pc:chgData name="Wilps, Julius" userId="6d1b960f-b4ab-492d-83e7-05f23c28b40e" providerId="ADAL" clId="{4789F316-EAD1-FA40-BE77-0012B6729D3A}" dt="2023-01-16T01:29:44.385" v="1152" actId="20577"/>
        <pc:sldMkLst>
          <pc:docMk/>
          <pc:sldMk cId="3442776100" sldId="317"/>
        </pc:sldMkLst>
        <pc:spChg chg="mod">
          <ac:chgData name="Wilps, Julius" userId="6d1b960f-b4ab-492d-83e7-05f23c28b40e" providerId="ADAL" clId="{4789F316-EAD1-FA40-BE77-0012B6729D3A}" dt="2023-01-16T01:29:44.385" v="1152" actId="20577"/>
          <ac:spMkLst>
            <pc:docMk/>
            <pc:sldMk cId="3442776100" sldId="317"/>
            <ac:spMk id="6" creationId="{0FE1CBFF-ADA4-A96B-2D2D-DD8328F3021A}"/>
          </ac:spMkLst>
        </pc:spChg>
      </pc:sldChg>
      <pc:sldChg chg="modSp mod">
        <pc:chgData name="Wilps, Julius" userId="6d1b960f-b4ab-492d-83e7-05f23c28b40e" providerId="ADAL" clId="{4789F316-EAD1-FA40-BE77-0012B6729D3A}" dt="2023-01-15T19:32:14.616" v="0" actId="20577"/>
        <pc:sldMkLst>
          <pc:docMk/>
          <pc:sldMk cId="3820454270" sldId="324"/>
        </pc:sldMkLst>
        <pc:spChg chg="mod">
          <ac:chgData name="Wilps, Julius" userId="6d1b960f-b4ab-492d-83e7-05f23c28b40e" providerId="ADAL" clId="{4789F316-EAD1-FA40-BE77-0012B6729D3A}" dt="2023-01-15T19:32:14.616" v="0" actId="20577"/>
          <ac:spMkLst>
            <pc:docMk/>
            <pc:sldMk cId="3820454270" sldId="324"/>
            <ac:spMk id="5" creationId="{90273FFE-7461-0DAA-CC2E-89BCF9748264}"/>
          </ac:spMkLst>
        </pc:spChg>
      </pc:sldChg>
      <pc:sldChg chg="add">
        <pc:chgData name="Wilps, Julius" userId="6d1b960f-b4ab-492d-83e7-05f23c28b40e" providerId="ADAL" clId="{4789F316-EAD1-FA40-BE77-0012B6729D3A}" dt="2023-01-16T00:26:14.949" v="1" actId="2890"/>
        <pc:sldMkLst>
          <pc:docMk/>
          <pc:sldMk cId="3747601807" sldId="327"/>
        </pc:sldMkLst>
      </pc:sldChg>
      <pc:sldChg chg="addSp delSp modSp add mod ord modShow">
        <pc:chgData name="Wilps, Julius" userId="6d1b960f-b4ab-492d-83e7-05f23c28b40e" providerId="ADAL" clId="{4789F316-EAD1-FA40-BE77-0012B6729D3A}" dt="2023-01-16T08:33:11.477" v="1156" actId="20578"/>
        <pc:sldMkLst>
          <pc:docMk/>
          <pc:sldMk cId="2935384648" sldId="328"/>
        </pc:sldMkLst>
        <pc:spChg chg="mod">
          <ac:chgData name="Wilps, Julius" userId="6d1b960f-b4ab-492d-83e7-05f23c28b40e" providerId="ADAL" clId="{4789F316-EAD1-FA40-BE77-0012B6729D3A}" dt="2023-01-16T01:09:34.726" v="591" actId="20577"/>
          <ac:spMkLst>
            <pc:docMk/>
            <pc:sldMk cId="2935384648" sldId="328"/>
            <ac:spMk id="5" creationId="{0B153BA7-ECB5-ABBE-08DA-6C95A9A6080E}"/>
          </ac:spMkLst>
        </pc:spChg>
        <pc:spChg chg="mod">
          <ac:chgData name="Wilps, Julius" userId="6d1b960f-b4ab-492d-83e7-05f23c28b40e" providerId="ADAL" clId="{4789F316-EAD1-FA40-BE77-0012B6729D3A}" dt="2023-01-16T01:11:00.259" v="623" actId="20577"/>
          <ac:spMkLst>
            <pc:docMk/>
            <pc:sldMk cId="2935384648" sldId="328"/>
            <ac:spMk id="9" creationId="{4C29366D-3C11-1906-07D8-6511F875A711}"/>
          </ac:spMkLst>
        </pc:spChg>
        <pc:spChg chg="del">
          <ac:chgData name="Wilps, Julius" userId="6d1b960f-b4ab-492d-83e7-05f23c28b40e" providerId="ADAL" clId="{4789F316-EAD1-FA40-BE77-0012B6729D3A}" dt="2023-01-16T01:09:48.345" v="592"/>
          <ac:spMkLst>
            <pc:docMk/>
            <pc:sldMk cId="2935384648" sldId="328"/>
            <ac:spMk id="15" creationId="{1374F7B4-D991-4B8E-CE2E-A47A462EA478}"/>
          </ac:spMkLst>
        </pc:spChg>
        <pc:picChg chg="add mod">
          <ac:chgData name="Wilps, Julius" userId="6d1b960f-b4ab-492d-83e7-05f23c28b40e" providerId="ADAL" clId="{4789F316-EAD1-FA40-BE77-0012B6729D3A}" dt="2023-01-16T01:09:55.979" v="595" actId="1076"/>
          <ac:picMkLst>
            <pc:docMk/>
            <pc:sldMk cId="2935384648" sldId="328"/>
            <ac:picMk id="8" creationId="{EFC73051-C096-FA1B-7C1A-4B4242A6A80B}"/>
          </ac:picMkLst>
        </pc:picChg>
      </pc:sldChg>
      <pc:sldChg chg="modSp add mod ord">
        <pc:chgData name="Wilps, Julius" userId="6d1b960f-b4ab-492d-83e7-05f23c28b40e" providerId="ADAL" clId="{4789F316-EAD1-FA40-BE77-0012B6729D3A}" dt="2023-01-16T01:19:26.681" v="727" actId="20577"/>
        <pc:sldMkLst>
          <pc:docMk/>
          <pc:sldMk cId="3673283143" sldId="329"/>
        </pc:sldMkLst>
        <pc:spChg chg="mod">
          <ac:chgData name="Wilps, Julius" userId="6d1b960f-b4ab-492d-83e7-05f23c28b40e" providerId="ADAL" clId="{4789F316-EAD1-FA40-BE77-0012B6729D3A}" dt="2023-01-16T01:19:26.681" v="727" actId="20577"/>
          <ac:spMkLst>
            <pc:docMk/>
            <pc:sldMk cId="3673283143" sldId="329"/>
            <ac:spMk id="5" creationId="{8EA7A4D4-9AD7-8D9C-9812-AA8B76F9AC69}"/>
          </ac:spMkLst>
        </pc:spChg>
        <pc:spChg chg="mod">
          <ac:chgData name="Wilps, Julius" userId="6d1b960f-b4ab-492d-83e7-05f23c28b40e" providerId="ADAL" clId="{4789F316-EAD1-FA40-BE77-0012B6729D3A}" dt="2023-01-16T01:13:04.431" v="691" actId="20577"/>
          <ac:spMkLst>
            <pc:docMk/>
            <pc:sldMk cId="3673283143" sldId="329"/>
            <ac:spMk id="6" creationId="{502432B2-8ACE-4305-563F-28E26C5C43FC}"/>
          </ac:spMkLst>
        </pc:spChg>
      </pc:sldChg>
      <pc:sldChg chg="modSp add mod ord">
        <pc:chgData name="Wilps, Julius" userId="6d1b960f-b4ab-492d-83e7-05f23c28b40e" providerId="ADAL" clId="{4789F316-EAD1-FA40-BE77-0012B6729D3A}" dt="2023-01-16T01:19:35.153" v="747" actId="20577"/>
        <pc:sldMkLst>
          <pc:docMk/>
          <pc:sldMk cId="4281436167" sldId="330"/>
        </pc:sldMkLst>
        <pc:spChg chg="mod">
          <ac:chgData name="Wilps, Julius" userId="6d1b960f-b4ab-492d-83e7-05f23c28b40e" providerId="ADAL" clId="{4789F316-EAD1-FA40-BE77-0012B6729D3A}" dt="2023-01-16T01:19:35.153" v="747" actId="20577"/>
          <ac:spMkLst>
            <pc:docMk/>
            <pc:sldMk cId="4281436167" sldId="330"/>
            <ac:spMk id="5" creationId="{8EA7A4D4-9AD7-8D9C-9812-AA8B76F9AC69}"/>
          </ac:spMkLst>
        </pc:spChg>
        <pc:spChg chg="mod">
          <ac:chgData name="Wilps, Julius" userId="6d1b960f-b4ab-492d-83e7-05f23c28b40e" providerId="ADAL" clId="{4789F316-EAD1-FA40-BE77-0012B6729D3A}" dt="2023-01-16T01:14:25.853" v="698"/>
          <ac:spMkLst>
            <pc:docMk/>
            <pc:sldMk cId="4281436167" sldId="330"/>
            <ac:spMk id="6" creationId="{502432B2-8ACE-4305-563F-28E26C5C43FC}"/>
          </ac:spMkLst>
        </pc:spChg>
      </pc:sldChg>
      <pc:sldChg chg="addSp delSp modSp add mod ord">
        <pc:chgData name="Wilps, Julius" userId="6d1b960f-b4ab-492d-83e7-05f23c28b40e" providerId="ADAL" clId="{4789F316-EAD1-FA40-BE77-0012B6729D3A}" dt="2023-01-16T08:31:53.787" v="1155" actId="20577"/>
        <pc:sldMkLst>
          <pc:docMk/>
          <pc:sldMk cId="4034645136" sldId="331"/>
        </pc:sldMkLst>
        <pc:spChg chg="add del mod">
          <ac:chgData name="Wilps, Julius" userId="6d1b960f-b4ab-492d-83e7-05f23c28b40e" providerId="ADAL" clId="{4789F316-EAD1-FA40-BE77-0012B6729D3A}" dt="2023-01-16T08:31:53.787" v="1155" actId="20577"/>
          <ac:spMkLst>
            <pc:docMk/>
            <pc:sldMk cId="4034645136" sldId="331"/>
            <ac:spMk id="5" creationId="{2BE92EFB-5BDB-CA6F-B713-151F1EF286EC}"/>
          </ac:spMkLst>
        </pc:spChg>
        <pc:spChg chg="mod">
          <ac:chgData name="Wilps, Julius" userId="6d1b960f-b4ab-492d-83e7-05f23c28b40e" providerId="ADAL" clId="{4789F316-EAD1-FA40-BE77-0012B6729D3A}" dt="2023-01-16T01:29:34.178" v="1141" actId="20577"/>
          <ac:spMkLst>
            <pc:docMk/>
            <pc:sldMk cId="4034645136" sldId="331"/>
            <ac:spMk id="6" creationId="{0FE1CBFF-ADA4-A96B-2D2D-DD8328F3021A}"/>
          </ac:spMkLst>
        </pc:spChg>
        <pc:spChg chg="add del">
          <ac:chgData name="Wilps, Julius" userId="6d1b960f-b4ab-492d-83e7-05f23c28b40e" providerId="ADAL" clId="{4789F316-EAD1-FA40-BE77-0012B6729D3A}" dt="2023-01-16T01:27:30.209" v="1048" actId="478"/>
          <ac:spMkLst>
            <pc:docMk/>
            <pc:sldMk cId="4034645136" sldId="331"/>
            <ac:spMk id="7" creationId="{03DC0936-F3A8-EFD9-0202-06160C546BBA}"/>
          </ac:spMkLst>
        </pc:spChg>
        <pc:spChg chg="mod">
          <ac:chgData name="Wilps, Julius" userId="6d1b960f-b4ab-492d-83e7-05f23c28b40e" providerId="ADAL" clId="{4789F316-EAD1-FA40-BE77-0012B6729D3A}" dt="2023-01-16T01:16:30.131" v="708" actId="20577"/>
          <ac:spMkLst>
            <pc:docMk/>
            <pc:sldMk cId="4034645136" sldId="331"/>
            <ac:spMk id="10" creationId="{0C88860A-7A54-C559-50EE-11E1365243E5}"/>
          </ac:spMkLst>
        </pc:spChg>
        <pc:spChg chg="add del mod">
          <ac:chgData name="Wilps, Julius" userId="6d1b960f-b4ab-492d-83e7-05f23c28b40e" providerId="ADAL" clId="{4789F316-EAD1-FA40-BE77-0012B6729D3A}" dt="2023-01-16T01:23:03.818" v="749" actId="478"/>
          <ac:spMkLst>
            <pc:docMk/>
            <pc:sldMk cId="4034645136" sldId="331"/>
            <ac:spMk id="11" creationId="{85267026-3B52-43D1-F761-88815FE83517}"/>
          </ac:spMkLst>
        </pc:spChg>
        <pc:spChg chg="mod">
          <ac:chgData name="Wilps, Julius" userId="6d1b960f-b4ab-492d-83e7-05f23c28b40e" providerId="ADAL" clId="{4789F316-EAD1-FA40-BE77-0012B6729D3A}" dt="2023-01-16T01:16:32.743" v="710" actId="20577"/>
          <ac:spMkLst>
            <pc:docMk/>
            <pc:sldMk cId="4034645136" sldId="331"/>
            <ac:spMk id="13" creationId="{C913276A-37D5-4A64-8D0C-270805F803F5}"/>
          </ac:spMkLst>
        </pc:spChg>
        <pc:spChg chg="del">
          <ac:chgData name="Wilps, Julius" userId="6d1b960f-b4ab-492d-83e7-05f23c28b40e" providerId="ADAL" clId="{4789F316-EAD1-FA40-BE77-0012B6729D3A}" dt="2023-01-16T01:23:31.325" v="755" actId="478"/>
          <ac:spMkLst>
            <pc:docMk/>
            <pc:sldMk cId="4034645136" sldId="331"/>
            <ac:spMk id="19" creationId="{17F213CC-72E5-E979-543C-41B590E53F74}"/>
          </ac:spMkLst>
        </pc:spChg>
        <pc:spChg chg="add del">
          <ac:chgData name="Wilps, Julius" userId="6d1b960f-b4ab-492d-83e7-05f23c28b40e" providerId="ADAL" clId="{4789F316-EAD1-FA40-BE77-0012B6729D3A}" dt="2023-01-16T01:27:30.209" v="1048" actId="478"/>
          <ac:spMkLst>
            <pc:docMk/>
            <pc:sldMk cId="4034645136" sldId="331"/>
            <ac:spMk id="20" creationId="{D34E9B7E-19F2-2878-EDF0-898826666D23}"/>
          </ac:spMkLst>
        </pc:spChg>
        <pc:spChg chg="del">
          <ac:chgData name="Wilps, Julius" userId="6d1b960f-b4ab-492d-83e7-05f23c28b40e" providerId="ADAL" clId="{4789F316-EAD1-FA40-BE77-0012B6729D3A}" dt="2023-01-16T01:23:31.325" v="755" actId="478"/>
          <ac:spMkLst>
            <pc:docMk/>
            <pc:sldMk cId="4034645136" sldId="331"/>
            <ac:spMk id="21" creationId="{8CB51FDE-4F29-598E-5E10-D35ED866E7AC}"/>
          </ac:spMkLst>
        </pc:spChg>
        <pc:spChg chg="mod">
          <ac:chgData name="Wilps, Julius" userId="6d1b960f-b4ab-492d-83e7-05f23c28b40e" providerId="ADAL" clId="{4789F316-EAD1-FA40-BE77-0012B6729D3A}" dt="2023-01-16T01:26:40.841" v="986" actId="20577"/>
          <ac:spMkLst>
            <pc:docMk/>
            <pc:sldMk cId="4034645136" sldId="331"/>
            <ac:spMk id="22" creationId="{62AFF400-4FC5-DC09-2C9D-213AF0E91E94}"/>
          </ac:spMkLst>
        </pc:spChg>
        <pc:spChg chg="add del mod">
          <ac:chgData name="Wilps, Julius" userId="6d1b960f-b4ab-492d-83e7-05f23c28b40e" providerId="ADAL" clId="{4789F316-EAD1-FA40-BE77-0012B6729D3A}" dt="2023-01-16T01:27:31.570" v="1050" actId="478"/>
          <ac:spMkLst>
            <pc:docMk/>
            <pc:sldMk cId="4034645136" sldId="331"/>
            <ac:spMk id="23" creationId="{8386DFF6-EBE9-3CB1-B6D6-BAF4C1041419}"/>
          </ac:spMkLst>
        </pc:spChg>
        <pc:spChg chg="add del">
          <ac:chgData name="Wilps, Julius" userId="6d1b960f-b4ab-492d-83e7-05f23c28b40e" providerId="ADAL" clId="{4789F316-EAD1-FA40-BE77-0012B6729D3A}" dt="2023-01-16T01:27:30.209" v="1048" actId="478"/>
          <ac:spMkLst>
            <pc:docMk/>
            <pc:sldMk cId="4034645136" sldId="331"/>
            <ac:spMk id="24" creationId="{A6F88F7F-BF10-1C62-4F54-F25D147A5DB1}"/>
          </ac:spMkLst>
        </pc:spChg>
        <pc:spChg chg="add del mod">
          <ac:chgData name="Wilps, Julius" userId="6d1b960f-b4ab-492d-83e7-05f23c28b40e" providerId="ADAL" clId="{4789F316-EAD1-FA40-BE77-0012B6729D3A}" dt="2023-01-16T01:28:29.732" v="1102"/>
          <ac:spMkLst>
            <pc:docMk/>
            <pc:sldMk cId="4034645136" sldId="331"/>
            <ac:spMk id="25" creationId="{C3CAD566-2326-D877-0BCE-59DFDDA1BC94}"/>
          </ac:spMkLst>
        </pc:spChg>
        <pc:spChg chg="del">
          <ac:chgData name="Wilps, Julius" userId="6d1b960f-b4ab-492d-83e7-05f23c28b40e" providerId="ADAL" clId="{4789F316-EAD1-FA40-BE77-0012B6729D3A}" dt="2023-01-16T01:28:12.522" v="1093"/>
          <ac:spMkLst>
            <pc:docMk/>
            <pc:sldMk cId="4034645136" sldId="331"/>
            <ac:spMk id="28" creationId="{CC374BCA-FB69-304F-59F6-8166D4CF22D0}"/>
          </ac:spMkLst>
        </pc:spChg>
        <pc:spChg chg="add del mod">
          <ac:chgData name="Wilps, Julius" userId="6d1b960f-b4ab-492d-83e7-05f23c28b40e" providerId="ADAL" clId="{4789F316-EAD1-FA40-BE77-0012B6729D3A}" dt="2023-01-16T01:27:30.209" v="1048" actId="478"/>
          <ac:spMkLst>
            <pc:docMk/>
            <pc:sldMk cId="4034645136" sldId="331"/>
            <ac:spMk id="31" creationId="{752313E4-5DA7-F9C3-41E2-CFCB479B6228}"/>
          </ac:spMkLst>
        </pc:spChg>
        <pc:spChg chg="add del">
          <ac:chgData name="Wilps, Julius" userId="6d1b960f-b4ab-492d-83e7-05f23c28b40e" providerId="ADAL" clId="{4789F316-EAD1-FA40-BE77-0012B6729D3A}" dt="2023-01-16T01:27:30.209" v="1048" actId="478"/>
          <ac:spMkLst>
            <pc:docMk/>
            <pc:sldMk cId="4034645136" sldId="331"/>
            <ac:spMk id="32" creationId="{0FB407AA-347A-83AA-3AF5-0577E6E27228}"/>
          </ac:spMkLst>
        </pc:spChg>
        <pc:spChg chg="add del mod">
          <ac:chgData name="Wilps, Julius" userId="6d1b960f-b4ab-492d-83e7-05f23c28b40e" providerId="ADAL" clId="{4789F316-EAD1-FA40-BE77-0012B6729D3A}" dt="2023-01-16T01:29:06.420" v="1109" actId="931"/>
          <ac:spMkLst>
            <pc:docMk/>
            <pc:sldMk cId="4034645136" sldId="331"/>
            <ac:spMk id="33" creationId="{1AA1EFD0-FDFE-541F-A2E2-AC81CE0B6B2E}"/>
          </ac:spMkLst>
        </pc:spChg>
        <pc:picChg chg="del">
          <ac:chgData name="Wilps, Julius" userId="6d1b960f-b4ab-492d-83e7-05f23c28b40e" providerId="ADAL" clId="{4789F316-EAD1-FA40-BE77-0012B6729D3A}" dt="2023-01-16T01:22:07.218" v="748" actId="478"/>
          <ac:picMkLst>
            <pc:docMk/>
            <pc:sldMk cId="4034645136" sldId="331"/>
            <ac:picMk id="12" creationId="{02172A12-7F16-7923-425C-FE7757E75163}"/>
          </ac:picMkLst>
        </pc:picChg>
        <pc:picChg chg="add del mod">
          <ac:chgData name="Wilps, Julius" userId="6d1b960f-b4ab-492d-83e7-05f23c28b40e" providerId="ADAL" clId="{4789F316-EAD1-FA40-BE77-0012B6729D3A}" dt="2023-01-16T01:28:24.158" v="1101" actId="478"/>
          <ac:picMkLst>
            <pc:docMk/>
            <pc:sldMk cId="4034645136" sldId="331"/>
            <ac:picMk id="15" creationId="{45D662DC-725E-67C1-0088-B44D2E364606}"/>
          </ac:picMkLst>
        </pc:picChg>
        <pc:picChg chg="add del">
          <ac:chgData name="Wilps, Julius" userId="6d1b960f-b4ab-492d-83e7-05f23c28b40e" providerId="ADAL" clId="{4789F316-EAD1-FA40-BE77-0012B6729D3A}" dt="2023-01-16T01:27:30.209" v="1048" actId="478"/>
          <ac:picMkLst>
            <pc:docMk/>
            <pc:sldMk cId="4034645136" sldId="331"/>
            <ac:picMk id="16" creationId="{5F56E6EC-7870-3E44-CF86-69D32DC71B45}"/>
          </ac:picMkLst>
        </pc:picChg>
        <pc:picChg chg="add del">
          <ac:chgData name="Wilps, Julius" userId="6d1b960f-b4ab-492d-83e7-05f23c28b40e" providerId="ADAL" clId="{4789F316-EAD1-FA40-BE77-0012B6729D3A}" dt="2023-01-16T01:27:30.209" v="1048" actId="478"/>
          <ac:picMkLst>
            <pc:docMk/>
            <pc:sldMk cId="4034645136" sldId="331"/>
            <ac:picMk id="18" creationId="{8B054D0F-D12C-0618-4AF2-1F03AE4C3993}"/>
          </ac:picMkLst>
        </pc:picChg>
        <pc:picChg chg="add del mod">
          <ac:chgData name="Wilps, Julius" userId="6d1b960f-b4ab-492d-83e7-05f23c28b40e" providerId="ADAL" clId="{4789F316-EAD1-FA40-BE77-0012B6729D3A}" dt="2023-01-16T01:28:44.267" v="1108" actId="478"/>
          <ac:picMkLst>
            <pc:docMk/>
            <pc:sldMk cId="4034645136" sldId="331"/>
            <ac:picMk id="27" creationId="{C7A5EBBD-13A5-9373-4A33-ABCEC92D1729}"/>
          </ac:picMkLst>
        </pc:picChg>
        <pc:picChg chg="add del">
          <ac:chgData name="Wilps, Julius" userId="6d1b960f-b4ab-492d-83e7-05f23c28b40e" providerId="ADAL" clId="{4789F316-EAD1-FA40-BE77-0012B6729D3A}" dt="2023-01-16T01:27:32.795" v="1051" actId="478"/>
          <ac:picMkLst>
            <pc:docMk/>
            <pc:sldMk cId="4034645136" sldId="331"/>
            <ac:picMk id="29" creationId="{5976CB5D-2A09-F527-54D1-9A1084C71D93}"/>
          </ac:picMkLst>
        </pc:picChg>
        <pc:picChg chg="add mod">
          <ac:chgData name="Wilps, Julius" userId="6d1b960f-b4ab-492d-83e7-05f23c28b40e" providerId="ADAL" clId="{4789F316-EAD1-FA40-BE77-0012B6729D3A}" dt="2023-01-16T01:29:17.778" v="1114" actId="14100"/>
          <ac:picMkLst>
            <pc:docMk/>
            <pc:sldMk cId="4034645136" sldId="331"/>
            <ac:picMk id="35" creationId="{EAB5221C-B71A-22A9-311F-520465424BC2}"/>
          </ac:picMkLst>
        </pc:picChg>
      </pc:sldChg>
    </pc:docChg>
  </pc:docChgLst>
  <pc:docChgLst>
    <pc:chgData name="Völkel, Tobias" userId="S::ru22boda@fauad.fau.de::9c02bf22-18bb-468a-b263-c51c2dc523eb" providerId="AD" clId="Web-{E2572024-EC31-47B5-AB6C-0403474827CD}"/>
    <pc:docChg chg="modSld">
      <pc:chgData name="Völkel, Tobias" userId="S::ru22boda@fauad.fau.de::9c02bf22-18bb-468a-b263-c51c2dc523eb" providerId="AD" clId="Web-{E2572024-EC31-47B5-AB6C-0403474827CD}" dt="2023-03-12T19:21:41.633" v="0" actId="1076"/>
      <pc:docMkLst>
        <pc:docMk/>
      </pc:docMkLst>
      <pc:sldChg chg="modSp">
        <pc:chgData name="Völkel, Tobias" userId="S::ru22boda@fauad.fau.de::9c02bf22-18bb-468a-b263-c51c2dc523eb" providerId="AD" clId="Web-{E2572024-EC31-47B5-AB6C-0403474827CD}" dt="2023-03-12T19:21:41.633" v="0" actId="1076"/>
        <pc:sldMkLst>
          <pc:docMk/>
          <pc:sldMk cId="1610430565" sldId="466"/>
        </pc:sldMkLst>
        <pc:spChg chg="mod">
          <ac:chgData name="Völkel, Tobias" userId="S::ru22boda@fauad.fau.de::9c02bf22-18bb-468a-b263-c51c2dc523eb" providerId="AD" clId="Web-{E2572024-EC31-47B5-AB6C-0403474827CD}" dt="2023-03-12T19:21:41.633" v="0" actId="1076"/>
          <ac:spMkLst>
            <pc:docMk/>
            <pc:sldMk cId="1610430565" sldId="466"/>
            <ac:spMk id="8" creationId="{8B82F416-85EC-89D0-4DA8-E8DF89A8B5F7}"/>
          </ac:spMkLst>
        </pc:spChg>
      </pc:sldChg>
    </pc:docChg>
  </pc:docChgLst>
  <pc:docChgLst>
    <pc:chgData name="Tobias Völkel" userId="9c02bf22-18bb-468a-b263-c51c2dc523eb" providerId="ADAL" clId="{002B9D64-17D5-9E4A-BFA7-5A2CE99A15B4}"/>
    <pc:docChg chg="modSld">
      <pc:chgData name="Tobias Völkel" userId="9c02bf22-18bb-468a-b263-c51c2dc523eb" providerId="ADAL" clId="{002B9D64-17D5-9E4A-BFA7-5A2CE99A15B4}" dt="2023-03-13T07:39:28.177" v="6" actId="1038"/>
      <pc:docMkLst>
        <pc:docMk/>
      </pc:docMkLst>
      <pc:sldChg chg="modSp mod">
        <pc:chgData name="Tobias Völkel" userId="9c02bf22-18bb-468a-b263-c51c2dc523eb" providerId="ADAL" clId="{002B9D64-17D5-9E4A-BFA7-5A2CE99A15B4}" dt="2023-03-13T07:39:28.177" v="6" actId="1038"/>
        <pc:sldMkLst>
          <pc:docMk/>
          <pc:sldMk cId="2866409584" sldId="463"/>
        </pc:sldMkLst>
        <pc:spChg chg="mod">
          <ac:chgData name="Tobias Völkel" userId="9c02bf22-18bb-468a-b263-c51c2dc523eb" providerId="ADAL" clId="{002B9D64-17D5-9E4A-BFA7-5A2CE99A15B4}" dt="2023-03-13T07:39:28.177" v="6" actId="1038"/>
          <ac:spMkLst>
            <pc:docMk/>
            <pc:sldMk cId="2866409584" sldId="463"/>
            <ac:spMk id="12" creationId="{8D357758-4FEB-B762-246C-27DCEC51BF63}"/>
          </ac:spMkLst>
        </pc:spChg>
      </pc:sldChg>
    </pc:docChg>
  </pc:docChgLst>
  <pc:docChgLst>
    <pc:chgData name="Fourati, Omar" userId="S::oz48ohuv@fauad.fau.de::543b926d-baf3-4e4d-861e-19746c37446c" providerId="AD" clId="Web-{6F581B2B-C721-415F-99CD-F216EFC1F8AF}"/>
    <pc:docChg chg="addSld delSld modSld sldOrd">
      <pc:chgData name="Fourati, Omar" userId="S::oz48ohuv@fauad.fau.de::543b926d-baf3-4e4d-861e-19746c37446c" providerId="AD" clId="Web-{6F581B2B-C721-415F-99CD-F216EFC1F8AF}" dt="2023-03-12T10:04:00.854" v="72" actId="20577"/>
      <pc:docMkLst>
        <pc:docMk/>
      </pc:docMkLst>
      <pc:sldChg chg="addSp delSp modSp ord">
        <pc:chgData name="Fourati, Omar" userId="S::oz48ohuv@fauad.fau.de::543b926d-baf3-4e4d-861e-19746c37446c" providerId="AD" clId="Web-{6F581B2B-C721-415F-99CD-F216EFC1F8AF}" dt="2023-03-12T09:52:19.462" v="63" actId="1076"/>
        <pc:sldMkLst>
          <pc:docMk/>
          <pc:sldMk cId="1082558063" sldId="292"/>
        </pc:sldMkLst>
        <pc:spChg chg="del">
          <ac:chgData name="Fourati, Omar" userId="S::oz48ohuv@fauad.fau.de::543b926d-baf3-4e4d-861e-19746c37446c" providerId="AD" clId="Web-{6F581B2B-C721-415F-99CD-F216EFC1F8AF}" dt="2023-03-12T09:50:07.115" v="54"/>
          <ac:spMkLst>
            <pc:docMk/>
            <pc:sldMk cId="1082558063" sldId="292"/>
            <ac:spMk id="2" creationId="{1512DD7F-5AB1-A2FD-BCE8-727A941D799C}"/>
          </ac:spMkLst>
        </pc:spChg>
        <pc:spChg chg="del">
          <ac:chgData name="Fourati, Omar" userId="S::oz48ohuv@fauad.fau.de::543b926d-baf3-4e4d-861e-19746c37446c" providerId="AD" clId="Web-{6F581B2B-C721-415F-99CD-F216EFC1F8AF}" dt="2023-03-12T09:50:02.943" v="53"/>
          <ac:spMkLst>
            <pc:docMk/>
            <pc:sldMk cId="1082558063" sldId="292"/>
            <ac:spMk id="3" creationId="{6D80B047-9E49-1669-DF5E-8B5410C0F8AA}"/>
          </ac:spMkLst>
        </pc:spChg>
        <pc:spChg chg="add mod">
          <ac:chgData name="Fourati, Omar" userId="S::oz48ohuv@fauad.fau.de::543b926d-baf3-4e4d-861e-19746c37446c" providerId="AD" clId="Web-{6F581B2B-C721-415F-99CD-F216EFC1F8AF}" dt="2023-03-12T09:42:52.511" v="6" actId="1076"/>
          <ac:spMkLst>
            <pc:docMk/>
            <pc:sldMk cId="1082558063" sldId="292"/>
            <ac:spMk id="4" creationId="{64D46844-25A4-ABF1-3059-EBB4756E9111}"/>
          </ac:spMkLst>
        </pc:spChg>
        <pc:spChg chg="mod">
          <ac:chgData name="Fourati, Omar" userId="S::oz48ohuv@fauad.fau.de::543b926d-baf3-4e4d-861e-19746c37446c" providerId="AD" clId="Web-{6F581B2B-C721-415F-99CD-F216EFC1F8AF}" dt="2023-03-12T09:49:39.709" v="51" actId="1076"/>
          <ac:spMkLst>
            <pc:docMk/>
            <pc:sldMk cId="1082558063" sldId="292"/>
            <ac:spMk id="6" creationId="{390E31C9-4007-57BF-957C-BAB104CB6C28}"/>
          </ac:spMkLst>
        </pc:spChg>
        <pc:spChg chg="del mod">
          <ac:chgData name="Fourati, Omar" userId="S::oz48ohuv@fauad.fau.de::543b926d-baf3-4e4d-861e-19746c37446c" providerId="AD" clId="Web-{6F581B2B-C721-415F-99CD-F216EFC1F8AF}" dt="2023-03-12T09:50:37.835" v="57"/>
          <ac:spMkLst>
            <pc:docMk/>
            <pc:sldMk cId="1082558063" sldId="292"/>
            <ac:spMk id="7" creationId="{C53FB252-BBDB-B373-D694-0BD7FF6E22D8}"/>
          </ac:spMkLst>
        </pc:spChg>
        <pc:spChg chg="add mod">
          <ac:chgData name="Fourati, Omar" userId="S::oz48ohuv@fauad.fau.de::543b926d-baf3-4e4d-861e-19746c37446c" providerId="AD" clId="Web-{6F581B2B-C721-415F-99CD-F216EFC1F8AF}" dt="2023-03-12T09:43:00.230" v="8" actId="1076"/>
          <ac:spMkLst>
            <pc:docMk/>
            <pc:sldMk cId="1082558063" sldId="292"/>
            <ac:spMk id="11" creationId="{2C07DEE9-0715-64E3-04E4-EBDB9ED4CEB5}"/>
          </ac:spMkLst>
        </pc:spChg>
        <pc:spChg chg="add mod">
          <ac:chgData name="Fourati, Omar" userId="S::oz48ohuv@fauad.fau.de::543b926d-baf3-4e4d-861e-19746c37446c" providerId="AD" clId="Web-{6F581B2B-C721-415F-99CD-F216EFC1F8AF}" dt="2023-03-12T09:48:43.535" v="43" actId="1076"/>
          <ac:spMkLst>
            <pc:docMk/>
            <pc:sldMk cId="1082558063" sldId="292"/>
            <ac:spMk id="12" creationId="{87019979-D3C1-5671-4E21-C50DD71C6F95}"/>
          </ac:spMkLst>
        </pc:spChg>
        <pc:spChg chg="add mod">
          <ac:chgData name="Fourati, Omar" userId="S::oz48ohuv@fauad.fau.de::543b926d-baf3-4e4d-861e-19746c37446c" providerId="AD" clId="Web-{6F581B2B-C721-415F-99CD-F216EFC1F8AF}" dt="2023-03-12T09:48:32.894" v="41" actId="1076"/>
          <ac:spMkLst>
            <pc:docMk/>
            <pc:sldMk cId="1082558063" sldId="292"/>
            <ac:spMk id="13" creationId="{7492A62D-40FF-57DC-A028-95FEA3B18724}"/>
          </ac:spMkLst>
        </pc:spChg>
        <pc:spChg chg="mod">
          <ac:chgData name="Fourati, Omar" userId="S::oz48ohuv@fauad.fau.de::543b926d-baf3-4e4d-861e-19746c37446c" providerId="AD" clId="Web-{6F581B2B-C721-415F-99CD-F216EFC1F8AF}" dt="2023-03-12T09:42:26.823" v="3" actId="1076"/>
          <ac:spMkLst>
            <pc:docMk/>
            <pc:sldMk cId="1082558063" sldId="292"/>
            <ac:spMk id="14" creationId="{AE8B0075-AEE2-8EA3-3F40-4F0EC2E29CF2}"/>
          </ac:spMkLst>
        </pc:spChg>
        <pc:spChg chg="add del mod">
          <ac:chgData name="Fourati, Omar" userId="S::oz48ohuv@fauad.fau.de::543b926d-baf3-4e4d-861e-19746c37446c" providerId="AD" clId="Web-{6F581B2B-C721-415F-99CD-F216EFC1F8AF}" dt="2023-03-12T09:51:42.352" v="60"/>
          <ac:spMkLst>
            <pc:docMk/>
            <pc:sldMk cId="1082558063" sldId="292"/>
            <ac:spMk id="18" creationId="{7D7DB72E-8F31-61D2-A743-025498E014DF}"/>
          </ac:spMkLst>
        </pc:spChg>
        <pc:spChg chg="mod">
          <ac:chgData name="Fourati, Omar" userId="S::oz48ohuv@fauad.fau.de::543b926d-baf3-4e4d-861e-19746c37446c" providerId="AD" clId="Web-{6F581B2B-C721-415F-99CD-F216EFC1F8AF}" dt="2023-03-12T09:42:18.010" v="1" actId="1076"/>
          <ac:spMkLst>
            <pc:docMk/>
            <pc:sldMk cId="1082558063" sldId="292"/>
            <ac:spMk id="21" creationId="{0BDF9853-DFCF-384A-68C0-C6749403AC4D}"/>
          </ac:spMkLst>
        </pc:spChg>
        <pc:spChg chg="mod">
          <ac:chgData name="Fourati, Omar" userId="S::oz48ohuv@fauad.fau.de::543b926d-baf3-4e4d-861e-19746c37446c" providerId="AD" clId="Web-{6F581B2B-C721-415F-99CD-F216EFC1F8AF}" dt="2023-03-12T09:42:11.666" v="0" actId="1076"/>
          <ac:spMkLst>
            <pc:docMk/>
            <pc:sldMk cId="1082558063" sldId="292"/>
            <ac:spMk id="25" creationId="{7CCE3366-67FA-F7EB-E6A6-111630AC50F2}"/>
          </ac:spMkLst>
        </pc:spChg>
        <pc:spChg chg="mod">
          <ac:chgData name="Fourati, Omar" userId="S::oz48ohuv@fauad.fau.de::543b926d-baf3-4e4d-861e-19746c37446c" providerId="AD" clId="Web-{6F581B2B-C721-415F-99CD-F216EFC1F8AF}" dt="2023-03-12T09:43:32.918" v="10" actId="20577"/>
          <ac:spMkLst>
            <pc:docMk/>
            <pc:sldMk cId="1082558063" sldId="292"/>
            <ac:spMk id="39" creationId="{0AA60522-7387-0451-7976-FEE1A09D4E96}"/>
          </ac:spMkLst>
        </pc:spChg>
        <pc:spChg chg="mod">
          <ac:chgData name="Fourati, Omar" userId="S::oz48ohuv@fauad.fau.de::543b926d-baf3-4e4d-861e-19746c37446c" providerId="AD" clId="Web-{6F581B2B-C721-415F-99CD-F216EFC1F8AF}" dt="2023-03-12T09:42:20.792" v="2" actId="1076"/>
          <ac:spMkLst>
            <pc:docMk/>
            <pc:sldMk cId="1082558063" sldId="292"/>
            <ac:spMk id="43" creationId="{86DD3D14-6CB6-A1EB-22DE-FD0D7A2F3D8C}"/>
          </ac:spMkLst>
        </pc:spChg>
        <pc:spChg chg="mod">
          <ac:chgData name="Fourati, Omar" userId="S::oz48ohuv@fauad.fau.de::543b926d-baf3-4e4d-861e-19746c37446c" providerId="AD" clId="Web-{6F581B2B-C721-415F-99CD-F216EFC1F8AF}" dt="2023-03-12T09:43:34.872" v="12" actId="20577"/>
          <ac:spMkLst>
            <pc:docMk/>
            <pc:sldMk cId="1082558063" sldId="292"/>
            <ac:spMk id="126" creationId="{EDA50BB1-AD71-949E-8BFA-FC69E518AAD6}"/>
          </ac:spMkLst>
        </pc:spChg>
        <pc:spChg chg="mod">
          <ac:chgData name="Fourati, Omar" userId="S::oz48ohuv@fauad.fau.de::543b926d-baf3-4e4d-861e-19746c37446c" providerId="AD" clId="Web-{6F581B2B-C721-415F-99CD-F216EFC1F8AF}" dt="2023-03-12T09:52:11.493" v="62" actId="1076"/>
          <ac:spMkLst>
            <pc:docMk/>
            <pc:sldMk cId="1082558063" sldId="292"/>
            <ac:spMk id="226" creationId="{BA242309-906E-A308-FF44-B73B22F63878}"/>
          </ac:spMkLst>
        </pc:spChg>
        <pc:spChg chg="mod">
          <ac:chgData name="Fourati, Omar" userId="S::oz48ohuv@fauad.fau.de::543b926d-baf3-4e4d-861e-19746c37446c" providerId="AD" clId="Web-{6F581B2B-C721-415F-99CD-F216EFC1F8AF}" dt="2023-03-12T09:45:58.531" v="13" actId="1076"/>
          <ac:spMkLst>
            <pc:docMk/>
            <pc:sldMk cId="1082558063" sldId="292"/>
            <ac:spMk id="231" creationId="{4F1F3672-220D-6C46-ABA6-5ED272CDF809}"/>
          </ac:spMkLst>
        </pc:spChg>
        <pc:spChg chg="mod">
          <ac:chgData name="Fourati, Omar" userId="S::oz48ohuv@fauad.fau.de::543b926d-baf3-4e4d-861e-19746c37446c" providerId="AD" clId="Web-{6F581B2B-C721-415F-99CD-F216EFC1F8AF}" dt="2023-03-12T09:47:12.502" v="25" actId="1076"/>
          <ac:spMkLst>
            <pc:docMk/>
            <pc:sldMk cId="1082558063" sldId="292"/>
            <ac:spMk id="232" creationId="{BBD73C11-ED96-00F8-848B-5B1F1D3869AC}"/>
          </ac:spMkLst>
        </pc:spChg>
        <pc:spChg chg="mod">
          <ac:chgData name="Fourati, Omar" userId="S::oz48ohuv@fauad.fau.de::543b926d-baf3-4e4d-861e-19746c37446c" providerId="AD" clId="Web-{6F581B2B-C721-415F-99CD-F216EFC1F8AF}" dt="2023-03-12T09:52:19.462" v="63" actId="1076"/>
          <ac:spMkLst>
            <pc:docMk/>
            <pc:sldMk cId="1082558063" sldId="292"/>
            <ac:spMk id="234" creationId="{DE3599F4-C0C6-5466-746F-AEE8E1B1A91C}"/>
          </ac:spMkLst>
        </pc:spChg>
      </pc:sldChg>
      <pc:sldChg chg="modSp add replId">
        <pc:chgData name="Fourati, Omar" userId="S::oz48ohuv@fauad.fau.de::543b926d-baf3-4e4d-861e-19746c37446c" providerId="AD" clId="Web-{6F581B2B-C721-415F-99CD-F216EFC1F8AF}" dt="2023-03-12T10:04:00.854" v="72" actId="20577"/>
        <pc:sldMkLst>
          <pc:docMk/>
          <pc:sldMk cId="634732272" sldId="458"/>
        </pc:sldMkLst>
        <pc:spChg chg="mod">
          <ac:chgData name="Fourati, Omar" userId="S::oz48ohuv@fauad.fau.de::543b926d-baf3-4e4d-861e-19746c37446c" providerId="AD" clId="Web-{6F581B2B-C721-415F-99CD-F216EFC1F8AF}" dt="2023-03-12T10:04:00.854" v="72" actId="20577"/>
          <ac:spMkLst>
            <pc:docMk/>
            <pc:sldMk cId="634732272" sldId="458"/>
            <ac:spMk id="9" creationId="{06E69EF6-5F75-EF00-A656-2EF79BFF6CB7}"/>
          </ac:spMkLst>
        </pc:spChg>
      </pc:sldChg>
      <pc:sldChg chg="new del">
        <pc:chgData name="Fourati, Omar" userId="S::oz48ohuv@fauad.fau.de::543b926d-baf3-4e4d-861e-19746c37446c" providerId="AD" clId="Web-{6F581B2B-C721-415F-99CD-F216EFC1F8AF}" dt="2023-03-12T10:03:37.010" v="65"/>
        <pc:sldMkLst>
          <pc:docMk/>
          <pc:sldMk cId="1406073938" sldId="458"/>
        </pc:sldMkLst>
      </pc:sldChg>
    </pc:docChg>
  </pc:docChgLst>
  <pc:docChgLst>
    <pc:chgData name="Völkel, Tobias" userId="S::ru22boda@fauad.fau.de::9c02bf22-18bb-468a-b263-c51c2dc523eb" providerId="AD" clId="Web-{9F5967ED-A8A7-4A58-A665-E32F4B4960F2}"/>
    <pc:docChg chg="addSld delSld modSld sldOrd">
      <pc:chgData name="Völkel, Tobias" userId="S::ru22boda@fauad.fau.de::9c02bf22-18bb-468a-b263-c51c2dc523eb" providerId="AD" clId="Web-{9F5967ED-A8A7-4A58-A665-E32F4B4960F2}" dt="2023-01-15T17:43:24.058" v="297" actId="1076"/>
      <pc:docMkLst>
        <pc:docMk/>
      </pc:docMkLst>
      <pc:sldChg chg="modSp">
        <pc:chgData name="Völkel, Tobias" userId="S::ru22boda@fauad.fau.de::9c02bf22-18bb-468a-b263-c51c2dc523eb" providerId="AD" clId="Web-{9F5967ED-A8A7-4A58-A665-E32F4B4960F2}" dt="2023-01-15T15:19:01.945" v="11" actId="20577"/>
        <pc:sldMkLst>
          <pc:docMk/>
          <pc:sldMk cId="2822663259" sldId="310"/>
        </pc:sldMkLst>
        <pc:spChg chg="mod">
          <ac:chgData name="Völkel, Tobias" userId="S::ru22boda@fauad.fau.de::9c02bf22-18bb-468a-b263-c51c2dc523eb" providerId="AD" clId="Web-{9F5967ED-A8A7-4A58-A665-E32F4B4960F2}" dt="2023-01-15T15:19:01.945" v="11" actId="20577"/>
          <ac:spMkLst>
            <pc:docMk/>
            <pc:sldMk cId="2822663259" sldId="310"/>
            <ac:spMk id="27" creationId="{3E42329F-F9FA-34EA-70BC-4571D1E23889}"/>
          </ac:spMkLst>
        </pc:spChg>
      </pc:sldChg>
      <pc:sldChg chg="addSp delSp modSp new">
        <pc:chgData name="Völkel, Tobias" userId="S::ru22boda@fauad.fau.de::9c02bf22-18bb-468a-b263-c51c2dc523eb" providerId="AD" clId="Web-{9F5967ED-A8A7-4A58-A665-E32F4B4960F2}" dt="2023-01-15T16:11:52.981" v="162" actId="14100"/>
        <pc:sldMkLst>
          <pc:docMk/>
          <pc:sldMk cId="609627312" sldId="320"/>
        </pc:sldMkLst>
        <pc:spChg chg="del">
          <ac:chgData name="Völkel, Tobias" userId="S::ru22boda@fauad.fau.de::9c02bf22-18bb-468a-b263-c51c2dc523eb" providerId="AD" clId="Web-{9F5967ED-A8A7-4A58-A665-E32F4B4960F2}" dt="2023-01-15T15:27:18.272" v="106"/>
          <ac:spMkLst>
            <pc:docMk/>
            <pc:sldMk cId="609627312" sldId="320"/>
            <ac:spMk id="5" creationId="{9FB2D0BD-192D-C538-DDB4-55472FD317A4}"/>
          </ac:spMkLst>
        </pc:spChg>
        <pc:spChg chg="mod">
          <ac:chgData name="Völkel, Tobias" userId="S::ru22boda@fauad.fau.de::9c02bf22-18bb-468a-b263-c51c2dc523eb" providerId="AD" clId="Web-{9F5967ED-A8A7-4A58-A665-E32F4B4960F2}" dt="2023-01-15T15:19:59.634" v="47" actId="20577"/>
          <ac:spMkLst>
            <pc:docMk/>
            <pc:sldMk cId="609627312" sldId="320"/>
            <ac:spMk id="6" creationId="{D369FE0A-FF5C-FCD4-4A5F-84D5E00774CA}"/>
          </ac:spMkLst>
        </pc:spChg>
        <pc:spChg chg="del">
          <ac:chgData name="Völkel, Tobias" userId="S::ru22boda@fauad.fau.de::9c02bf22-18bb-468a-b263-c51c2dc523eb" providerId="AD" clId="Web-{9F5967ED-A8A7-4A58-A665-E32F4B4960F2}" dt="2023-01-15T15:32:14.374" v="112"/>
          <ac:spMkLst>
            <pc:docMk/>
            <pc:sldMk cId="609627312" sldId="320"/>
            <ac:spMk id="7" creationId="{C036871A-AA41-C72B-7F68-37D3D2DF2B3A}"/>
          </ac:spMkLst>
        </pc:spChg>
        <pc:spChg chg="add mod">
          <ac:chgData name="Völkel, Tobias" userId="S::ru22boda@fauad.fau.de::9c02bf22-18bb-468a-b263-c51c2dc523eb" providerId="AD" clId="Web-{9F5967ED-A8A7-4A58-A665-E32F4B4960F2}" dt="2023-01-15T16:11:34.902" v="154"/>
          <ac:spMkLst>
            <pc:docMk/>
            <pc:sldMk cId="609627312" sldId="320"/>
            <ac:spMk id="14" creationId="{F7F6E326-0099-01C3-E702-E35D67D8B99F}"/>
          </ac:spMkLst>
        </pc:spChg>
        <pc:picChg chg="add mod ord">
          <ac:chgData name="Völkel, Tobias" userId="S::ru22boda@fauad.fau.de::9c02bf22-18bb-468a-b263-c51c2dc523eb" providerId="AD" clId="Web-{9F5967ED-A8A7-4A58-A665-E32F4B4960F2}" dt="2023-01-15T15:33:15.313" v="122" actId="1076"/>
          <ac:picMkLst>
            <pc:docMk/>
            <pc:sldMk cId="609627312" sldId="320"/>
            <ac:picMk id="9" creationId="{FD219B74-D2A2-84E2-A313-D254B5F8D557}"/>
          </ac:picMkLst>
        </pc:picChg>
        <pc:picChg chg="add del mod ord modCrop">
          <ac:chgData name="Völkel, Tobias" userId="S::ru22boda@fauad.fau.de::9c02bf22-18bb-468a-b263-c51c2dc523eb" providerId="AD" clId="Web-{9F5967ED-A8A7-4A58-A665-E32F4B4960F2}" dt="2023-01-15T16:11:34.902" v="154"/>
          <ac:picMkLst>
            <pc:docMk/>
            <pc:sldMk cId="609627312" sldId="320"/>
            <ac:picMk id="10" creationId="{D10192AF-1D59-2481-98A4-71DD38FB821E}"/>
          </ac:picMkLst>
        </pc:picChg>
        <pc:picChg chg="add mod">
          <ac:chgData name="Völkel, Tobias" userId="S::ru22boda@fauad.fau.de::9c02bf22-18bb-468a-b263-c51c2dc523eb" providerId="AD" clId="Web-{9F5967ED-A8A7-4A58-A665-E32F4B4960F2}" dt="2023-01-15T16:11:52.981" v="162" actId="14100"/>
          <ac:picMkLst>
            <pc:docMk/>
            <pc:sldMk cId="609627312" sldId="320"/>
            <ac:picMk id="11" creationId="{27923154-3C01-C437-0988-CBF9B444741E}"/>
          </ac:picMkLst>
        </pc:picChg>
        <pc:picChg chg="add mod">
          <ac:chgData name="Völkel, Tobias" userId="S::ru22boda@fauad.fau.de::9c02bf22-18bb-468a-b263-c51c2dc523eb" providerId="AD" clId="Web-{9F5967ED-A8A7-4A58-A665-E32F4B4960F2}" dt="2023-01-15T16:11:42.184" v="157" actId="14100"/>
          <ac:picMkLst>
            <pc:docMk/>
            <pc:sldMk cId="609627312" sldId="320"/>
            <ac:picMk id="12" creationId="{6E116DBA-4519-2AE8-F543-0C638F5D40A3}"/>
          </ac:picMkLst>
        </pc:picChg>
      </pc:sldChg>
      <pc:sldChg chg="del">
        <pc:chgData name="Völkel, Tobias" userId="S::ru22boda@fauad.fau.de::9c02bf22-18bb-468a-b263-c51c2dc523eb" providerId="AD" clId="Web-{9F5967ED-A8A7-4A58-A665-E32F4B4960F2}" dt="2023-01-15T15:17:35.551" v="0"/>
        <pc:sldMkLst>
          <pc:docMk/>
          <pc:sldMk cId="3297688070" sldId="320"/>
        </pc:sldMkLst>
      </pc:sldChg>
      <pc:sldChg chg="addSp delSp modSp new">
        <pc:chgData name="Völkel, Tobias" userId="S::ru22boda@fauad.fau.de::9c02bf22-18bb-468a-b263-c51c2dc523eb" providerId="AD" clId="Web-{9F5967ED-A8A7-4A58-A665-E32F4B4960F2}" dt="2023-01-15T17:43:24.058" v="297" actId="1076"/>
        <pc:sldMkLst>
          <pc:docMk/>
          <pc:sldMk cId="1209725749" sldId="321"/>
        </pc:sldMkLst>
        <pc:spChg chg="del">
          <ac:chgData name="Völkel, Tobias" userId="S::ru22boda@fauad.fau.de::9c02bf22-18bb-468a-b263-c51c2dc523eb" providerId="AD" clId="Web-{9F5967ED-A8A7-4A58-A665-E32F4B4960F2}" dt="2023-01-15T17:42:46.120" v="292"/>
          <ac:spMkLst>
            <pc:docMk/>
            <pc:sldMk cId="1209725749" sldId="321"/>
            <ac:spMk id="5" creationId="{534336A4-D132-8AF8-4184-D04B1F1777B6}"/>
          </ac:spMkLst>
        </pc:spChg>
        <pc:spChg chg="mod">
          <ac:chgData name="Völkel, Tobias" userId="S::ru22boda@fauad.fau.de::9c02bf22-18bb-468a-b263-c51c2dc523eb" providerId="AD" clId="Web-{9F5967ED-A8A7-4A58-A665-E32F4B4960F2}" dt="2023-01-15T15:19:25.851" v="27" actId="20577"/>
          <ac:spMkLst>
            <pc:docMk/>
            <pc:sldMk cId="1209725749" sldId="321"/>
            <ac:spMk id="6" creationId="{17C9EC8F-EBC3-E93A-2AEB-780E0EAA772E}"/>
          </ac:spMkLst>
        </pc:spChg>
        <pc:spChg chg="del">
          <ac:chgData name="Völkel, Tobias" userId="S::ru22boda@fauad.fau.de::9c02bf22-18bb-468a-b263-c51c2dc523eb" providerId="AD" clId="Web-{9F5967ED-A8A7-4A58-A665-E32F4B4960F2}" dt="2023-01-15T17:42:51.370" v="293"/>
          <ac:spMkLst>
            <pc:docMk/>
            <pc:sldMk cId="1209725749" sldId="321"/>
            <ac:spMk id="7" creationId="{48F48BB7-EC0F-AAA3-E4D8-8A09A8C2C3CD}"/>
          </ac:spMkLst>
        </pc:spChg>
        <pc:spChg chg="mod">
          <ac:chgData name="Völkel, Tobias" userId="S::ru22boda@fauad.fau.de::9c02bf22-18bb-468a-b263-c51c2dc523eb" providerId="AD" clId="Web-{9F5967ED-A8A7-4A58-A665-E32F4B4960F2}" dt="2023-01-15T17:38:07.735" v="205" actId="20577"/>
          <ac:spMkLst>
            <pc:docMk/>
            <pc:sldMk cId="1209725749" sldId="321"/>
            <ac:spMk id="8" creationId="{148C5908-9D0B-D297-435F-5D34ED4435D8}"/>
          </ac:spMkLst>
        </pc:spChg>
        <pc:picChg chg="add mod ord">
          <ac:chgData name="Völkel, Tobias" userId="S::ru22boda@fauad.fau.de::9c02bf22-18bb-468a-b263-c51c2dc523eb" providerId="AD" clId="Web-{9F5967ED-A8A7-4A58-A665-E32F4B4960F2}" dt="2023-01-15T17:43:24.058" v="297" actId="1076"/>
          <ac:picMkLst>
            <pc:docMk/>
            <pc:sldMk cId="1209725749" sldId="321"/>
            <ac:picMk id="9" creationId="{3D2F41C3-7E70-6FDB-452E-BDFD33CFF21E}"/>
          </ac:picMkLst>
        </pc:picChg>
        <pc:picChg chg="add mod ord modCrop">
          <ac:chgData name="Völkel, Tobias" userId="S::ru22boda@fauad.fau.de::9c02bf22-18bb-468a-b263-c51c2dc523eb" providerId="AD" clId="Web-{9F5967ED-A8A7-4A58-A665-E32F4B4960F2}" dt="2023-01-15T17:43:22.449" v="296" actId="1076"/>
          <ac:picMkLst>
            <pc:docMk/>
            <pc:sldMk cId="1209725749" sldId="321"/>
            <ac:picMk id="10" creationId="{EFA847B1-540B-D2E1-FAD7-5AEE114AE388}"/>
          </ac:picMkLst>
        </pc:picChg>
        <pc:picChg chg="add mod">
          <ac:chgData name="Völkel, Tobias" userId="S::ru22boda@fauad.fau.de::9c02bf22-18bb-468a-b263-c51c2dc523eb" providerId="AD" clId="Web-{9F5967ED-A8A7-4A58-A665-E32F4B4960F2}" dt="2023-01-15T17:42:58.854" v="294"/>
          <ac:picMkLst>
            <pc:docMk/>
            <pc:sldMk cId="1209725749" sldId="321"/>
            <ac:picMk id="11" creationId="{15E64D0D-3D59-9791-5FED-8CCB01D288B6}"/>
          </ac:picMkLst>
        </pc:picChg>
      </pc:sldChg>
      <pc:sldChg chg="addSp delSp modSp new ord">
        <pc:chgData name="Völkel, Tobias" userId="S::ru22boda@fauad.fau.de::9c02bf22-18bb-468a-b263-c51c2dc523eb" providerId="AD" clId="Web-{9F5967ED-A8A7-4A58-A665-E32F4B4960F2}" dt="2023-01-15T16:06:51.112" v="152" actId="1076"/>
        <pc:sldMkLst>
          <pc:docMk/>
          <pc:sldMk cId="1876030968" sldId="322"/>
        </pc:sldMkLst>
        <pc:spChg chg="del">
          <ac:chgData name="Völkel, Tobias" userId="S::ru22boda@fauad.fau.de::9c02bf22-18bb-468a-b263-c51c2dc523eb" providerId="AD" clId="Web-{9F5967ED-A8A7-4A58-A665-E32F4B4960F2}" dt="2023-01-15T15:27:27.366" v="107"/>
          <ac:spMkLst>
            <pc:docMk/>
            <pc:sldMk cId="1876030968" sldId="322"/>
            <ac:spMk id="5" creationId="{A3223700-4EBC-D5C7-E840-CDABB89CFD8C}"/>
          </ac:spMkLst>
        </pc:spChg>
        <pc:spChg chg="mod">
          <ac:chgData name="Völkel, Tobias" userId="S::ru22boda@fauad.fau.de::9c02bf22-18bb-468a-b263-c51c2dc523eb" providerId="AD" clId="Web-{9F5967ED-A8A7-4A58-A665-E32F4B4960F2}" dt="2023-01-15T15:20:20.759" v="80" actId="20577"/>
          <ac:spMkLst>
            <pc:docMk/>
            <pc:sldMk cId="1876030968" sldId="322"/>
            <ac:spMk id="6" creationId="{48C6A416-692B-28B3-F477-85D1A3ABCF46}"/>
          </ac:spMkLst>
        </pc:spChg>
        <pc:spChg chg="del">
          <ac:chgData name="Völkel, Tobias" userId="S::ru22boda@fauad.fau.de::9c02bf22-18bb-468a-b263-c51c2dc523eb" providerId="AD" clId="Web-{9F5967ED-A8A7-4A58-A665-E32F4B4960F2}" dt="2023-01-15T16:04:12.186" v="135"/>
          <ac:spMkLst>
            <pc:docMk/>
            <pc:sldMk cId="1876030968" sldId="322"/>
            <ac:spMk id="7" creationId="{1A5A1455-D947-99CA-03DA-A8D18A999A2B}"/>
          </ac:spMkLst>
        </pc:spChg>
        <pc:picChg chg="add mod ord">
          <ac:chgData name="Völkel, Tobias" userId="S::ru22boda@fauad.fau.de::9c02bf22-18bb-468a-b263-c51c2dc523eb" providerId="AD" clId="Web-{9F5967ED-A8A7-4A58-A665-E32F4B4960F2}" dt="2023-01-15T15:59:43.693" v="134" actId="1076"/>
          <ac:picMkLst>
            <pc:docMk/>
            <pc:sldMk cId="1876030968" sldId="322"/>
            <ac:picMk id="9" creationId="{2D01A94A-C0FF-FB83-AC26-61E2CB521D95}"/>
          </ac:picMkLst>
        </pc:picChg>
        <pc:picChg chg="add mod ord modCrop">
          <ac:chgData name="Völkel, Tobias" userId="S::ru22boda@fauad.fau.de::9c02bf22-18bb-468a-b263-c51c2dc523eb" providerId="AD" clId="Web-{9F5967ED-A8A7-4A58-A665-E32F4B4960F2}" dt="2023-01-15T16:06:20.111" v="149" actId="1076"/>
          <ac:picMkLst>
            <pc:docMk/>
            <pc:sldMk cId="1876030968" sldId="322"/>
            <ac:picMk id="10" creationId="{A1FB7AD5-32E2-CD6E-E576-47418447E5FA}"/>
          </ac:picMkLst>
        </pc:picChg>
        <pc:picChg chg="add mod">
          <ac:chgData name="Völkel, Tobias" userId="S::ru22boda@fauad.fau.de::9c02bf22-18bb-468a-b263-c51c2dc523eb" providerId="AD" clId="Web-{9F5967ED-A8A7-4A58-A665-E32F4B4960F2}" dt="2023-01-15T16:06:51.112" v="152" actId="1076"/>
          <ac:picMkLst>
            <pc:docMk/>
            <pc:sldMk cId="1876030968" sldId="322"/>
            <ac:picMk id="11" creationId="{602560C8-8985-0E02-F64E-F8B2C7968569}"/>
          </ac:picMkLst>
        </pc:picChg>
      </pc:sldChg>
      <pc:sldChg chg="modSp new">
        <pc:chgData name="Völkel, Tobias" userId="S::ru22boda@fauad.fau.de::9c02bf22-18bb-468a-b263-c51c2dc523eb" providerId="AD" clId="Web-{9F5967ED-A8A7-4A58-A665-E32F4B4960F2}" dt="2023-01-15T17:42:43.416" v="291" actId="20577"/>
        <pc:sldMkLst>
          <pc:docMk/>
          <pc:sldMk cId="2294660800" sldId="323"/>
        </pc:sldMkLst>
        <pc:spChg chg="mod">
          <ac:chgData name="Völkel, Tobias" userId="S::ru22boda@fauad.fau.de::9c02bf22-18bb-468a-b263-c51c2dc523eb" providerId="AD" clId="Web-{9F5967ED-A8A7-4A58-A665-E32F4B4960F2}" dt="2023-01-15T17:42:43.416" v="291" actId="20577"/>
          <ac:spMkLst>
            <pc:docMk/>
            <pc:sldMk cId="2294660800" sldId="323"/>
            <ac:spMk id="5" creationId="{273647B4-C84F-10C8-CAD6-35BD0C061470}"/>
          </ac:spMkLst>
        </pc:spChg>
        <pc:spChg chg="mod">
          <ac:chgData name="Völkel, Tobias" userId="S::ru22boda@fauad.fau.de::9c02bf22-18bb-468a-b263-c51c2dc523eb" providerId="AD" clId="Web-{9F5967ED-A8A7-4A58-A665-E32F4B4960F2}" dt="2023-01-15T15:22:04.966" v="105" actId="20577"/>
          <ac:spMkLst>
            <pc:docMk/>
            <pc:sldMk cId="2294660800" sldId="323"/>
            <ac:spMk id="6" creationId="{1CC0CD23-B9EB-670A-82BD-A0E19B6F3D2F}"/>
          </ac:spMkLst>
        </pc:spChg>
      </pc:sldChg>
      <pc:sldChg chg="modSp">
        <pc:chgData name="Völkel, Tobias" userId="S::ru22boda@fauad.fau.de::9c02bf22-18bb-468a-b263-c51c2dc523eb" providerId="AD" clId="Web-{9F5967ED-A8A7-4A58-A665-E32F4B4960F2}" dt="2023-01-15T16:21:56.577" v="204" actId="20577"/>
        <pc:sldMkLst>
          <pc:docMk/>
          <pc:sldMk cId="3820454270" sldId="324"/>
        </pc:sldMkLst>
        <pc:spChg chg="mod">
          <ac:chgData name="Völkel, Tobias" userId="S::ru22boda@fauad.fau.de::9c02bf22-18bb-468a-b263-c51c2dc523eb" providerId="AD" clId="Web-{9F5967ED-A8A7-4A58-A665-E32F4B4960F2}" dt="2023-01-15T16:21:56.577" v="204" actId="20577"/>
          <ac:spMkLst>
            <pc:docMk/>
            <pc:sldMk cId="3820454270" sldId="324"/>
            <ac:spMk id="5" creationId="{90273FFE-7461-0DAA-CC2E-89BCF9748264}"/>
          </ac:spMkLst>
        </pc:spChg>
      </pc:sldChg>
    </pc:docChg>
  </pc:docChgLst>
  <pc:docChgLst>
    <pc:chgData name="Völkel, Tobias" userId="S::ru22boda@fauad.fau.de::9c02bf22-18bb-468a-b263-c51c2dc523eb" providerId="AD" clId="Web-{E1057355-2EA6-4DB2-8820-B2CC74D55870}"/>
    <pc:docChg chg="modSld sldOrd">
      <pc:chgData name="Völkel, Tobias" userId="S::ru22boda@fauad.fau.de::9c02bf22-18bb-468a-b263-c51c2dc523eb" providerId="AD" clId="Web-{E1057355-2EA6-4DB2-8820-B2CC74D55870}" dt="2023-01-16T09:09:31.781" v="57" actId="20577"/>
      <pc:docMkLst>
        <pc:docMk/>
      </pc:docMkLst>
      <pc:sldChg chg="ord">
        <pc:chgData name="Völkel, Tobias" userId="S::ru22boda@fauad.fau.de::9c02bf22-18bb-468a-b263-c51c2dc523eb" providerId="AD" clId="Web-{E1057355-2EA6-4DB2-8820-B2CC74D55870}" dt="2023-01-16T08:22:31.579" v="2"/>
        <pc:sldMkLst>
          <pc:docMk/>
          <pc:sldMk cId="609627312" sldId="320"/>
        </pc:sldMkLst>
      </pc:sldChg>
      <pc:sldChg chg="ord">
        <pc:chgData name="Völkel, Tobias" userId="S::ru22boda@fauad.fau.de::9c02bf22-18bb-468a-b263-c51c2dc523eb" providerId="AD" clId="Web-{E1057355-2EA6-4DB2-8820-B2CC74D55870}" dt="2023-01-16T08:22:31.579" v="3"/>
        <pc:sldMkLst>
          <pc:docMk/>
          <pc:sldMk cId="1209725749" sldId="321"/>
        </pc:sldMkLst>
      </pc:sldChg>
      <pc:sldChg chg="ord">
        <pc:chgData name="Völkel, Tobias" userId="S::ru22boda@fauad.fau.de::9c02bf22-18bb-468a-b263-c51c2dc523eb" providerId="AD" clId="Web-{E1057355-2EA6-4DB2-8820-B2CC74D55870}" dt="2023-01-16T08:22:31.579" v="1"/>
        <pc:sldMkLst>
          <pc:docMk/>
          <pc:sldMk cId="1876030968" sldId="322"/>
        </pc:sldMkLst>
      </pc:sldChg>
      <pc:sldChg chg="delSp modSp ord">
        <pc:chgData name="Völkel, Tobias" userId="S::ru22boda@fauad.fau.de::9c02bf22-18bb-468a-b263-c51c2dc523eb" providerId="AD" clId="Web-{E1057355-2EA6-4DB2-8820-B2CC74D55870}" dt="2023-01-16T09:09:31.781" v="57" actId="20577"/>
        <pc:sldMkLst>
          <pc:docMk/>
          <pc:sldMk cId="2294660800" sldId="323"/>
        </pc:sldMkLst>
        <pc:spChg chg="mod">
          <ac:chgData name="Völkel, Tobias" userId="S::ru22boda@fauad.fau.de::9c02bf22-18bb-468a-b263-c51c2dc523eb" providerId="AD" clId="Web-{E1057355-2EA6-4DB2-8820-B2CC74D55870}" dt="2023-01-16T08:23:06.784" v="27" actId="20577"/>
          <ac:spMkLst>
            <pc:docMk/>
            <pc:sldMk cId="2294660800" sldId="323"/>
            <ac:spMk id="6" creationId="{1CC0CD23-B9EB-670A-82BD-A0E19B6F3D2F}"/>
          </ac:spMkLst>
        </pc:spChg>
        <pc:spChg chg="del">
          <ac:chgData name="Völkel, Tobias" userId="S::ru22boda@fauad.fau.de::9c02bf22-18bb-468a-b263-c51c2dc523eb" providerId="AD" clId="Web-{E1057355-2EA6-4DB2-8820-B2CC74D55870}" dt="2023-01-16T08:22:43.580" v="20"/>
          <ac:spMkLst>
            <pc:docMk/>
            <pc:sldMk cId="2294660800" sldId="323"/>
            <ac:spMk id="8" creationId="{C9A17E89-204B-F4F9-DCD0-F5592602A7AB}"/>
          </ac:spMkLst>
        </pc:spChg>
        <pc:graphicFrameChg chg="modGraphic">
          <ac:chgData name="Völkel, Tobias" userId="S::ru22boda@fauad.fau.de::9c02bf22-18bb-468a-b263-c51c2dc523eb" providerId="AD" clId="Web-{E1057355-2EA6-4DB2-8820-B2CC74D55870}" dt="2023-01-16T09:09:31.781" v="57" actId="20577"/>
          <ac:graphicFrameMkLst>
            <pc:docMk/>
            <pc:sldMk cId="2294660800" sldId="323"/>
            <ac:graphicFrameMk id="14" creationId="{BF2AB114-9326-561E-290E-9A98FFC53AD2}"/>
          </ac:graphicFrameMkLst>
        </pc:graphicFrameChg>
      </pc:sldChg>
      <pc:sldChg chg="ord">
        <pc:chgData name="Völkel, Tobias" userId="S::ru22boda@fauad.fau.de::9c02bf22-18bb-468a-b263-c51c2dc523eb" providerId="AD" clId="Web-{E1057355-2EA6-4DB2-8820-B2CC74D55870}" dt="2023-01-16T08:22:31.579" v="4"/>
        <pc:sldMkLst>
          <pc:docMk/>
          <pc:sldMk cId="786377102" sldId="326"/>
        </pc:sldMkLst>
      </pc:sldChg>
    </pc:docChg>
  </pc:docChgLst>
  <pc:docChgLst>
    <pc:chgData name="Fourati, Omar" userId="S::oz48ohuv@fauad.fau.de::543b926d-baf3-4e4d-861e-19746c37446c" providerId="AD" clId="Web-{AE25B7C8-70B9-4C2E-B5E2-D93D6D5E4A63}"/>
    <pc:docChg chg="addSld modSld">
      <pc:chgData name="Fourati, Omar" userId="S::oz48ohuv@fauad.fau.de::543b926d-baf3-4e4d-861e-19746c37446c" providerId="AD" clId="Web-{AE25B7C8-70B9-4C2E-B5E2-D93D6D5E4A63}" dt="2023-03-12T08:47:08.311" v="83"/>
      <pc:docMkLst>
        <pc:docMk/>
      </pc:docMkLst>
      <pc:sldChg chg="addSp delSp modSp">
        <pc:chgData name="Fourati, Omar" userId="S::oz48ohuv@fauad.fau.de::543b926d-baf3-4e4d-861e-19746c37446c" providerId="AD" clId="Web-{AE25B7C8-70B9-4C2E-B5E2-D93D6D5E4A63}" dt="2023-03-12T08:46:10.638" v="78" actId="14100"/>
        <pc:sldMkLst>
          <pc:docMk/>
          <pc:sldMk cId="3634877119" sldId="455"/>
        </pc:sldMkLst>
        <pc:spChg chg="add mod">
          <ac:chgData name="Fourati, Omar" userId="S::oz48ohuv@fauad.fau.de::543b926d-baf3-4e4d-861e-19746c37446c" providerId="AD" clId="Web-{AE25B7C8-70B9-4C2E-B5E2-D93D6D5E4A63}" dt="2023-03-12T08:45:51.356" v="72" actId="20577"/>
          <ac:spMkLst>
            <pc:docMk/>
            <pc:sldMk cId="3634877119" sldId="455"/>
            <ac:spMk id="2" creationId="{60D77095-7F3E-EECC-4A24-926BDB8B7F07}"/>
          </ac:spMkLst>
        </pc:spChg>
        <pc:spChg chg="del">
          <ac:chgData name="Fourati, Omar" userId="S::oz48ohuv@fauad.fau.de::543b926d-baf3-4e4d-861e-19746c37446c" providerId="AD" clId="Web-{AE25B7C8-70B9-4C2E-B5E2-D93D6D5E4A63}" dt="2023-03-12T08:42:58.741" v="0"/>
          <ac:spMkLst>
            <pc:docMk/>
            <pc:sldMk cId="3634877119" sldId="455"/>
            <ac:spMk id="7" creationId="{64A58B96-061C-2491-A7AD-2A24958DA2CB}"/>
          </ac:spMkLst>
        </pc:spChg>
        <pc:spChg chg="add mod">
          <ac:chgData name="Fourati, Omar" userId="S::oz48ohuv@fauad.fau.de::543b926d-baf3-4e4d-861e-19746c37446c" providerId="AD" clId="Web-{AE25B7C8-70B9-4C2E-B5E2-D93D6D5E4A63}" dt="2023-03-12T08:46:05.169" v="77" actId="14100"/>
          <ac:spMkLst>
            <pc:docMk/>
            <pc:sldMk cId="3634877119" sldId="455"/>
            <ac:spMk id="8" creationId="{A10F5517-AF94-9112-AAB9-18216CFFD424}"/>
          </ac:spMkLst>
        </pc:spChg>
        <pc:spChg chg="add mod">
          <ac:chgData name="Fourati, Omar" userId="S::oz48ohuv@fauad.fau.de::543b926d-baf3-4e4d-861e-19746c37446c" providerId="AD" clId="Web-{AE25B7C8-70B9-4C2E-B5E2-D93D6D5E4A63}" dt="2023-03-12T08:46:10.638" v="78" actId="14100"/>
          <ac:spMkLst>
            <pc:docMk/>
            <pc:sldMk cId="3634877119" sldId="455"/>
            <ac:spMk id="11" creationId="{58AA6B2C-8518-0A26-75EA-0493E24F3E9B}"/>
          </ac:spMkLst>
        </pc:spChg>
        <pc:spChg chg="del">
          <ac:chgData name="Fourati, Omar" userId="S::oz48ohuv@fauad.fau.de::543b926d-baf3-4e4d-861e-19746c37446c" providerId="AD" clId="Web-{AE25B7C8-70B9-4C2E-B5E2-D93D6D5E4A63}" dt="2023-03-12T08:43:01.226" v="1"/>
          <ac:spMkLst>
            <pc:docMk/>
            <pc:sldMk cId="3634877119" sldId="455"/>
            <ac:spMk id="18" creationId="{17C21921-7DC3-B935-A669-8198BCEACC21}"/>
          </ac:spMkLst>
        </pc:spChg>
      </pc:sldChg>
      <pc:sldChg chg="addSp delSp modSp add replId">
        <pc:chgData name="Fourati, Omar" userId="S::oz48ohuv@fauad.fau.de::543b926d-baf3-4e4d-861e-19746c37446c" providerId="AD" clId="Web-{AE25B7C8-70B9-4C2E-B5E2-D93D6D5E4A63}" dt="2023-03-12T08:47:08.311" v="83"/>
        <pc:sldMkLst>
          <pc:docMk/>
          <pc:sldMk cId="1731582872" sldId="456"/>
        </pc:sldMkLst>
        <pc:spChg chg="mod">
          <ac:chgData name="Fourati, Omar" userId="S::oz48ohuv@fauad.fau.de::543b926d-baf3-4e4d-861e-19746c37446c" providerId="AD" clId="Web-{AE25B7C8-70B9-4C2E-B5E2-D93D6D5E4A63}" dt="2023-03-12T08:46:48.748" v="81" actId="20577"/>
          <ac:spMkLst>
            <pc:docMk/>
            <pc:sldMk cId="1731582872" sldId="456"/>
            <ac:spMk id="6" creationId="{1CC6A956-A954-4940-A619-381D56C1A856}"/>
          </ac:spMkLst>
        </pc:spChg>
        <pc:picChg chg="add mod">
          <ac:chgData name="Fourati, Omar" userId="S::oz48ohuv@fauad.fau.de::543b926d-baf3-4e4d-861e-19746c37446c" providerId="AD" clId="Web-{AE25B7C8-70B9-4C2E-B5E2-D93D6D5E4A63}" dt="2023-03-12T08:47:08.311" v="83"/>
          <ac:picMkLst>
            <pc:docMk/>
            <pc:sldMk cId="1731582872" sldId="456"/>
            <ac:picMk id="3" creationId="{36D23585-F42D-8BA2-EDBD-4A01B07A5B42}"/>
          </ac:picMkLst>
        </pc:picChg>
        <pc:picChg chg="del">
          <ac:chgData name="Fourati, Omar" userId="S::oz48ohuv@fauad.fau.de::543b926d-baf3-4e4d-861e-19746c37446c" providerId="AD" clId="Web-{AE25B7C8-70B9-4C2E-B5E2-D93D6D5E4A63}" dt="2023-03-12T08:46:51.295" v="82"/>
          <ac:picMkLst>
            <pc:docMk/>
            <pc:sldMk cId="1731582872" sldId="456"/>
            <ac:picMk id="5" creationId="{29275D55-84A7-9A26-2BB2-2A45CAF33C01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de-DE" sz="2000" b="1" dirty="0" err="1">
                <a:solidFill>
                  <a:srgbClr val="04316A"/>
                </a:solidFill>
              </a:rPr>
              <a:t>Number</a:t>
            </a:r>
            <a:r>
              <a:rPr lang="de-DE" sz="2000" b="1" dirty="0">
                <a:solidFill>
                  <a:srgbClr val="04316A"/>
                </a:solidFill>
              </a:rPr>
              <a:t> </a:t>
            </a:r>
            <a:r>
              <a:rPr lang="de-DE" sz="2000" b="1" dirty="0" err="1">
                <a:solidFill>
                  <a:srgbClr val="04316A"/>
                </a:solidFill>
              </a:rPr>
              <a:t>of</a:t>
            </a:r>
            <a:r>
              <a:rPr lang="de-DE" sz="2000" b="1" dirty="0">
                <a:solidFill>
                  <a:srgbClr val="04316A"/>
                </a:solidFill>
              </a:rPr>
              <a:t> Images</a:t>
            </a:r>
            <a:endParaRPr lang="en-GB" sz="2000" b="1" dirty="0">
              <a:solidFill>
                <a:srgbClr val="04316A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8</c:f>
              <c:strCache>
                <c:ptCount val="1"/>
                <c:pt idx="0">
                  <c:v>Back sid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7:$D$7</c:f>
              <c:strCache>
                <c:ptCount val="3"/>
                <c:pt idx="0">
                  <c:v>Allen-Bradley</c:v>
                </c:pt>
                <c:pt idx="1">
                  <c:v>Kontron box</c:v>
                </c:pt>
                <c:pt idx="2">
                  <c:v>IPEVO</c:v>
                </c:pt>
              </c:strCache>
            </c:strRef>
          </c:cat>
          <c:val>
            <c:numRef>
              <c:f>Sheet1!$B$8:$D$8</c:f>
              <c:numCache>
                <c:formatCode>General</c:formatCode>
                <c:ptCount val="3"/>
                <c:pt idx="0">
                  <c:v>92</c:v>
                </c:pt>
                <c:pt idx="1">
                  <c:v>55</c:v>
                </c:pt>
                <c:pt idx="2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22-430F-940C-8B2C1A51F80D}"/>
            </c:ext>
          </c:extLst>
        </c:ser>
        <c:ser>
          <c:idx val="1"/>
          <c:order val="1"/>
          <c:tx>
            <c:strRef>
              <c:f>Sheet1!$A$9</c:f>
              <c:strCache>
                <c:ptCount val="1"/>
                <c:pt idx="0">
                  <c:v>Front sid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7:$D$7</c:f>
              <c:strCache>
                <c:ptCount val="3"/>
                <c:pt idx="0">
                  <c:v>Allen-Bradley</c:v>
                </c:pt>
                <c:pt idx="1">
                  <c:v>Kontron box</c:v>
                </c:pt>
                <c:pt idx="2">
                  <c:v>IPEVO</c:v>
                </c:pt>
              </c:strCache>
            </c:strRef>
          </c:cat>
          <c:val>
            <c:numRef>
              <c:f>Sheet1!$B$9:$D$9</c:f>
              <c:numCache>
                <c:formatCode>General</c:formatCode>
                <c:ptCount val="3"/>
                <c:pt idx="0">
                  <c:v>93</c:v>
                </c:pt>
                <c:pt idx="1">
                  <c:v>55</c:v>
                </c:pt>
                <c:pt idx="2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22-430F-940C-8B2C1A51F80D}"/>
            </c:ext>
          </c:extLst>
        </c:ser>
        <c:ser>
          <c:idx val="2"/>
          <c:order val="2"/>
          <c:tx>
            <c:strRef>
              <c:f>Sheet1!$A$10</c:f>
              <c:strCache>
                <c:ptCount val="1"/>
                <c:pt idx="0">
                  <c:v>Top sid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7:$D$7</c:f>
              <c:strCache>
                <c:ptCount val="3"/>
                <c:pt idx="0">
                  <c:v>Allen-Bradley</c:v>
                </c:pt>
                <c:pt idx="1">
                  <c:v>Kontron box</c:v>
                </c:pt>
                <c:pt idx="2">
                  <c:v>IPEVO</c:v>
                </c:pt>
              </c:strCache>
            </c:strRef>
          </c:cat>
          <c:val>
            <c:numRef>
              <c:f>Sheet1!$B$10:$D$10</c:f>
              <c:numCache>
                <c:formatCode>General</c:formatCode>
                <c:ptCount val="3"/>
                <c:pt idx="0">
                  <c:v>93</c:v>
                </c:pt>
                <c:pt idx="1">
                  <c:v>55</c:v>
                </c:pt>
                <c:pt idx="2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A22-430F-940C-8B2C1A51F80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17576096"/>
        <c:axId val="117569024"/>
      </c:barChart>
      <c:catAx>
        <c:axId val="117576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117569024"/>
        <c:crosses val="autoZero"/>
        <c:auto val="1"/>
        <c:lblAlgn val="ctr"/>
        <c:lblOffset val="100"/>
        <c:noMultiLvlLbl val="0"/>
      </c:catAx>
      <c:valAx>
        <c:axId val="1175690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7576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+mj-lt"/>
        </a:defRPr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x Image Datase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llen-Bradle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Number of Images</c:v>
                </c:pt>
              </c:strCache>
            </c:strRef>
          </c:cat>
          <c:val>
            <c:numRef>
              <c:f>Tabelle1!$B$2</c:f>
              <c:numCache>
                <c:formatCode>General</c:formatCode>
                <c:ptCount val="1"/>
                <c:pt idx="0">
                  <c:v>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58-1242-BB2C-AF181708D23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ontr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Number of Images</c:v>
                </c:pt>
              </c:strCache>
            </c:strRef>
          </c:cat>
          <c:val>
            <c:numRef>
              <c:f>Tabelle1!$C$2</c:f>
              <c:numCache>
                <c:formatCode>General</c:formatCode>
                <c:ptCount val="1"/>
                <c:pt idx="0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58-1242-BB2C-AF181708D2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13055423"/>
        <c:axId val="2528800"/>
      </c:barChart>
      <c:catAx>
        <c:axId val="16130554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528800"/>
        <c:crosses val="autoZero"/>
        <c:auto val="1"/>
        <c:lblAlgn val="ctr"/>
        <c:lblOffset val="100"/>
        <c:noMultiLvlLbl val="0"/>
      </c:catAx>
      <c:valAx>
        <c:axId val="252880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6130554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800" b="1" i="0" baseline="0" dirty="0">
                <a:solidFill>
                  <a:schemeClr val="accent1"/>
                </a:solidFill>
                <a:effectLst/>
              </a:rPr>
              <a:t>Components Images</a:t>
            </a:r>
            <a:endParaRPr lang="de-DE" sz="1200" dirty="0">
              <a:solidFill>
                <a:schemeClr val="accent1"/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Number of Imag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25</c:f>
              <c:strCache>
                <c:ptCount val="24"/>
                <c:pt idx="0">
                  <c:v>Schraube</c:v>
                </c:pt>
                <c:pt idx="1">
                  <c:v>Display_Port</c:v>
                </c:pt>
                <c:pt idx="2">
                  <c:v>USB_2</c:v>
                </c:pt>
                <c:pt idx="3">
                  <c:v>USB_3</c:v>
                </c:pt>
                <c:pt idx="4">
                  <c:v>Ethernet</c:v>
                </c:pt>
                <c:pt idx="5">
                  <c:v>Powerstecker_on</c:v>
                </c:pt>
                <c:pt idx="6">
                  <c:v>Schraube_rund</c:v>
                </c:pt>
                <c:pt idx="7">
                  <c:v>Schraube_abstand</c:v>
                </c:pt>
                <c:pt idx="8">
                  <c:v>COM_male</c:v>
                </c:pt>
                <c:pt idx="9">
                  <c:v>VGA</c:v>
                </c:pt>
                <c:pt idx="10">
                  <c:v>LED_PWR</c:v>
                </c:pt>
                <c:pt idx="11">
                  <c:v>LED_SSD</c:v>
                </c:pt>
                <c:pt idx="12">
                  <c:v>Schraube_gespiegelt</c:v>
                </c:pt>
                <c:pt idx="13">
                  <c:v>LOGO_Kontron_font</c:v>
                </c:pt>
                <c:pt idx="14">
                  <c:v>Reset_button</c:v>
                </c:pt>
                <c:pt idx="15">
                  <c:v>Powerstecker_off</c:v>
                </c:pt>
                <c:pt idx="16">
                  <c:v>Schraube_halb</c:v>
                </c:pt>
                <c:pt idx="17">
                  <c:v>Loch</c:v>
                </c:pt>
                <c:pt idx="18">
                  <c:v>LED_HDD</c:v>
                </c:pt>
                <c:pt idx="19">
                  <c:v>LOGO_Kontron_icon</c:v>
                </c:pt>
                <c:pt idx="20">
                  <c:v>Power_5V</c:v>
                </c:pt>
                <c:pt idx="21">
                  <c:v>Line_out</c:v>
                </c:pt>
                <c:pt idx="22">
                  <c:v>LOGO_AllenBradley_icon</c:v>
                </c:pt>
                <c:pt idx="23">
                  <c:v>LOGO_AllenBradley_font</c:v>
                </c:pt>
              </c:strCache>
            </c:strRef>
          </c:cat>
          <c:val>
            <c:numRef>
              <c:f>Tabelle1!$B$2:$B$25</c:f>
              <c:numCache>
                <c:formatCode>General</c:formatCode>
                <c:ptCount val="24"/>
                <c:pt idx="0">
                  <c:v>605</c:v>
                </c:pt>
                <c:pt idx="1">
                  <c:v>199</c:v>
                </c:pt>
                <c:pt idx="2">
                  <c:v>491</c:v>
                </c:pt>
                <c:pt idx="3">
                  <c:v>250</c:v>
                </c:pt>
                <c:pt idx="4">
                  <c:v>301</c:v>
                </c:pt>
                <c:pt idx="5">
                  <c:v>49</c:v>
                </c:pt>
                <c:pt idx="6">
                  <c:v>534</c:v>
                </c:pt>
                <c:pt idx="7">
                  <c:v>435</c:v>
                </c:pt>
                <c:pt idx="8">
                  <c:v>106</c:v>
                </c:pt>
                <c:pt idx="9">
                  <c:v>55</c:v>
                </c:pt>
                <c:pt idx="10">
                  <c:v>199</c:v>
                </c:pt>
                <c:pt idx="11">
                  <c:v>55</c:v>
                </c:pt>
                <c:pt idx="12">
                  <c:v>452</c:v>
                </c:pt>
                <c:pt idx="13">
                  <c:v>106</c:v>
                </c:pt>
                <c:pt idx="14">
                  <c:v>199</c:v>
                </c:pt>
                <c:pt idx="15">
                  <c:v>57</c:v>
                </c:pt>
                <c:pt idx="16">
                  <c:v>115</c:v>
                </c:pt>
                <c:pt idx="17">
                  <c:v>76</c:v>
                </c:pt>
                <c:pt idx="18">
                  <c:v>51</c:v>
                </c:pt>
                <c:pt idx="19">
                  <c:v>51</c:v>
                </c:pt>
                <c:pt idx="20">
                  <c:v>93</c:v>
                </c:pt>
                <c:pt idx="21">
                  <c:v>93</c:v>
                </c:pt>
                <c:pt idx="22">
                  <c:v>93</c:v>
                </c:pt>
                <c:pt idx="23">
                  <c:v>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DA-0741-90FF-8C2EAEA4952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13808511"/>
        <c:axId val="1642411823"/>
      </c:barChart>
      <c:catAx>
        <c:axId val="19138085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642411823"/>
        <c:crosses val="autoZero"/>
        <c:auto val="1"/>
        <c:lblAlgn val="ctr"/>
        <c:lblOffset val="100"/>
        <c:noMultiLvlLbl val="0"/>
      </c:catAx>
      <c:valAx>
        <c:axId val="1642411823"/>
        <c:scaling>
          <c:orientation val="minMax"/>
          <c:max val="61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9138085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800" b="1" i="0" baseline="0" dirty="0">
                <a:solidFill>
                  <a:schemeClr val="accent1"/>
                </a:solidFill>
                <a:effectLst/>
              </a:rPr>
              <a:t>F1-Scores</a:t>
            </a:r>
            <a:endParaRPr lang="de-DE" sz="1200" dirty="0">
              <a:solidFill>
                <a:schemeClr val="accent1"/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Hand-Craft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25</c:f>
              <c:strCache>
                <c:ptCount val="24"/>
                <c:pt idx="0">
                  <c:v>Schraube</c:v>
                </c:pt>
                <c:pt idx="1">
                  <c:v>Display_Port</c:v>
                </c:pt>
                <c:pt idx="2">
                  <c:v>USB_2</c:v>
                </c:pt>
                <c:pt idx="3">
                  <c:v>USB_3</c:v>
                </c:pt>
                <c:pt idx="4">
                  <c:v>Ethernet</c:v>
                </c:pt>
                <c:pt idx="5">
                  <c:v>Powerstecker_on</c:v>
                </c:pt>
                <c:pt idx="6">
                  <c:v>Schraube_rund</c:v>
                </c:pt>
                <c:pt idx="7">
                  <c:v>Schraube_abstand</c:v>
                </c:pt>
                <c:pt idx="8">
                  <c:v>COM_male</c:v>
                </c:pt>
                <c:pt idx="9">
                  <c:v>VGA</c:v>
                </c:pt>
                <c:pt idx="10">
                  <c:v>LED_PWR</c:v>
                </c:pt>
                <c:pt idx="11">
                  <c:v>LED_SSD</c:v>
                </c:pt>
                <c:pt idx="12">
                  <c:v>Schraube_gespiegelt</c:v>
                </c:pt>
                <c:pt idx="13">
                  <c:v>LOGO_Kontron_font</c:v>
                </c:pt>
                <c:pt idx="14">
                  <c:v>Reset_button</c:v>
                </c:pt>
                <c:pt idx="15">
                  <c:v>Powerstecker_off</c:v>
                </c:pt>
                <c:pt idx="16">
                  <c:v>Schraube_halb</c:v>
                </c:pt>
                <c:pt idx="17">
                  <c:v>Loch</c:v>
                </c:pt>
                <c:pt idx="18">
                  <c:v>LED_HDD</c:v>
                </c:pt>
                <c:pt idx="19">
                  <c:v>LOGO_Kontron_icon</c:v>
                </c:pt>
                <c:pt idx="20">
                  <c:v>Power_5V</c:v>
                </c:pt>
                <c:pt idx="21">
                  <c:v>Line_out</c:v>
                </c:pt>
                <c:pt idx="22">
                  <c:v>LOGO_AllenBradley_icon</c:v>
                </c:pt>
                <c:pt idx="23">
                  <c:v>LOGO_AllenBradley_font</c:v>
                </c:pt>
              </c:strCache>
            </c:strRef>
          </c:cat>
          <c:val>
            <c:numRef>
              <c:f>Tabelle1!$B$2:$B$25</c:f>
              <c:numCache>
                <c:formatCode>General</c:formatCode>
                <c:ptCount val="24"/>
                <c:pt idx="0">
                  <c:v>0.9</c:v>
                </c:pt>
                <c:pt idx="1">
                  <c:v>0.73</c:v>
                </c:pt>
                <c:pt idx="2">
                  <c:v>0.92</c:v>
                </c:pt>
                <c:pt idx="3">
                  <c:v>1</c:v>
                </c:pt>
                <c:pt idx="4">
                  <c:v>0.97</c:v>
                </c:pt>
                <c:pt idx="5">
                  <c:v>1</c:v>
                </c:pt>
                <c:pt idx="6">
                  <c:v>0.95</c:v>
                </c:pt>
                <c:pt idx="7">
                  <c:v>0.92</c:v>
                </c:pt>
                <c:pt idx="8">
                  <c:v>0.92</c:v>
                </c:pt>
                <c:pt idx="9">
                  <c:v>1</c:v>
                </c:pt>
                <c:pt idx="10">
                  <c:v>0.71</c:v>
                </c:pt>
                <c:pt idx="11">
                  <c:v>1</c:v>
                </c:pt>
                <c:pt idx="12">
                  <c:v>0.93</c:v>
                </c:pt>
                <c:pt idx="13">
                  <c:v>1</c:v>
                </c:pt>
                <c:pt idx="14">
                  <c:v>0.93</c:v>
                </c:pt>
                <c:pt idx="15">
                  <c:v>0.83</c:v>
                </c:pt>
                <c:pt idx="16">
                  <c:v>0.61</c:v>
                </c:pt>
                <c:pt idx="17">
                  <c:v>0</c:v>
                </c:pt>
                <c:pt idx="18">
                  <c:v>0.83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0.95</c:v>
                </c:pt>
                <c:pt idx="23">
                  <c:v>0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79-504A-BD78-F7F3FD01824C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Transfer Learn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25</c:f>
              <c:strCache>
                <c:ptCount val="24"/>
                <c:pt idx="0">
                  <c:v>Schraube</c:v>
                </c:pt>
                <c:pt idx="1">
                  <c:v>Display_Port</c:v>
                </c:pt>
                <c:pt idx="2">
                  <c:v>USB_2</c:v>
                </c:pt>
                <c:pt idx="3">
                  <c:v>USB_3</c:v>
                </c:pt>
                <c:pt idx="4">
                  <c:v>Ethernet</c:v>
                </c:pt>
                <c:pt idx="5">
                  <c:v>Powerstecker_on</c:v>
                </c:pt>
                <c:pt idx="6">
                  <c:v>Schraube_rund</c:v>
                </c:pt>
                <c:pt idx="7">
                  <c:v>Schraube_abstand</c:v>
                </c:pt>
                <c:pt idx="8">
                  <c:v>COM_male</c:v>
                </c:pt>
                <c:pt idx="9">
                  <c:v>VGA</c:v>
                </c:pt>
                <c:pt idx="10">
                  <c:v>LED_PWR</c:v>
                </c:pt>
                <c:pt idx="11">
                  <c:v>LED_SSD</c:v>
                </c:pt>
                <c:pt idx="12">
                  <c:v>Schraube_gespiegelt</c:v>
                </c:pt>
                <c:pt idx="13">
                  <c:v>LOGO_Kontron_font</c:v>
                </c:pt>
                <c:pt idx="14">
                  <c:v>Reset_button</c:v>
                </c:pt>
                <c:pt idx="15">
                  <c:v>Powerstecker_off</c:v>
                </c:pt>
                <c:pt idx="16">
                  <c:v>Schraube_halb</c:v>
                </c:pt>
                <c:pt idx="17">
                  <c:v>Loch</c:v>
                </c:pt>
                <c:pt idx="18">
                  <c:v>LED_HDD</c:v>
                </c:pt>
                <c:pt idx="19">
                  <c:v>LOGO_Kontron_icon</c:v>
                </c:pt>
                <c:pt idx="20">
                  <c:v>Power_5V</c:v>
                </c:pt>
                <c:pt idx="21">
                  <c:v>Line_out</c:v>
                </c:pt>
                <c:pt idx="22">
                  <c:v>LOGO_AllenBradley_icon</c:v>
                </c:pt>
                <c:pt idx="23">
                  <c:v>LOGO_AllenBradley_font</c:v>
                </c:pt>
              </c:strCache>
            </c:strRef>
          </c:cat>
          <c:val>
            <c:numRef>
              <c:f>Tabelle1!$C$2:$C$25</c:f>
              <c:numCache>
                <c:formatCode>General</c:formatCode>
                <c:ptCount val="24"/>
                <c:pt idx="0">
                  <c:v>0.78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.99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0.52</c:v>
                </c:pt>
                <c:pt idx="17">
                  <c:v>0.94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79-504A-BD78-F7F3FD0182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13808511"/>
        <c:axId val="1642411823"/>
      </c:barChart>
      <c:catAx>
        <c:axId val="19138085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642411823"/>
        <c:crosses val="autoZero"/>
        <c:auto val="1"/>
        <c:lblAlgn val="ctr"/>
        <c:lblOffset val="100"/>
        <c:noMultiLvlLbl val="0"/>
      </c:catAx>
      <c:valAx>
        <c:axId val="1642411823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9138085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800" b="1" i="0" baseline="0" dirty="0" err="1">
                <a:solidFill>
                  <a:schemeClr val="accent1"/>
                </a:solidFill>
                <a:effectLst/>
              </a:rPr>
              <a:t>Weighted</a:t>
            </a:r>
            <a:r>
              <a:rPr lang="de-DE" sz="1800" b="1" i="0" baseline="0" dirty="0">
                <a:solidFill>
                  <a:schemeClr val="accent1"/>
                </a:solidFill>
                <a:effectLst/>
              </a:rPr>
              <a:t> Average F1-Scores</a:t>
            </a:r>
            <a:endParaRPr lang="de-DE" sz="1200" dirty="0">
              <a:solidFill>
                <a:schemeClr val="accent1"/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Hand-Craft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25</c:f>
              <c:strCache>
                <c:ptCount val="24"/>
                <c:pt idx="0">
                  <c:v>Schraube</c:v>
                </c:pt>
                <c:pt idx="1">
                  <c:v>Display_Port</c:v>
                </c:pt>
                <c:pt idx="2">
                  <c:v>USB_2</c:v>
                </c:pt>
                <c:pt idx="3">
                  <c:v>USB_3</c:v>
                </c:pt>
                <c:pt idx="4">
                  <c:v>Ethernet</c:v>
                </c:pt>
                <c:pt idx="5">
                  <c:v>Powerstecker_on</c:v>
                </c:pt>
                <c:pt idx="6">
                  <c:v>Schraube_rund</c:v>
                </c:pt>
                <c:pt idx="7">
                  <c:v>Schraube_abstand</c:v>
                </c:pt>
                <c:pt idx="8">
                  <c:v>COM_male</c:v>
                </c:pt>
                <c:pt idx="9">
                  <c:v>VGA</c:v>
                </c:pt>
                <c:pt idx="10">
                  <c:v>LED_PWR</c:v>
                </c:pt>
                <c:pt idx="11">
                  <c:v>LED_SSD</c:v>
                </c:pt>
                <c:pt idx="12">
                  <c:v>Schraube_gespiegelt</c:v>
                </c:pt>
                <c:pt idx="13">
                  <c:v>LOGO_Kontron_font</c:v>
                </c:pt>
                <c:pt idx="14">
                  <c:v>Reset_button</c:v>
                </c:pt>
                <c:pt idx="15">
                  <c:v>Powerstecker_off</c:v>
                </c:pt>
                <c:pt idx="16">
                  <c:v>Schraube_halb</c:v>
                </c:pt>
                <c:pt idx="17">
                  <c:v>Loch</c:v>
                </c:pt>
                <c:pt idx="18">
                  <c:v>LED_HDD</c:v>
                </c:pt>
                <c:pt idx="19">
                  <c:v>LOGO_Kontron_icon</c:v>
                </c:pt>
                <c:pt idx="20">
                  <c:v>Power_5V</c:v>
                </c:pt>
                <c:pt idx="21">
                  <c:v>Line_out</c:v>
                </c:pt>
                <c:pt idx="22">
                  <c:v>LOGO_AllenBradley_icon</c:v>
                </c:pt>
                <c:pt idx="23">
                  <c:v>LOGO_AllenBradley_font</c:v>
                </c:pt>
              </c:strCache>
            </c:strRef>
          </c:cat>
          <c:val>
            <c:numRef>
              <c:f>Tabelle1!$B$2:$B$25</c:f>
              <c:numCache>
                <c:formatCode>General</c:formatCode>
                <c:ptCount val="24"/>
                <c:pt idx="0">
                  <c:v>0.93</c:v>
                </c:pt>
                <c:pt idx="1">
                  <c:v>0.95</c:v>
                </c:pt>
                <c:pt idx="2">
                  <c:v>0.97</c:v>
                </c:pt>
                <c:pt idx="3">
                  <c:v>0.94</c:v>
                </c:pt>
                <c:pt idx="4">
                  <c:v>0.97</c:v>
                </c:pt>
                <c:pt idx="5">
                  <c:v>1</c:v>
                </c:pt>
                <c:pt idx="6">
                  <c:v>0.96</c:v>
                </c:pt>
                <c:pt idx="7">
                  <c:v>0.81</c:v>
                </c:pt>
                <c:pt idx="8">
                  <c:v>0.94</c:v>
                </c:pt>
                <c:pt idx="9">
                  <c:v>0.75</c:v>
                </c:pt>
                <c:pt idx="10">
                  <c:v>0.86</c:v>
                </c:pt>
                <c:pt idx="11">
                  <c:v>0.79</c:v>
                </c:pt>
                <c:pt idx="12">
                  <c:v>0.88</c:v>
                </c:pt>
                <c:pt idx="13">
                  <c:v>0.95</c:v>
                </c:pt>
                <c:pt idx="14">
                  <c:v>0.95</c:v>
                </c:pt>
                <c:pt idx="15">
                  <c:v>0.53</c:v>
                </c:pt>
                <c:pt idx="16">
                  <c:v>0.86</c:v>
                </c:pt>
                <c:pt idx="17">
                  <c:v>0.79</c:v>
                </c:pt>
                <c:pt idx="18">
                  <c:v>0.94</c:v>
                </c:pt>
                <c:pt idx="19">
                  <c:v>0.81</c:v>
                </c:pt>
                <c:pt idx="20">
                  <c:v>0.75</c:v>
                </c:pt>
                <c:pt idx="21">
                  <c:v>1</c:v>
                </c:pt>
                <c:pt idx="22">
                  <c:v>0.86</c:v>
                </c:pt>
                <c:pt idx="23">
                  <c:v>0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79-504A-BD78-F7F3FD01824C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Transfer Learn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25</c:f>
              <c:strCache>
                <c:ptCount val="24"/>
                <c:pt idx="0">
                  <c:v>Schraube</c:v>
                </c:pt>
                <c:pt idx="1">
                  <c:v>Display_Port</c:v>
                </c:pt>
                <c:pt idx="2">
                  <c:v>USB_2</c:v>
                </c:pt>
                <c:pt idx="3">
                  <c:v>USB_3</c:v>
                </c:pt>
                <c:pt idx="4">
                  <c:v>Ethernet</c:v>
                </c:pt>
                <c:pt idx="5">
                  <c:v>Powerstecker_on</c:v>
                </c:pt>
                <c:pt idx="6">
                  <c:v>Schraube_rund</c:v>
                </c:pt>
                <c:pt idx="7">
                  <c:v>Schraube_abstand</c:v>
                </c:pt>
                <c:pt idx="8">
                  <c:v>COM_male</c:v>
                </c:pt>
                <c:pt idx="9">
                  <c:v>VGA</c:v>
                </c:pt>
                <c:pt idx="10">
                  <c:v>LED_PWR</c:v>
                </c:pt>
                <c:pt idx="11">
                  <c:v>LED_SSD</c:v>
                </c:pt>
                <c:pt idx="12">
                  <c:v>Schraube_gespiegelt</c:v>
                </c:pt>
                <c:pt idx="13">
                  <c:v>LOGO_Kontron_font</c:v>
                </c:pt>
                <c:pt idx="14">
                  <c:v>Reset_button</c:v>
                </c:pt>
                <c:pt idx="15">
                  <c:v>Powerstecker_off</c:v>
                </c:pt>
                <c:pt idx="16">
                  <c:v>Schraube_halb</c:v>
                </c:pt>
                <c:pt idx="17">
                  <c:v>Loch</c:v>
                </c:pt>
                <c:pt idx="18">
                  <c:v>LED_HDD</c:v>
                </c:pt>
                <c:pt idx="19">
                  <c:v>LOGO_Kontron_icon</c:v>
                </c:pt>
                <c:pt idx="20">
                  <c:v>Power_5V</c:v>
                </c:pt>
                <c:pt idx="21">
                  <c:v>Line_out</c:v>
                </c:pt>
                <c:pt idx="22">
                  <c:v>LOGO_AllenBradley_icon</c:v>
                </c:pt>
                <c:pt idx="23">
                  <c:v>LOGO_AllenBradley_font</c:v>
                </c:pt>
              </c:strCache>
            </c:strRef>
          </c:cat>
          <c:val>
            <c:numRef>
              <c:f>Tabelle1!$C$2:$C$25</c:f>
              <c:numCache>
                <c:formatCode>General</c:formatCode>
                <c:ptCount val="24"/>
                <c:pt idx="0">
                  <c:v>0.97</c:v>
                </c:pt>
                <c:pt idx="1">
                  <c:v>0.99</c:v>
                </c:pt>
                <c:pt idx="2">
                  <c:v>1</c:v>
                </c:pt>
                <c:pt idx="3">
                  <c:v>0.95</c:v>
                </c:pt>
                <c:pt idx="4">
                  <c:v>1</c:v>
                </c:pt>
                <c:pt idx="5">
                  <c:v>0.93</c:v>
                </c:pt>
                <c:pt idx="6">
                  <c:v>0.99</c:v>
                </c:pt>
                <c:pt idx="7">
                  <c:v>0.98</c:v>
                </c:pt>
                <c:pt idx="8">
                  <c:v>0.97</c:v>
                </c:pt>
                <c:pt idx="9">
                  <c:v>0.89</c:v>
                </c:pt>
                <c:pt idx="10">
                  <c:v>0.99</c:v>
                </c:pt>
                <c:pt idx="11">
                  <c:v>0.99</c:v>
                </c:pt>
                <c:pt idx="12">
                  <c:v>0.93</c:v>
                </c:pt>
                <c:pt idx="13">
                  <c:v>0.97</c:v>
                </c:pt>
                <c:pt idx="14">
                  <c:v>1</c:v>
                </c:pt>
                <c:pt idx="15">
                  <c:v>0.79</c:v>
                </c:pt>
                <c:pt idx="16">
                  <c:v>0.95</c:v>
                </c:pt>
                <c:pt idx="17">
                  <c:v>0.95</c:v>
                </c:pt>
                <c:pt idx="18">
                  <c:v>0.96</c:v>
                </c:pt>
                <c:pt idx="19">
                  <c:v>0.99</c:v>
                </c:pt>
                <c:pt idx="20">
                  <c:v>0.98</c:v>
                </c:pt>
                <c:pt idx="21">
                  <c:v>1</c:v>
                </c:pt>
                <c:pt idx="22">
                  <c:v>1</c:v>
                </c:pt>
                <c:pt idx="23">
                  <c:v>0.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79-504A-BD78-F7F3FD0182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13808511"/>
        <c:axId val="1642411823"/>
      </c:barChart>
      <c:catAx>
        <c:axId val="19138085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642411823"/>
        <c:crosses val="autoZero"/>
        <c:auto val="1"/>
        <c:lblAlgn val="ctr"/>
        <c:lblOffset val="100"/>
        <c:noMultiLvlLbl val="0"/>
      </c:catAx>
      <c:valAx>
        <c:axId val="1642411823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9138085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800">
                <a:effectLst/>
              </a:rPr>
              <a:t>Mean </a:t>
            </a:r>
            <a:r>
              <a:rPr lang="de-DE" sz="1800" err="1">
                <a:effectLst/>
              </a:rPr>
              <a:t>of</a:t>
            </a:r>
            <a:r>
              <a:rPr lang="de-DE" sz="1800">
                <a:effectLst/>
              </a:rPr>
              <a:t> </a:t>
            </a:r>
            <a:r>
              <a:rPr lang="de-DE" sz="1800" err="1">
                <a:effectLst/>
              </a:rPr>
              <a:t>weighted</a:t>
            </a:r>
            <a:r>
              <a:rPr lang="de-DE" sz="1800" baseline="0">
                <a:effectLst/>
              </a:rPr>
              <a:t> </a:t>
            </a:r>
            <a:r>
              <a:rPr lang="de-DE" sz="1800" baseline="0" err="1">
                <a:effectLst/>
              </a:rPr>
              <a:t>average</a:t>
            </a:r>
            <a:r>
              <a:rPr lang="de-DE" sz="1800" baseline="0">
                <a:effectLst/>
              </a:rPr>
              <a:t> F1 </a:t>
            </a:r>
            <a:r>
              <a:rPr lang="de-DE" sz="1800">
                <a:effectLst/>
              </a:rPr>
              <a:t>on </a:t>
            </a:r>
            <a:r>
              <a:rPr lang="de-DE" sz="1800" err="1">
                <a:effectLst/>
              </a:rPr>
              <a:t>three</a:t>
            </a:r>
            <a:r>
              <a:rPr lang="de-DE" sz="1800">
                <a:effectLst/>
              </a:rPr>
              <a:t> </a:t>
            </a:r>
            <a:r>
              <a:rPr lang="de-DE" sz="1800" err="1">
                <a:effectLst/>
              </a:rPr>
              <a:t>techniques</a:t>
            </a:r>
            <a:endParaRPr lang="en-DE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inary classification - hand craft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Mean of weighted average F1 scores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0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B9-415B-B595-1B13E79C132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inary classification - transfer learn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Mean of weighted average F1 scores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0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2B9-415B-B595-1B13E79C132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ulti-class classification - hand crafte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Mean of weighted average F1 scores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2B9-415B-B595-1B13E79C132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ulti-class classification - transfer learning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Mean of weighted average F1 scores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0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2B9-415B-B595-1B13E79C132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Anomaly detection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Mean of weighted average F1 scores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2B9-415B-B595-1B13E79C132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523360591"/>
        <c:axId val="435034479"/>
      </c:barChart>
      <c:catAx>
        <c:axId val="15233605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35034479"/>
        <c:crosses val="autoZero"/>
        <c:auto val="1"/>
        <c:lblAlgn val="ctr"/>
        <c:lblOffset val="100"/>
        <c:noMultiLvlLbl val="0"/>
      </c:catAx>
      <c:valAx>
        <c:axId val="43503447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233605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1C5_9E431E7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5AFF52A-7341-4738-8990-3036216C00D9}" authorId="{CAFBA067-CB7B-1DBE-0D2F-C786207FCFAC}" created="2023-03-12T20:26:22.922">
    <pc:sldMkLst xmlns:pc="http://schemas.microsoft.com/office/powerpoint/2013/main/command">
      <pc:docMk/>
      <pc:sldMk cId="2655198833" sldId="453"/>
    </pc:sldMkLst>
    <p188:txBody>
      <a:bodyPr/>
      <a:lstStyle/>
      <a:p>
        <a:r>
          <a:rPr lang="en-GB"/>
          <a:t>Allen bredely?</a:t>
        </a:r>
      </a:p>
    </p188:txBody>
  </p188:cm>
</p188:cmLst>
</file>

<file path=ppt/comments/modernComment_1C6_FD68943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01D8BB1-3D35-47A4-8708-8D8708C8BFEE}" authorId="{CAFBA067-CB7B-1DBE-0D2F-C786207FCFAC}" created="2023-03-12T12:09:06.100">
    <pc:sldMkLst xmlns:pc="http://schemas.microsoft.com/office/powerpoint/2013/main/command">
      <pc:docMk/>
      <pc:sldMk cId="4251489337" sldId="454"/>
    </pc:sldMkLst>
    <p188:txBody>
      <a:bodyPr/>
      <a:lstStyle/>
      <a:p>
        <a:r>
          <a:rPr lang="en-GB"/>
          <a:t>Talks more about the pipeline behind the app, e.g., after box classification,  we use different templates for 2 boxes. Instead of code, show more how the app works behind (show by images and text instead of code)</a:t>
        </a:r>
      </a:p>
    </p188:txBody>
  </p188:cm>
</p188:cmLst>
</file>

<file path=ppt/comments/modernComment_1CA_25D53EF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C456CF9-A427-4FA3-A8FF-F887655498C9}" authorId="{CAFBA067-CB7B-1DBE-0D2F-C786207FCFAC}" status="resolved" created="2023-03-12T12:11:15.281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634732272" sldId="458"/>
      <ac:spMk id="20" creationId="{2AD08722-C387-44A0-8955-313CD959C971}"/>
      <ac:txMk cp="17">
        <ac:context len="204" hash="800833747"/>
      </ac:txMk>
    </ac:txMkLst>
    <p188:pos x="3660252" y="259537"/>
    <p188:txBody>
      <a:bodyPr/>
      <a:lstStyle/>
      <a:p>
        <a:r>
          <a:rPr lang="en-GB"/>
          <a:t>Kontron box localization model works worst than Allenbredley</a:t>
        </a:r>
      </a:p>
    </p188:txBody>
  </p188:cm>
  <p188:cm id="{09C2A943-FD10-475C-891D-BCB582BE9F9B}" authorId="{CAFBA067-CB7B-1DBE-0D2F-C786207FCFAC}" status="resolved" created="2023-03-12T12:13:31.274" complete="100000">
    <pc:sldMkLst xmlns:pc="http://schemas.microsoft.com/office/powerpoint/2013/main/command">
      <pc:docMk/>
      <pc:sldMk cId="634732272" sldId="458"/>
    </pc:sldMkLst>
    <p188:txBody>
      <a:bodyPr/>
      <a:lstStyle/>
      <a:p>
        <a:r>
          <a:rPr lang="en-GB"/>
          <a:t>Use it in the use business environment to see the usability of the app </a:t>
        </a:r>
      </a:p>
    </p188:txBody>
  </p188:cm>
  <p188:cm id="{23CFA189-6F18-4643-8561-F0711E756A11}" authorId="{CAFBA067-CB7B-1DBE-0D2F-C786207FCFAC}" created="2023-03-12T12:16:33.587">
    <pc:sldMkLst xmlns:pc="http://schemas.microsoft.com/office/powerpoint/2013/main/command">
      <pc:docMk/>
      <pc:sldMk cId="634732272" sldId="458"/>
    </pc:sldMkLst>
    <p188:txBody>
      <a:bodyPr/>
      <a:lstStyle/>
      <a:p>
        <a:r>
          <a:rPr lang="en-GB"/>
          <a:t>Mention about we finish core tasks and which additional tasks; Outlook mention about the additional tasks that we did not do</a:t>
        </a:r>
      </a:p>
    </p188:txBody>
  </p188:cm>
  <p188:cm id="{DBEAE10B-61D3-4363-9172-86A46C20023A}" authorId="{CAFBA067-CB7B-1DBE-0D2F-C786207FCFAC}" created="2023-03-12T20:30:45.73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634732272" sldId="458"/>
      <ac:spMk id="7" creationId="{A2FADCE3-E850-4784-8F2E-D7BF01E4852E}"/>
      <ac:txMk cp="253" len="26">
        <ac:context len="288" hash="2421645798"/>
      </ac:txMk>
    </ac:txMkLst>
    <p188:pos x="8025113" y="1781343"/>
    <p188:txBody>
      <a:bodyPr/>
      <a:lstStyle/>
      <a:p>
        <a:r>
          <a:rPr lang="en-GB"/>
          <a:t>We have done more, can say it orally 
</a:t>
        </a:r>
      </a:p>
    </p188:txBody>
  </p188:cm>
  <p188:cm id="{0B751B91-E3E0-4D79-8F12-D16ADCBC32BA}" authorId="{CAFBA067-CB7B-1DBE-0D2F-C786207FCFAC}" created="2023-03-12T20:31:55.83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634732272" sldId="458"/>
      <ac:spMk id="20" creationId="{2AD08722-C387-44A0-8955-313CD959C971}"/>
      <ac:txMk cp="68" len="75">
        <ac:context len="204" hash="800833747"/>
      </ac:txMk>
    </ac:txMkLst>
    <p188:pos x="7366124" y="1418053"/>
    <p188:txBody>
      <a:bodyPr/>
      <a:lstStyle/>
      <a:p>
        <a:r>
          <a:rPr lang="en-GB"/>
          <a:t>Dont think that we need to mention this, it is too hash for ourselves</a:t>
        </a:r>
      </a:p>
    </p188:txBody>
  </p188:cm>
</p188:cmLst>
</file>

<file path=ppt/comments/modernComment_1D6_99073FC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817215F-BEB9-487E-98D3-205DDDD990CA}" authorId="{CAFBA067-CB7B-1DBE-0D2F-C786207FCFAC}" created="2023-03-12T12:09:06.100">
    <pc:sldMkLst xmlns:pc="http://schemas.microsoft.com/office/powerpoint/2013/main/command">
      <pc:docMk/>
      <pc:sldMk cId="4251489337" sldId="454"/>
    </pc:sldMkLst>
    <p188:txBody>
      <a:bodyPr/>
      <a:lstStyle/>
      <a:p>
        <a:r>
          <a:rPr lang="en-GB"/>
          <a:t>Talks more about the pipeline behind the app, e.g., after box classification,  we use different templates for 2 boxes. Instead of code, show more how the app works behind (show by images and text instead of code)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13.03.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13.03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32245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As a </a:t>
            </a:r>
            <a:r>
              <a:rPr lang="de-DE" err="1"/>
              <a:t>result</a:t>
            </a:r>
            <a:r>
              <a:rPr lang="de-DE"/>
              <a:t>,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have</a:t>
            </a:r>
            <a:r>
              <a:rPr lang="de-DE"/>
              <a:t> on </a:t>
            </a:r>
            <a:r>
              <a:rPr lang="de-DE" err="1"/>
              <a:t>average</a:t>
            </a:r>
            <a:r>
              <a:rPr lang="de-DE"/>
              <a:t> </a:t>
            </a:r>
            <a:r>
              <a:rPr lang="en-GB">
                <a:latin typeface="+mj-lt"/>
              </a:rPr>
              <a:t>weighted </a:t>
            </a:r>
            <a:r>
              <a:rPr lang="en-GB" err="1">
                <a:latin typeface="+mj-lt"/>
              </a:rPr>
              <a:t>avg</a:t>
            </a:r>
            <a:r>
              <a:rPr lang="en-GB">
                <a:latin typeface="+mj-lt"/>
              </a:rPr>
              <a:t> F1 scores 0.7. But there is a large difference in each component. While model </a:t>
            </a:r>
            <a:r>
              <a:rPr lang="en-US" sz="1200" err="1">
                <a:effectLst/>
                <a:latin typeface="+mj-lt"/>
                <a:ea typeface="Times New Roman" panose="02020603050405020304" pitchFamily="18" charset="0"/>
              </a:rPr>
              <a:t>Powerstecker_on</a:t>
            </a:r>
            <a:r>
              <a:rPr lang="en-US" sz="1200">
                <a:effectLst/>
                <a:latin typeface="+mj-lt"/>
                <a:ea typeface="Times New Roman" panose="02020603050405020304" pitchFamily="18" charset="0"/>
              </a:rPr>
              <a:t> has reached a score of 0.916, the worst model</a:t>
            </a:r>
            <a:r>
              <a:rPr lang="de-DE" sz="1200">
                <a:effectLst/>
                <a:latin typeface="+mj-lt"/>
                <a:ea typeface="Times New Roman" panose="02020603050405020304" pitchFamily="18" charset="0"/>
              </a:rPr>
              <a:t>‘s score </a:t>
            </a:r>
            <a:r>
              <a:rPr lang="de-DE" sz="1200" err="1">
                <a:effectLst/>
                <a:latin typeface="+mj-lt"/>
                <a:ea typeface="Times New Roman" panose="02020603050405020304" pitchFamily="18" charset="0"/>
              </a:rPr>
              <a:t>is</a:t>
            </a:r>
            <a:r>
              <a:rPr lang="de-DE" sz="1200">
                <a:effectLst/>
                <a:latin typeface="+mj-lt"/>
                <a:ea typeface="Times New Roman" panose="02020603050405020304" pitchFamily="18" charset="0"/>
              </a:rPr>
              <a:t> </a:t>
            </a:r>
            <a:r>
              <a:rPr lang="de-DE" sz="1200" err="1">
                <a:effectLst/>
                <a:latin typeface="+mj-lt"/>
                <a:ea typeface="Times New Roman" panose="02020603050405020304" pitchFamily="18" charset="0"/>
              </a:rPr>
              <a:t>less</a:t>
            </a:r>
            <a:r>
              <a:rPr lang="de-DE" sz="1200">
                <a:effectLst/>
                <a:latin typeface="+mj-lt"/>
                <a:ea typeface="Times New Roman" panose="02020603050405020304" pitchFamily="18" charset="0"/>
              </a:rPr>
              <a:t> </a:t>
            </a:r>
            <a:r>
              <a:rPr lang="de-DE" sz="1200" err="1">
                <a:effectLst/>
                <a:latin typeface="+mj-lt"/>
                <a:ea typeface="Times New Roman" panose="02020603050405020304" pitchFamily="18" charset="0"/>
              </a:rPr>
              <a:t>than</a:t>
            </a:r>
            <a:r>
              <a:rPr lang="de-DE" sz="1200">
                <a:effectLst/>
                <a:latin typeface="+mj-lt"/>
                <a:ea typeface="Times New Roman" panose="02020603050405020304" pitchFamily="18" charset="0"/>
              </a:rPr>
              <a:t> 0.5. 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38385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200">
                <a:effectLst/>
                <a:latin typeface="+mj-lt"/>
                <a:ea typeface="Times New Roman" panose="02020603050405020304" pitchFamily="18" charset="0"/>
              </a:rPr>
              <a:t>To sum it up, binary classification and multiclass classifier both perform better than anomaly detection model.  And pretrain resnet18 model performs better than hand-crafted approach. This result is probably due to difference amount of training data, and model with larger amount of training data performs better. </a:t>
            </a:r>
          </a:p>
          <a:p>
            <a:pPr marL="457200" lvl="1" indent="0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uLnTx/>
              <a:uFillTx/>
              <a:latin typeface="+mj-lt"/>
              <a:cs typeface="+mn-cs"/>
            </a:endParaRPr>
          </a:p>
          <a:p>
            <a:pPr marL="457200" lvl="1" indent="0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uLnTx/>
                <a:uFillTx/>
                <a:latin typeface="+mj-lt"/>
                <a:cs typeface="+mn-cs"/>
              </a:rPr>
              <a:t>At the end, we use </a:t>
            </a:r>
            <a:r>
              <a:rPr lang="en-US" sz="1200" b="1">
                <a:solidFill>
                  <a:srgbClr val="971B2F"/>
                </a:solidFill>
                <a:effectLst/>
                <a:latin typeface="+mj-lt"/>
                <a:ea typeface="Times New Roman" panose="02020603050405020304" pitchFamily="18" charset="0"/>
              </a:rPr>
              <a:t>pre-train binary classification models for deployment.  Because </a:t>
            </a:r>
            <a:r>
              <a:rPr lang="en-GB" sz="1200" b="1">
                <a:solidFill>
                  <a:srgbClr val="971B2F"/>
                </a:solidFill>
                <a:effectLst/>
                <a:latin typeface="+mj-lt"/>
                <a:ea typeface="Times New Roman" panose="02020603050405020304" pitchFamily="18" charset="0"/>
              </a:rPr>
              <a:t>Binary classifier performs well in every component and is Easier to implement </a:t>
            </a:r>
          </a:p>
          <a:p>
            <a:pPr marL="457200" lvl="1" indent="0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uLnTx/>
              <a:uFillTx/>
              <a:latin typeface="+mj-lt"/>
              <a:cs typeface="+mn-cs"/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10370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25474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91932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68089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59806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2427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mmary: </a:t>
            </a:r>
          </a:p>
          <a:p>
            <a:pPr marL="171450" indent="-171450">
              <a:buFontTx/>
              <a:buChar char="-"/>
            </a:pPr>
            <a:r>
              <a:rPr lang="en-GB" dirty="0"/>
              <a:t>Different classification approaches (multi-class, binary and anomaly detection)</a:t>
            </a:r>
          </a:p>
          <a:p>
            <a:pPr marL="171450" indent="-171450">
              <a:buFontTx/>
              <a:buChar char="-"/>
            </a:pPr>
            <a:r>
              <a:rPr lang="en-GB" dirty="0"/>
              <a:t>Differentiation between different types of boxes</a:t>
            </a:r>
          </a:p>
          <a:p>
            <a:pPr marL="171450" indent="-171450">
              <a:buFontTx/>
              <a:buChar char="-"/>
            </a:pPr>
            <a:r>
              <a:rPr lang="en-GB" dirty="0"/>
              <a:t>24 different hardware features can be classified</a:t>
            </a:r>
          </a:p>
          <a:p>
            <a:pPr marL="171450" indent="-171450">
              <a:buFontTx/>
              <a:buChar char="-"/>
            </a:pPr>
            <a:r>
              <a:rPr lang="en-GB" dirty="0"/>
              <a:t>Localization and alignment of different types of boxes</a:t>
            </a:r>
          </a:p>
          <a:p>
            <a:pPr marL="171450" indent="-171450">
              <a:buFontTx/>
              <a:buChar char="-"/>
            </a:pPr>
            <a:r>
              <a:rPr lang="en-GB" dirty="0"/>
              <a:t>Hand crafted vs transfer learning</a:t>
            </a:r>
          </a:p>
          <a:p>
            <a:pPr marL="171450" indent="-171450">
              <a:buFontTx/>
              <a:buChar char="-"/>
            </a:pPr>
            <a:r>
              <a:rPr lang="en-GB" dirty="0"/>
              <a:t>Pipeline integration in app</a:t>
            </a:r>
          </a:p>
          <a:p>
            <a:pPr marL="171450" indent="-171450">
              <a:buFontTx/>
              <a:buChar char="-"/>
            </a:pPr>
            <a:endParaRPr lang="en-GB" dirty="0"/>
          </a:p>
          <a:p>
            <a:pPr marL="171450" indent="-171450">
              <a:buFontTx/>
              <a:buChar char="-"/>
            </a:pPr>
            <a:endParaRPr lang="en-GB" dirty="0"/>
          </a:p>
          <a:p>
            <a:pPr marL="171450" indent="-171450">
              <a:buFontTx/>
              <a:buChar char="-"/>
            </a:pPr>
            <a:r>
              <a:rPr lang="en-GB" dirty="0"/>
              <a:t>Outlook: </a:t>
            </a:r>
          </a:p>
          <a:p>
            <a:pPr marL="171450" indent="-171450">
              <a:buFontTx/>
              <a:buChar char="-"/>
            </a:pPr>
            <a:r>
              <a:rPr lang="en-GB" dirty="0"/>
              <a:t>Better UI</a:t>
            </a:r>
          </a:p>
          <a:p>
            <a:pPr marL="171450" indent="-171450">
              <a:buFontTx/>
              <a:buChar char="-"/>
            </a:pPr>
            <a:r>
              <a:rPr lang="en-GB" dirty="0"/>
              <a:t>Top and back view</a:t>
            </a:r>
          </a:p>
          <a:p>
            <a:pPr marL="171450" indent="-171450">
              <a:buFontTx/>
              <a:buChar char="-"/>
            </a:pPr>
            <a:r>
              <a:rPr lang="en-GB" dirty="0"/>
              <a:t>XAI methods</a:t>
            </a:r>
          </a:p>
          <a:p>
            <a:pPr marL="171450" indent="-171450">
              <a:buFontTx/>
              <a:buChar char="-"/>
            </a:pPr>
            <a:r>
              <a:rPr lang="en-GB" dirty="0"/>
              <a:t>Test in business environ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3530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14593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A32A09-A8F9-4844-A50B-996B9FD8E09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576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22342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791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706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89396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13684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94876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7563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6.jpeg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7.jpeg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9.emf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10.jpeg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11.jpeg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9.emf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9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12.jpeg"/><Relationship Id="rId5" Type="http://schemas.openxmlformats.org/officeDocument/2006/relationships/image" Target="../media/image9.emf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4">
                  <a:alpha val="50000"/>
                </a:schemeClr>
              </a:gs>
              <a:gs pos="5000">
                <a:schemeClr val="accent4"/>
              </a:gs>
              <a:gs pos="100000">
                <a:schemeClr val="accent4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/>
              <a:t> </a:t>
            </a:r>
          </a:p>
        </p:txBody>
      </p:sp>
      <p:sp>
        <p:nvSpPr>
          <p:cNvPr id="165" name="Bildplatzhalter 60">
            <a:extLst>
              <a:ext uri="{FF2B5EF4-FFF2-40B4-BE49-F238E27FC236}">
                <a16:creationId xmlns:a16="http://schemas.microsoft.com/office/drawing/2014/main" id="{F018B551-27B5-4B00-BF39-7527999917A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1DC1BF-B7B9-4143-AFEB-7D1D6C73E8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4979505" cy="1030539"/>
          </a:xfrm>
        </p:spPr>
        <p:txBody>
          <a:bodyPr wrap="none" tIns="0" rIns="0"/>
          <a:lstStyle>
            <a:lvl1pPr algn="l">
              <a:lnSpc>
                <a:spcPct val="11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de-DE"/>
              <a:t>Willkommen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929994FB-5DBF-40C3-99B7-BCB45F80FCBA}"/>
              </a:ext>
            </a:extLst>
          </p:cNvPr>
          <p:cNvSpPr/>
          <p:nvPr userDrawn="1"/>
        </p:nvSpPr>
        <p:spPr>
          <a:xfrm>
            <a:off x="518400" y="1196733"/>
            <a:ext cx="11676062" cy="72000"/>
          </a:xfrm>
          <a:prstGeom prst="rect">
            <a:avLst/>
          </a:prstGeom>
          <a:solidFill>
            <a:srgbClr val="971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A67BB0E1-5E7F-46E5-9D87-74249FA80151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133350" y="2711163"/>
            <a:chExt cx="333375" cy="136812"/>
          </a:xfrm>
        </p:grpSpPr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735EC3F0-D52F-43D8-9D20-FC4F70B1922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D73E6E84-A759-4118-9971-2B614D3FE504}"/>
                </a:ext>
              </a:extLst>
            </p:cNvPr>
            <p:cNvSpPr txBox="1"/>
            <p:nvPr userDrawn="1"/>
          </p:nvSpPr>
          <p:spPr>
            <a:xfrm>
              <a:off x="-96506" y="271116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F1FCC803-A93B-423F-B835-B52876B2721B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133350" y="2711163"/>
            <a:chExt cx="333375" cy="136812"/>
          </a:xfrm>
        </p:grpSpPr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94D29247-DB20-40F1-888F-155F9E5ABC8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5E32A3F3-E989-43F3-A16F-94173C632533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44D22F83-A0F5-4FE2-9D6C-012542F7E2B8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133350" y="2711163"/>
            <a:chExt cx="333375" cy="136812"/>
          </a:xfrm>
        </p:grpSpPr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BA2BC1BF-6FE4-4475-BE69-6D37CBD51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88D7DDBE-C865-4F05-B6F5-3E2BBB15FDA7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5BF365C6-4DF1-469F-A081-5BB981472333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133350" y="2711163"/>
            <a:chExt cx="333375" cy="136812"/>
          </a:xfrm>
        </p:grpSpPr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9CA1C573-E95F-4CC5-A4BE-0E74960DBC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02A35681-195F-407A-BB6C-7E3B4E241132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BF6DC0B3-1B79-4824-B73B-DC9B7AA77A08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133350" y="2711163"/>
            <a:chExt cx="333375" cy="136812"/>
          </a:xfrm>
        </p:grpSpPr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439D9EA3-D6F8-4D8A-8C91-B7BCDD4883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EF8776E0-353D-4DBE-918C-2BE4D9ED22C0}"/>
                </a:ext>
              </a:extLst>
            </p:cNvPr>
            <p:cNvSpPr txBox="1"/>
            <p:nvPr userDrawn="1"/>
          </p:nvSpPr>
          <p:spPr>
            <a:xfrm>
              <a:off x="-96504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EB1A981A-C15F-48BC-856D-45BFDE402164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133350" y="2711163"/>
            <a:chExt cx="333375" cy="136812"/>
          </a:xfrm>
        </p:grpSpPr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CA1B7D91-52B4-4C4E-9872-DAE627C5BD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DD5301F3-CDC0-4F62-A7F3-64DF1FAFB6C3}"/>
                </a:ext>
              </a:extLst>
            </p:cNvPr>
            <p:cNvSpPr txBox="1"/>
            <p:nvPr userDrawn="1"/>
          </p:nvSpPr>
          <p:spPr>
            <a:xfrm>
              <a:off x="-96503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C5363AC9-A7FE-4ED9-A4AE-BF1F41479440}"/>
              </a:ext>
            </a:extLst>
          </p:cNvPr>
          <p:cNvGrpSpPr/>
          <p:nvPr userDrawn="1"/>
        </p:nvGrpSpPr>
        <p:grpSpPr>
          <a:xfrm rot="16200000">
            <a:off x="281643" y="-299136"/>
            <a:ext cx="333375" cy="136808"/>
            <a:chOff x="-133350" y="2711167"/>
            <a:chExt cx="333375" cy="136808"/>
          </a:xfrm>
        </p:grpSpPr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A5C058E5-1B77-4F37-8A90-6C2DB0C9F0D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3F3FD432-7B0C-441D-887D-260F088129D6}"/>
                </a:ext>
              </a:extLst>
            </p:cNvPr>
            <p:cNvSpPr txBox="1"/>
            <p:nvPr userDrawn="1"/>
          </p:nvSpPr>
          <p:spPr>
            <a:xfrm>
              <a:off x="-96507" y="271116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11D3348D-CD05-48E5-89ED-528A62DA8118}"/>
              </a:ext>
            </a:extLst>
          </p:cNvPr>
          <p:cNvGrpSpPr/>
          <p:nvPr userDrawn="1"/>
        </p:nvGrpSpPr>
        <p:grpSpPr>
          <a:xfrm rot="16200000">
            <a:off x="5752963" y="-299136"/>
            <a:ext cx="333375" cy="136804"/>
            <a:chOff x="-133350" y="2711171"/>
            <a:chExt cx="333375" cy="136804"/>
          </a:xfrm>
        </p:grpSpPr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8C904B9B-CFB8-4878-BE89-64B7783A68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C15810B6-1DFF-43DE-849F-E24988A1AC21}"/>
                </a:ext>
              </a:extLst>
            </p:cNvPr>
            <p:cNvSpPr txBox="1"/>
            <p:nvPr userDrawn="1"/>
          </p:nvSpPr>
          <p:spPr>
            <a:xfrm>
              <a:off x="-96504" y="271117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CFDE3FDD-B76C-49E7-81B4-7302EAE01430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416680" y="-397424"/>
            <a:chExt cx="124906" cy="333375"/>
          </a:xfrm>
        </p:grpSpPr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CC2966EC-F4C0-41FC-88ED-2E5F725EA0B2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92230FDE-430C-429C-A396-DFCEF2CE147E}"/>
                </a:ext>
              </a:extLst>
            </p:cNvPr>
            <p:cNvSpPr txBox="1"/>
            <p:nvPr userDrawn="1"/>
          </p:nvSpPr>
          <p:spPr>
            <a:xfrm rot="16200000">
              <a:off x="634928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53056242-C21F-4347-8E6E-305C959935E8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3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Gruppieren 84">
            <a:extLst>
              <a:ext uri="{FF2B5EF4-FFF2-40B4-BE49-F238E27FC236}">
                <a16:creationId xmlns:a16="http://schemas.microsoft.com/office/drawing/2014/main" id="{A954A2AB-7A1B-4F20-8556-0C283B584BE2}"/>
              </a:ext>
            </a:extLst>
          </p:cNvPr>
          <p:cNvGrpSpPr/>
          <p:nvPr userDrawn="1"/>
        </p:nvGrpSpPr>
        <p:grpSpPr>
          <a:xfrm rot="16200000">
            <a:off x="11447325" y="-299139"/>
            <a:ext cx="333375" cy="136800"/>
            <a:chOff x="-133350" y="2711175"/>
            <a:chExt cx="333375" cy="136800"/>
          </a:xfrm>
        </p:grpSpPr>
        <p:cxnSp>
          <p:nvCxnSpPr>
            <p:cNvPr id="86" name="Gerader Verbinder 85">
              <a:extLst>
                <a:ext uri="{FF2B5EF4-FFF2-40B4-BE49-F238E27FC236}">
                  <a16:creationId xmlns:a16="http://schemas.microsoft.com/office/drawing/2014/main" id="{C31D32E9-A207-4C49-AAE0-5A541EE5B56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0027A521-04C3-4807-A55B-38087BBBA705}"/>
                </a:ext>
              </a:extLst>
            </p:cNvPr>
            <p:cNvSpPr txBox="1"/>
            <p:nvPr userDrawn="1"/>
          </p:nvSpPr>
          <p:spPr>
            <a:xfrm>
              <a:off x="-96501" y="2711175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213" name="Grafik 3">
            <a:extLst>
              <a:ext uri="{FF2B5EF4-FFF2-40B4-BE49-F238E27FC236}">
                <a16:creationId xmlns:a16="http://schemas.microsoft.com/office/drawing/2014/main" id="{1809E430-A4A0-4F14-BD9A-92AA8E11E120}"/>
              </a:ext>
            </a:extLst>
          </p:cNvPr>
          <p:cNvGrpSpPr/>
          <p:nvPr userDrawn="1"/>
        </p:nvGrpSpPr>
        <p:grpSpPr>
          <a:xfrm>
            <a:off x="510639" y="293688"/>
            <a:ext cx="2631832" cy="563562"/>
            <a:chOff x="4011188" y="1936931"/>
            <a:chExt cx="6776742" cy="1451124"/>
          </a:xfrm>
          <a:solidFill>
            <a:schemeClr val="tx1"/>
          </a:solidFill>
        </p:grpSpPr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8F6D4EE4-085A-459C-82C9-AF72AB235F3A}"/>
                </a:ext>
              </a:extLst>
            </p:cNvPr>
            <p:cNvSpPr/>
            <p:nvPr/>
          </p:nvSpPr>
          <p:spPr>
            <a:xfrm>
              <a:off x="4034676" y="1955336"/>
              <a:ext cx="203537" cy="324184"/>
            </a:xfrm>
            <a:custGeom>
              <a:avLst/>
              <a:gdLst>
                <a:gd name="connsiteX0" fmla="*/ 203538 w 203537"/>
                <a:gd name="connsiteY0" fmla="*/ 52963 h 324184"/>
                <a:gd name="connsiteX1" fmla="*/ 57561 w 203537"/>
                <a:gd name="connsiteY1" fmla="*/ 52963 h 324184"/>
                <a:gd name="connsiteX2" fmla="*/ 57561 w 203537"/>
                <a:gd name="connsiteY2" fmla="*/ 133551 h 324184"/>
                <a:gd name="connsiteX3" fmla="*/ 166694 w 203537"/>
                <a:gd name="connsiteY3" fmla="*/ 133551 h 324184"/>
                <a:gd name="connsiteX4" fmla="*/ 166694 w 203537"/>
                <a:gd name="connsiteY4" fmla="*/ 186045 h 324184"/>
                <a:gd name="connsiteX5" fmla="*/ 57561 w 203537"/>
                <a:gd name="connsiteY5" fmla="*/ 186045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63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63"/>
                  </a:moveTo>
                  <a:lnTo>
                    <a:pt x="57561" y="52963"/>
                  </a:lnTo>
                  <a:lnTo>
                    <a:pt x="57561" y="133551"/>
                  </a:lnTo>
                  <a:lnTo>
                    <a:pt x="166694" y="133551"/>
                  </a:lnTo>
                  <a:lnTo>
                    <a:pt x="166694" y="186045"/>
                  </a:lnTo>
                  <a:lnTo>
                    <a:pt x="57561" y="186045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6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D1EFA498-5D6C-4949-A057-45EACB161715}"/>
                </a:ext>
              </a:extLst>
            </p:cNvPr>
            <p:cNvSpPr/>
            <p:nvPr/>
          </p:nvSpPr>
          <p:spPr>
            <a:xfrm>
              <a:off x="426950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94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84 w 141832"/>
                <a:gd name="connsiteY7" fmla="*/ 5979 h 240364"/>
                <a:gd name="connsiteX8" fmla="*/ 53884 w 141832"/>
                <a:gd name="connsiteY8" fmla="*/ 35454 h 240364"/>
                <a:gd name="connsiteX9" fmla="*/ 54797 w 141832"/>
                <a:gd name="connsiteY9" fmla="*/ 35454 h 240364"/>
                <a:gd name="connsiteX10" fmla="*/ 116041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800" y="56631"/>
                    <a:pt x="114668" y="53868"/>
                    <a:pt x="102694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84" y="5979"/>
                  </a:lnTo>
                  <a:lnTo>
                    <a:pt x="53884" y="35454"/>
                  </a:lnTo>
                  <a:lnTo>
                    <a:pt x="54797" y="35454"/>
                  </a:lnTo>
                  <a:cubicBezTo>
                    <a:pt x="67232" y="13348"/>
                    <a:pt x="89338" y="0"/>
                    <a:pt x="116041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226BEB46-8DDC-4F31-84D5-43C1D428FD87}"/>
                </a:ext>
              </a:extLst>
            </p:cNvPr>
            <p:cNvSpPr/>
            <p:nvPr/>
          </p:nvSpPr>
          <p:spPr>
            <a:xfrm>
              <a:off x="4450268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5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5 w 69542"/>
                <a:gd name="connsiteY8" fmla="*/ 104076 h 338461"/>
                <a:gd name="connsiteX9" fmla="*/ 62175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76" y="0"/>
                    <a:pt x="69543" y="14277"/>
                    <a:pt x="69543" y="33160"/>
                  </a:cubicBezTo>
                  <a:close/>
                  <a:moveTo>
                    <a:pt x="6217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5" y="104076"/>
                  </a:lnTo>
                  <a:lnTo>
                    <a:pt x="62175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24E98491-A86C-43A3-8589-BB48949DBB2B}"/>
                </a:ext>
              </a:extLst>
            </p:cNvPr>
            <p:cNvSpPr/>
            <p:nvPr/>
          </p:nvSpPr>
          <p:spPr>
            <a:xfrm>
              <a:off x="4570153" y="2039148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6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8"/>
                    <a:pt x="83360" y="198924"/>
                    <a:pt x="116511" y="198924"/>
                  </a:cubicBezTo>
                  <a:cubicBezTo>
                    <a:pt x="138157" y="198924"/>
                    <a:pt x="155657" y="190634"/>
                    <a:pt x="174079" y="171291"/>
                  </a:cubicBezTo>
                  <a:lnTo>
                    <a:pt x="208152" y="207214"/>
                  </a:lnTo>
                  <a:cubicBezTo>
                    <a:pt x="181431" y="233465"/>
                    <a:pt x="151495" y="245900"/>
                    <a:pt x="116042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6"/>
                    <a:pt x="109125" y="45126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86586E11-2F38-4E90-98CE-782A08295553}"/>
                </a:ext>
              </a:extLst>
            </p:cNvPr>
            <p:cNvSpPr/>
            <p:nvPr/>
          </p:nvSpPr>
          <p:spPr>
            <a:xfrm>
              <a:off x="4831929" y="1936931"/>
              <a:ext cx="219187" cy="348116"/>
            </a:xfrm>
            <a:custGeom>
              <a:avLst/>
              <a:gdLst>
                <a:gd name="connsiteX0" fmla="*/ 0 w 219187"/>
                <a:gd name="connsiteY0" fmla="*/ 224706 h 348116"/>
                <a:gd name="connsiteX1" fmla="*/ 95317 w 219187"/>
                <a:gd name="connsiteY1" fmla="*/ 102217 h 348116"/>
                <a:gd name="connsiteX2" fmla="*/ 163478 w 219187"/>
                <a:gd name="connsiteY2" fmla="*/ 133986 h 348116"/>
                <a:gd name="connsiteX3" fmla="*/ 164391 w 219187"/>
                <a:gd name="connsiteY3" fmla="*/ 133986 h 348116"/>
                <a:gd name="connsiteX4" fmla="*/ 164391 w 219187"/>
                <a:gd name="connsiteY4" fmla="*/ 13808 h 348116"/>
                <a:gd name="connsiteX5" fmla="*/ 219188 w 219187"/>
                <a:gd name="connsiteY5" fmla="*/ 0 h 348116"/>
                <a:gd name="connsiteX6" fmla="*/ 219188 w 219187"/>
                <a:gd name="connsiteY6" fmla="*/ 342590 h 348116"/>
                <a:gd name="connsiteX7" fmla="*/ 165773 w 219187"/>
                <a:gd name="connsiteY7" fmla="*/ 342590 h 348116"/>
                <a:gd name="connsiteX8" fmla="*/ 165773 w 219187"/>
                <a:gd name="connsiteY8" fmla="*/ 314957 h 348116"/>
                <a:gd name="connsiteX9" fmla="*/ 164851 w 219187"/>
                <a:gd name="connsiteY9" fmla="*/ 314957 h 348116"/>
                <a:gd name="connsiteX10" fmla="*/ 94404 w 219187"/>
                <a:gd name="connsiteY10" fmla="*/ 348117 h 348116"/>
                <a:gd name="connsiteX11" fmla="*/ 0 w 219187"/>
                <a:gd name="connsiteY11" fmla="*/ 224706 h 348116"/>
                <a:gd name="connsiteX12" fmla="*/ 54328 w 219187"/>
                <a:gd name="connsiteY12" fmla="*/ 224706 h 348116"/>
                <a:gd name="connsiteX13" fmla="*/ 108664 w 219187"/>
                <a:gd name="connsiteY13" fmla="*/ 299767 h 348116"/>
                <a:gd name="connsiteX14" fmla="*/ 164383 w 219187"/>
                <a:gd name="connsiteY14" fmla="*/ 268911 h 348116"/>
                <a:gd name="connsiteX15" fmla="*/ 164383 w 219187"/>
                <a:gd name="connsiteY15" fmla="*/ 183265 h 348116"/>
                <a:gd name="connsiteX16" fmla="*/ 108664 w 219187"/>
                <a:gd name="connsiteY16" fmla="*/ 151956 h 348116"/>
                <a:gd name="connsiteX17" fmla="*/ 54328 w 219187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87" h="348116">
                  <a:moveTo>
                    <a:pt x="0" y="224706"/>
                  </a:moveTo>
                  <a:cubicBezTo>
                    <a:pt x="0" y="149185"/>
                    <a:pt x="38217" y="102217"/>
                    <a:pt x="95317" y="102217"/>
                  </a:cubicBezTo>
                  <a:cubicBezTo>
                    <a:pt x="124792" y="102217"/>
                    <a:pt x="147819" y="114643"/>
                    <a:pt x="163478" y="133986"/>
                  </a:cubicBezTo>
                  <a:lnTo>
                    <a:pt x="164391" y="133986"/>
                  </a:lnTo>
                  <a:lnTo>
                    <a:pt x="164391" y="13808"/>
                  </a:lnTo>
                  <a:lnTo>
                    <a:pt x="219188" y="0"/>
                  </a:lnTo>
                  <a:lnTo>
                    <a:pt x="219188" y="342590"/>
                  </a:lnTo>
                  <a:lnTo>
                    <a:pt x="165773" y="342590"/>
                  </a:lnTo>
                  <a:lnTo>
                    <a:pt x="165773" y="314957"/>
                  </a:lnTo>
                  <a:lnTo>
                    <a:pt x="164851" y="314957"/>
                  </a:lnTo>
                  <a:cubicBezTo>
                    <a:pt x="147819" y="335682"/>
                    <a:pt x="123410" y="348117"/>
                    <a:pt x="94404" y="348117"/>
                  </a:cubicBezTo>
                  <a:cubicBezTo>
                    <a:pt x="38677" y="348117"/>
                    <a:pt x="0" y="300689"/>
                    <a:pt x="0" y="224706"/>
                  </a:cubicBezTo>
                  <a:close/>
                  <a:moveTo>
                    <a:pt x="54328" y="224706"/>
                  </a:moveTo>
                  <a:cubicBezTo>
                    <a:pt x="54328" y="272595"/>
                    <a:pt x="74131" y="299767"/>
                    <a:pt x="108664" y="299767"/>
                  </a:cubicBezTo>
                  <a:cubicBezTo>
                    <a:pt x="129849" y="299767"/>
                    <a:pt x="147351" y="289635"/>
                    <a:pt x="164383" y="268911"/>
                  </a:cubicBezTo>
                  <a:lnTo>
                    <a:pt x="164383" y="183265"/>
                  </a:lnTo>
                  <a:cubicBezTo>
                    <a:pt x="148732" y="162088"/>
                    <a:pt x="130762" y="151956"/>
                    <a:pt x="108664" y="151956"/>
                  </a:cubicBezTo>
                  <a:cubicBezTo>
                    <a:pt x="73210" y="151956"/>
                    <a:pt x="54328" y="177739"/>
                    <a:pt x="54328" y="224706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F67D1AD5-99F8-4263-A1A6-71A982D72E61}"/>
                </a:ext>
              </a:extLst>
            </p:cNvPr>
            <p:cNvSpPr/>
            <p:nvPr/>
          </p:nvSpPr>
          <p:spPr>
            <a:xfrm>
              <a:off x="512248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86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7 w 141832"/>
                <a:gd name="connsiteY9" fmla="*/ 35454 h 240364"/>
                <a:gd name="connsiteX10" fmla="*/ 116033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792" y="56631"/>
                    <a:pt x="114660" y="53868"/>
                    <a:pt x="102686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3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BF8B1A12-11A7-42FF-8F31-2FFE11ECE0C2}"/>
                </a:ext>
              </a:extLst>
            </p:cNvPr>
            <p:cNvSpPr/>
            <p:nvPr/>
          </p:nvSpPr>
          <p:spPr>
            <a:xfrm>
              <a:off x="5303239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5BF2A515-E766-41FF-8C27-C9003567EAC7}"/>
                </a:ext>
              </a:extLst>
            </p:cNvPr>
            <p:cNvSpPr/>
            <p:nvPr/>
          </p:nvSpPr>
          <p:spPr>
            <a:xfrm>
              <a:off x="5424179" y="2039156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2"/>
                    <a:pt x="112809" y="50192"/>
                  </a:cubicBezTo>
                  <a:cubicBezTo>
                    <a:pt x="78277" y="50192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71" y="196161"/>
                    <a:pt x="145509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7F510EBB-F96A-4861-B8B5-E1218516CEB6}"/>
                </a:ext>
              </a:extLst>
            </p:cNvPr>
            <p:cNvSpPr/>
            <p:nvPr/>
          </p:nvSpPr>
          <p:spPr>
            <a:xfrm>
              <a:off x="5668731" y="1936931"/>
              <a:ext cx="201695" cy="342590"/>
            </a:xfrm>
            <a:custGeom>
              <a:avLst/>
              <a:gdLst>
                <a:gd name="connsiteX0" fmla="*/ 201695 w 201695"/>
                <a:gd name="connsiteY0" fmla="*/ 342590 h 342590"/>
                <a:gd name="connsiteX1" fmla="*/ 146898 w 201695"/>
                <a:gd name="connsiteY1" fmla="*/ 342590 h 342590"/>
                <a:gd name="connsiteX2" fmla="*/ 146898 w 201695"/>
                <a:gd name="connsiteY2" fmla="*/ 208587 h 342590"/>
                <a:gd name="connsiteX3" fmla="*/ 103607 w 201695"/>
                <a:gd name="connsiteY3" fmla="*/ 151487 h 342590"/>
                <a:gd name="connsiteX4" fmla="*/ 54797 w 201695"/>
                <a:gd name="connsiteY4" fmla="*/ 208135 h 342590"/>
                <a:gd name="connsiteX5" fmla="*/ 54797 w 201695"/>
                <a:gd name="connsiteY5" fmla="*/ 342590 h 342590"/>
                <a:gd name="connsiteX6" fmla="*/ 0 w 201695"/>
                <a:gd name="connsiteY6" fmla="*/ 342590 h 342590"/>
                <a:gd name="connsiteX7" fmla="*/ 0 w 201695"/>
                <a:gd name="connsiteY7" fmla="*/ 13808 h 342590"/>
                <a:gd name="connsiteX8" fmla="*/ 54797 w 201695"/>
                <a:gd name="connsiteY8" fmla="*/ 0 h 342590"/>
                <a:gd name="connsiteX9" fmla="*/ 54797 w 201695"/>
                <a:gd name="connsiteY9" fmla="*/ 136298 h 342590"/>
                <a:gd name="connsiteX10" fmla="*/ 55718 w 201695"/>
                <a:gd name="connsiteY10" fmla="*/ 136298 h 342590"/>
                <a:gd name="connsiteX11" fmla="*/ 124323 w 201695"/>
                <a:gd name="connsiteY11" fmla="*/ 102225 h 342590"/>
                <a:gd name="connsiteX12" fmla="*/ 201687 w 201695"/>
                <a:gd name="connsiteY12" fmla="*/ 197082 h 342590"/>
                <a:gd name="connsiteX13" fmla="*/ 201687 w 201695"/>
                <a:gd name="connsiteY13" fmla="*/ 342590 h 34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0">
                  <a:moveTo>
                    <a:pt x="201695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297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0"/>
                  </a:lnTo>
                  <a:lnTo>
                    <a:pt x="0" y="342590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F4C5C431-4D27-4E94-8A72-9F5026A0DB92}"/>
                </a:ext>
              </a:extLst>
            </p:cNvPr>
            <p:cNvSpPr/>
            <p:nvPr/>
          </p:nvSpPr>
          <p:spPr>
            <a:xfrm>
              <a:off x="5933312" y="2109603"/>
              <a:ext cx="115120" cy="52033"/>
            </a:xfrm>
            <a:custGeom>
              <a:avLst/>
              <a:gdLst>
                <a:gd name="connsiteX0" fmla="*/ 115121 w 115120"/>
                <a:gd name="connsiteY0" fmla="*/ 52034 h 52033"/>
                <a:gd name="connsiteX1" fmla="*/ 0 w 115120"/>
                <a:gd name="connsiteY1" fmla="*/ 52034 h 52033"/>
                <a:gd name="connsiteX2" fmla="*/ 0 w 115120"/>
                <a:gd name="connsiteY2" fmla="*/ 0 h 52033"/>
                <a:gd name="connsiteX3" fmla="*/ 115121 w 115120"/>
                <a:gd name="connsiteY3" fmla="*/ 0 h 52033"/>
                <a:gd name="connsiteX4" fmla="*/ 115121 w 115120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20" h="52033">
                  <a:moveTo>
                    <a:pt x="115121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1" y="0"/>
                  </a:lnTo>
                  <a:lnTo>
                    <a:pt x="115121" y="52034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C7807AF4-2931-4060-8651-FAE57D3A1697}"/>
                </a:ext>
              </a:extLst>
            </p:cNvPr>
            <p:cNvSpPr/>
            <p:nvPr/>
          </p:nvSpPr>
          <p:spPr>
            <a:xfrm>
              <a:off x="6076636" y="1955336"/>
              <a:ext cx="302078" cy="324184"/>
            </a:xfrm>
            <a:custGeom>
              <a:avLst/>
              <a:gdLst>
                <a:gd name="connsiteX0" fmla="*/ 120647 w 302078"/>
                <a:gd name="connsiteY0" fmla="*/ 0 h 324184"/>
                <a:gd name="connsiteX1" fmla="*/ 181431 w 302078"/>
                <a:gd name="connsiteY1" fmla="*/ 0 h 324184"/>
                <a:gd name="connsiteX2" fmla="*/ 302079 w 302078"/>
                <a:gd name="connsiteY2" fmla="*/ 324185 h 324184"/>
                <a:gd name="connsiteX3" fmla="*/ 238991 w 302078"/>
                <a:gd name="connsiteY3" fmla="*/ 324185 h 324184"/>
                <a:gd name="connsiteX4" fmla="*/ 215503 w 302078"/>
                <a:gd name="connsiteY4" fmla="*/ 255111 h 324184"/>
                <a:gd name="connsiteX5" fmla="*/ 84732 w 302078"/>
                <a:gd name="connsiteY5" fmla="*/ 255111 h 324184"/>
                <a:gd name="connsiteX6" fmla="*/ 61244 w 302078"/>
                <a:gd name="connsiteY6" fmla="*/ 324185 h 324184"/>
                <a:gd name="connsiteX7" fmla="*/ 0 w 302078"/>
                <a:gd name="connsiteY7" fmla="*/ 324185 h 324184"/>
                <a:gd name="connsiteX8" fmla="*/ 120647 w 302078"/>
                <a:gd name="connsiteY8" fmla="*/ 0 h 324184"/>
                <a:gd name="connsiteX9" fmla="*/ 102686 w 302078"/>
                <a:gd name="connsiteY9" fmla="*/ 203538 h 324184"/>
                <a:gd name="connsiteX10" fmla="*/ 197542 w 302078"/>
                <a:gd name="connsiteY10" fmla="*/ 203538 h 324184"/>
                <a:gd name="connsiteX11" fmla="*/ 150575 w 302078"/>
                <a:gd name="connsiteY11" fmla="*/ 65859 h 324184"/>
                <a:gd name="connsiteX12" fmla="*/ 149654 w 302078"/>
                <a:gd name="connsiteY12" fmla="*/ 65859 h 324184"/>
                <a:gd name="connsiteX13" fmla="*/ 102686 w 302078"/>
                <a:gd name="connsiteY13" fmla="*/ 203538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2078" h="324184">
                  <a:moveTo>
                    <a:pt x="120647" y="0"/>
                  </a:moveTo>
                  <a:lnTo>
                    <a:pt x="181431" y="0"/>
                  </a:lnTo>
                  <a:lnTo>
                    <a:pt x="302079" y="324185"/>
                  </a:lnTo>
                  <a:lnTo>
                    <a:pt x="238991" y="324185"/>
                  </a:lnTo>
                  <a:lnTo>
                    <a:pt x="215503" y="255111"/>
                  </a:lnTo>
                  <a:lnTo>
                    <a:pt x="84732" y="255111"/>
                  </a:lnTo>
                  <a:lnTo>
                    <a:pt x="61244" y="324185"/>
                  </a:lnTo>
                  <a:lnTo>
                    <a:pt x="0" y="324185"/>
                  </a:lnTo>
                  <a:lnTo>
                    <a:pt x="120647" y="0"/>
                  </a:lnTo>
                  <a:close/>
                  <a:moveTo>
                    <a:pt x="102686" y="203538"/>
                  </a:moveTo>
                  <a:lnTo>
                    <a:pt x="197542" y="203538"/>
                  </a:lnTo>
                  <a:lnTo>
                    <a:pt x="150575" y="65859"/>
                  </a:lnTo>
                  <a:lnTo>
                    <a:pt x="149654" y="65859"/>
                  </a:lnTo>
                  <a:lnTo>
                    <a:pt x="102686" y="20353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0A540DAF-3F4A-4E60-AB20-08DE835AAC1F}"/>
                </a:ext>
              </a:extLst>
            </p:cNvPr>
            <p:cNvSpPr/>
            <p:nvPr/>
          </p:nvSpPr>
          <p:spPr>
            <a:xfrm>
              <a:off x="6426787" y="1937383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B740F740-2C9D-4EB2-B492-298181006824}"/>
                </a:ext>
              </a:extLst>
            </p:cNvPr>
            <p:cNvSpPr/>
            <p:nvPr/>
          </p:nvSpPr>
          <p:spPr>
            <a:xfrm>
              <a:off x="6541003" y="2039148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0 w 214130"/>
                <a:gd name="connsiteY3" fmla="*/ 119266 h 245899"/>
                <a:gd name="connsiteX4" fmla="*/ 213209 w 214130"/>
                <a:gd name="connsiteY4" fmla="*/ 141824 h 245899"/>
                <a:gd name="connsiteX5" fmla="*/ 55726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6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0" y="46968"/>
                    <a:pt x="214130" y="119266"/>
                  </a:cubicBezTo>
                  <a:cubicBezTo>
                    <a:pt x="214130" y="127095"/>
                    <a:pt x="213670" y="135385"/>
                    <a:pt x="213209" y="141824"/>
                  </a:cubicBezTo>
                  <a:lnTo>
                    <a:pt x="55726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31" y="233465"/>
                    <a:pt x="151487" y="245900"/>
                    <a:pt x="116033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72" y="65850"/>
                    <a:pt x="139990" y="45126"/>
                    <a:pt x="109134" y="45126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653C23F7-BCC6-448A-B74E-783CC86F6845}"/>
                </a:ext>
              </a:extLst>
            </p:cNvPr>
            <p:cNvSpPr/>
            <p:nvPr/>
          </p:nvSpPr>
          <p:spPr>
            <a:xfrm>
              <a:off x="6784224" y="2045127"/>
              <a:ext cx="224245" cy="234394"/>
            </a:xfrm>
            <a:custGeom>
              <a:avLst/>
              <a:gdLst>
                <a:gd name="connsiteX0" fmla="*/ 224245 w 224245"/>
                <a:gd name="connsiteY0" fmla="*/ 234395 h 234394"/>
                <a:gd name="connsiteX1" fmla="*/ 161619 w 224245"/>
                <a:gd name="connsiteY1" fmla="*/ 234395 h 234394"/>
                <a:gd name="connsiteX2" fmla="*/ 111427 w 224245"/>
                <a:gd name="connsiteY2" fmla="*/ 153346 h 234394"/>
                <a:gd name="connsiteX3" fmla="*/ 110515 w 224245"/>
                <a:gd name="connsiteY3" fmla="*/ 153346 h 234394"/>
                <a:gd name="connsiteX4" fmla="*/ 61697 w 224245"/>
                <a:gd name="connsiteY4" fmla="*/ 234395 h 234394"/>
                <a:gd name="connsiteX5" fmla="*/ 0 w 224245"/>
                <a:gd name="connsiteY5" fmla="*/ 234395 h 234394"/>
                <a:gd name="connsiteX6" fmla="*/ 80119 w 224245"/>
                <a:gd name="connsiteY6" fmla="*/ 112826 h 234394"/>
                <a:gd name="connsiteX7" fmla="*/ 5979 w 224245"/>
                <a:gd name="connsiteY7" fmla="*/ 0 h 234394"/>
                <a:gd name="connsiteX8" fmla="*/ 67684 w 224245"/>
                <a:gd name="connsiteY8" fmla="*/ 0 h 234394"/>
                <a:gd name="connsiteX9" fmla="*/ 111888 w 224245"/>
                <a:gd name="connsiteY9" fmla="*/ 71837 h 234394"/>
                <a:gd name="connsiteX10" fmla="*/ 112801 w 224245"/>
                <a:gd name="connsiteY10" fmla="*/ 71837 h 234394"/>
                <a:gd name="connsiteX11" fmla="*/ 156553 w 224245"/>
                <a:gd name="connsiteY11" fmla="*/ 0 h 234394"/>
                <a:gd name="connsiteX12" fmla="*/ 217337 w 224245"/>
                <a:gd name="connsiteY12" fmla="*/ 0 h 234394"/>
                <a:gd name="connsiteX13" fmla="*/ 143657 w 224245"/>
                <a:gd name="connsiteY13" fmla="*/ 111897 h 234394"/>
                <a:gd name="connsiteX14" fmla="*/ 224245 w 224245"/>
                <a:gd name="connsiteY14" fmla="*/ 234395 h 234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4245" h="234394">
                  <a:moveTo>
                    <a:pt x="224245" y="234395"/>
                  </a:moveTo>
                  <a:lnTo>
                    <a:pt x="161619" y="234395"/>
                  </a:lnTo>
                  <a:lnTo>
                    <a:pt x="111427" y="153346"/>
                  </a:lnTo>
                  <a:lnTo>
                    <a:pt x="110515" y="153346"/>
                  </a:lnTo>
                  <a:lnTo>
                    <a:pt x="61697" y="234395"/>
                  </a:lnTo>
                  <a:lnTo>
                    <a:pt x="0" y="234395"/>
                  </a:lnTo>
                  <a:lnTo>
                    <a:pt x="80119" y="112826"/>
                  </a:lnTo>
                  <a:lnTo>
                    <a:pt x="5979" y="0"/>
                  </a:lnTo>
                  <a:lnTo>
                    <a:pt x="67684" y="0"/>
                  </a:lnTo>
                  <a:lnTo>
                    <a:pt x="111888" y="71837"/>
                  </a:lnTo>
                  <a:lnTo>
                    <a:pt x="112801" y="71837"/>
                  </a:lnTo>
                  <a:lnTo>
                    <a:pt x="156553" y="0"/>
                  </a:lnTo>
                  <a:lnTo>
                    <a:pt x="217337" y="0"/>
                  </a:lnTo>
                  <a:lnTo>
                    <a:pt x="143657" y="111897"/>
                  </a:lnTo>
                  <a:lnTo>
                    <a:pt x="224245" y="234395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1884E293-5900-4629-A460-9B364230A0D1}"/>
                </a:ext>
              </a:extLst>
            </p:cNvPr>
            <p:cNvSpPr/>
            <p:nvPr/>
          </p:nvSpPr>
          <p:spPr>
            <a:xfrm>
              <a:off x="7037149" y="2039148"/>
              <a:ext cx="198924" cy="245899"/>
            </a:xfrm>
            <a:custGeom>
              <a:avLst/>
              <a:gdLst>
                <a:gd name="connsiteX0" fmla="*/ 100835 w 198924"/>
                <a:gd name="connsiteY0" fmla="*/ 94856 h 245899"/>
                <a:gd name="connsiteX1" fmla="*/ 145039 w 198924"/>
                <a:gd name="connsiteY1" fmla="*/ 99922 h 245899"/>
                <a:gd name="connsiteX2" fmla="*/ 145039 w 198924"/>
                <a:gd name="connsiteY2" fmla="*/ 91633 h 245899"/>
                <a:gd name="connsiteX3" fmla="*/ 93466 w 198924"/>
                <a:gd name="connsiteY3" fmla="*/ 46047 h 245899"/>
                <a:gd name="connsiteX4" fmla="*/ 34064 w 198924"/>
                <a:gd name="connsiteY4" fmla="*/ 59402 h 245899"/>
                <a:gd name="connsiteX5" fmla="*/ 22090 w 198924"/>
                <a:gd name="connsiteY5" fmla="*/ 13356 h 245899"/>
                <a:gd name="connsiteX6" fmla="*/ 98993 w 198924"/>
                <a:gd name="connsiteY6" fmla="*/ 0 h 245899"/>
                <a:gd name="connsiteX7" fmla="*/ 198924 w 198924"/>
                <a:gd name="connsiteY7" fmla="*/ 90712 h 245899"/>
                <a:gd name="connsiteX8" fmla="*/ 198924 w 198924"/>
                <a:gd name="connsiteY8" fmla="*/ 240373 h 245899"/>
                <a:gd name="connsiteX9" fmla="*/ 146882 w 198924"/>
                <a:gd name="connsiteY9" fmla="*/ 240373 h 245899"/>
                <a:gd name="connsiteX10" fmla="*/ 146882 w 198924"/>
                <a:gd name="connsiteY10" fmla="*/ 215504 h 245899"/>
                <a:gd name="connsiteX11" fmla="*/ 145969 w 198924"/>
                <a:gd name="connsiteY11" fmla="*/ 215504 h 245899"/>
                <a:gd name="connsiteX12" fmla="*/ 77356 w 198924"/>
                <a:gd name="connsiteY12" fmla="*/ 245900 h 245899"/>
                <a:gd name="connsiteX13" fmla="*/ 0 w 198924"/>
                <a:gd name="connsiteY13" fmla="*/ 171299 h 245899"/>
                <a:gd name="connsiteX14" fmla="*/ 100835 w 198924"/>
                <a:gd name="connsiteY14" fmla="*/ 94856 h 245899"/>
                <a:gd name="connsiteX15" fmla="*/ 91624 w 198924"/>
                <a:gd name="connsiteY15" fmla="*/ 204919 h 245899"/>
                <a:gd name="connsiteX16" fmla="*/ 145039 w 198924"/>
                <a:gd name="connsiteY16" fmla="*/ 176834 h 245899"/>
                <a:gd name="connsiteX17" fmla="*/ 145039 w 198924"/>
                <a:gd name="connsiteY17" fmla="*/ 135845 h 245899"/>
                <a:gd name="connsiteX18" fmla="*/ 106823 w 198924"/>
                <a:gd name="connsiteY18" fmla="*/ 131240 h 245899"/>
                <a:gd name="connsiteX19" fmla="*/ 52486 w 198924"/>
                <a:gd name="connsiteY19" fmla="*/ 169918 h 245899"/>
                <a:gd name="connsiteX20" fmla="*/ 91624 w 198924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4" h="245899">
                  <a:moveTo>
                    <a:pt x="100835" y="94856"/>
                  </a:moveTo>
                  <a:cubicBezTo>
                    <a:pt x="116025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2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46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0" y="204919"/>
                    <a:pt x="129842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9" y="131240"/>
                    <a:pt x="106823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8" y="191563"/>
                    <a:pt x="67684" y="204919"/>
                    <a:pt x="91624" y="204919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623F20C0-5C72-4745-BADF-2EB5DE6FD209}"/>
                </a:ext>
              </a:extLst>
            </p:cNvPr>
            <p:cNvSpPr/>
            <p:nvPr/>
          </p:nvSpPr>
          <p:spPr>
            <a:xfrm>
              <a:off x="7305540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0 w 201695"/>
                <a:gd name="connsiteY1" fmla="*/ 240373 h 240373"/>
                <a:gd name="connsiteX2" fmla="*/ 146890 w 201695"/>
                <a:gd name="connsiteY2" fmla="*/ 106370 h 240373"/>
                <a:gd name="connsiteX3" fmla="*/ 103607 w 201695"/>
                <a:gd name="connsiteY3" fmla="*/ 49270 h 240373"/>
                <a:gd name="connsiteX4" fmla="*/ 54797 w 201695"/>
                <a:gd name="connsiteY4" fmla="*/ 105918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0" y="240373"/>
                  </a:lnTo>
                  <a:lnTo>
                    <a:pt x="146890" y="106370"/>
                  </a:lnTo>
                  <a:cubicBezTo>
                    <a:pt x="146890" y="72298"/>
                    <a:pt x="136767" y="49270"/>
                    <a:pt x="103607" y="49270"/>
                  </a:cubicBezTo>
                  <a:cubicBezTo>
                    <a:pt x="65390" y="49270"/>
                    <a:pt x="54797" y="80588"/>
                    <a:pt x="54797" y="105918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7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81B2BEC0-46F8-4083-986B-0DCD70E8F6DB}"/>
                </a:ext>
              </a:extLst>
            </p:cNvPr>
            <p:cNvSpPr/>
            <p:nvPr/>
          </p:nvSpPr>
          <p:spPr>
            <a:xfrm>
              <a:off x="7565198" y="1936931"/>
              <a:ext cx="219195" cy="348116"/>
            </a:xfrm>
            <a:custGeom>
              <a:avLst/>
              <a:gdLst>
                <a:gd name="connsiteX0" fmla="*/ 0 w 219195"/>
                <a:gd name="connsiteY0" fmla="*/ 224706 h 348116"/>
                <a:gd name="connsiteX1" fmla="*/ 95325 w 219195"/>
                <a:gd name="connsiteY1" fmla="*/ 102217 h 348116"/>
                <a:gd name="connsiteX2" fmla="*/ 163478 w 219195"/>
                <a:gd name="connsiteY2" fmla="*/ 133986 h 348116"/>
                <a:gd name="connsiteX3" fmla="*/ 164399 w 219195"/>
                <a:gd name="connsiteY3" fmla="*/ 133986 h 348116"/>
                <a:gd name="connsiteX4" fmla="*/ 164399 w 219195"/>
                <a:gd name="connsiteY4" fmla="*/ 13808 h 348116"/>
                <a:gd name="connsiteX5" fmla="*/ 219196 w 219195"/>
                <a:gd name="connsiteY5" fmla="*/ 0 h 348116"/>
                <a:gd name="connsiteX6" fmla="*/ 219196 w 219195"/>
                <a:gd name="connsiteY6" fmla="*/ 342590 h 348116"/>
                <a:gd name="connsiteX7" fmla="*/ 165781 w 219195"/>
                <a:gd name="connsiteY7" fmla="*/ 342590 h 348116"/>
                <a:gd name="connsiteX8" fmla="*/ 165781 w 219195"/>
                <a:gd name="connsiteY8" fmla="*/ 314957 h 348116"/>
                <a:gd name="connsiteX9" fmla="*/ 164859 w 219195"/>
                <a:gd name="connsiteY9" fmla="*/ 314957 h 348116"/>
                <a:gd name="connsiteX10" fmla="*/ 94404 w 219195"/>
                <a:gd name="connsiteY10" fmla="*/ 348117 h 348116"/>
                <a:gd name="connsiteX11" fmla="*/ 0 w 219195"/>
                <a:gd name="connsiteY11" fmla="*/ 224706 h 348116"/>
                <a:gd name="connsiteX12" fmla="*/ 54336 w 219195"/>
                <a:gd name="connsiteY12" fmla="*/ 224706 h 348116"/>
                <a:gd name="connsiteX13" fmla="*/ 108673 w 219195"/>
                <a:gd name="connsiteY13" fmla="*/ 299767 h 348116"/>
                <a:gd name="connsiteX14" fmla="*/ 164391 w 219195"/>
                <a:gd name="connsiteY14" fmla="*/ 268911 h 348116"/>
                <a:gd name="connsiteX15" fmla="*/ 164391 w 219195"/>
                <a:gd name="connsiteY15" fmla="*/ 183265 h 348116"/>
                <a:gd name="connsiteX16" fmla="*/ 108673 w 219195"/>
                <a:gd name="connsiteY16" fmla="*/ 151956 h 348116"/>
                <a:gd name="connsiteX17" fmla="*/ 54336 w 219195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5" h="348116">
                  <a:moveTo>
                    <a:pt x="0" y="224706"/>
                  </a:moveTo>
                  <a:cubicBezTo>
                    <a:pt x="0" y="149185"/>
                    <a:pt x="38217" y="102217"/>
                    <a:pt x="95325" y="102217"/>
                  </a:cubicBezTo>
                  <a:cubicBezTo>
                    <a:pt x="124800" y="102217"/>
                    <a:pt x="147828" y="114643"/>
                    <a:pt x="163478" y="133986"/>
                  </a:cubicBezTo>
                  <a:lnTo>
                    <a:pt x="164399" y="133986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0"/>
                  </a:lnTo>
                  <a:lnTo>
                    <a:pt x="165781" y="342590"/>
                  </a:lnTo>
                  <a:lnTo>
                    <a:pt x="165781" y="314957"/>
                  </a:lnTo>
                  <a:lnTo>
                    <a:pt x="164859" y="314957"/>
                  </a:lnTo>
                  <a:cubicBezTo>
                    <a:pt x="147828" y="335682"/>
                    <a:pt x="123418" y="348117"/>
                    <a:pt x="94404" y="348117"/>
                  </a:cubicBezTo>
                  <a:cubicBezTo>
                    <a:pt x="38686" y="348117"/>
                    <a:pt x="0" y="300689"/>
                    <a:pt x="0" y="224706"/>
                  </a:cubicBezTo>
                  <a:close/>
                  <a:moveTo>
                    <a:pt x="54336" y="224706"/>
                  </a:moveTo>
                  <a:cubicBezTo>
                    <a:pt x="54336" y="272595"/>
                    <a:pt x="74140" y="299767"/>
                    <a:pt x="108673" y="299767"/>
                  </a:cubicBezTo>
                  <a:cubicBezTo>
                    <a:pt x="129850" y="299767"/>
                    <a:pt x="147351" y="289635"/>
                    <a:pt x="164391" y="268911"/>
                  </a:cubicBezTo>
                  <a:lnTo>
                    <a:pt x="164391" y="183265"/>
                  </a:lnTo>
                  <a:cubicBezTo>
                    <a:pt x="148733" y="162088"/>
                    <a:pt x="130771" y="151956"/>
                    <a:pt x="108673" y="151956"/>
                  </a:cubicBezTo>
                  <a:cubicBezTo>
                    <a:pt x="73219" y="151956"/>
                    <a:pt x="54336" y="177739"/>
                    <a:pt x="54336" y="224706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A81ACECC-FB3B-4FA3-9E6E-79B4642A0158}"/>
                </a:ext>
              </a:extLst>
            </p:cNvPr>
            <p:cNvSpPr/>
            <p:nvPr/>
          </p:nvSpPr>
          <p:spPr>
            <a:xfrm>
              <a:off x="7843881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89 w 214130"/>
                <a:gd name="connsiteY10" fmla="*/ 101765 h 245899"/>
                <a:gd name="connsiteX11" fmla="*/ 161160 w 214130"/>
                <a:gd name="connsiteY11" fmla="*/ 101765 h 245899"/>
                <a:gd name="connsiteX12" fmla="*/ 109125 w 214130"/>
                <a:gd name="connsiteY12" fmla="*/ 45126 h 245899"/>
                <a:gd name="connsiteX13" fmla="*/ 54789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23" y="233465"/>
                    <a:pt x="151496" y="245900"/>
                    <a:pt x="116034" y="245900"/>
                  </a:cubicBezTo>
                  <a:close/>
                  <a:moveTo>
                    <a:pt x="54789" y="101765"/>
                  </a:moveTo>
                  <a:lnTo>
                    <a:pt x="161160" y="101765"/>
                  </a:lnTo>
                  <a:cubicBezTo>
                    <a:pt x="158857" y="65850"/>
                    <a:pt x="139982" y="45126"/>
                    <a:pt x="109125" y="45126"/>
                  </a:cubicBezTo>
                  <a:cubicBezTo>
                    <a:pt x="78738" y="45134"/>
                    <a:pt x="59394" y="65390"/>
                    <a:pt x="54789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39689E31-9B66-44E7-B47F-C666C38FB7EF}"/>
                </a:ext>
              </a:extLst>
            </p:cNvPr>
            <p:cNvSpPr/>
            <p:nvPr/>
          </p:nvSpPr>
          <p:spPr>
            <a:xfrm>
              <a:off x="8117849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86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801" y="56631"/>
                    <a:pt x="114668" y="53868"/>
                    <a:pt x="102686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8" y="35454"/>
                  </a:lnTo>
                  <a:cubicBezTo>
                    <a:pt x="67224" y="13348"/>
                    <a:pt x="89330" y="0"/>
                    <a:pt x="116042" y="0"/>
                  </a:cubicBezTo>
                  <a:cubicBezTo>
                    <a:pt x="123871" y="-8"/>
                    <a:pt x="133534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E38D45FB-93D8-44DA-AE4F-CA723C7C76CB}"/>
                </a:ext>
              </a:extLst>
            </p:cNvPr>
            <p:cNvSpPr/>
            <p:nvPr/>
          </p:nvSpPr>
          <p:spPr>
            <a:xfrm>
              <a:off x="8293771" y="2109603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F690CF57-2C49-4051-84D6-F1216B22B26E}"/>
                </a:ext>
              </a:extLst>
            </p:cNvPr>
            <p:cNvSpPr/>
            <p:nvPr/>
          </p:nvSpPr>
          <p:spPr>
            <a:xfrm>
              <a:off x="8478811" y="1955336"/>
              <a:ext cx="253268" cy="329711"/>
            </a:xfrm>
            <a:custGeom>
              <a:avLst/>
              <a:gdLst>
                <a:gd name="connsiteX0" fmla="*/ 253268 w 253268"/>
                <a:gd name="connsiteY0" fmla="*/ 195708 h 329711"/>
                <a:gd name="connsiteX1" fmla="*/ 126174 w 253268"/>
                <a:gd name="connsiteY1" fmla="*/ 329712 h 329711"/>
                <a:gd name="connsiteX2" fmla="*/ 0 w 253268"/>
                <a:gd name="connsiteY2" fmla="*/ 195708 h 329711"/>
                <a:gd name="connsiteX3" fmla="*/ 0 w 253268"/>
                <a:gd name="connsiteY3" fmla="*/ 0 h 329711"/>
                <a:gd name="connsiteX4" fmla="*/ 58941 w 253268"/>
                <a:gd name="connsiteY4" fmla="*/ 0 h 329711"/>
                <a:gd name="connsiteX5" fmla="*/ 58941 w 253268"/>
                <a:gd name="connsiteY5" fmla="*/ 192485 h 329711"/>
                <a:gd name="connsiteX6" fmla="*/ 128016 w 253268"/>
                <a:gd name="connsiteY6" fmla="*/ 274446 h 329711"/>
                <a:gd name="connsiteX7" fmla="*/ 194795 w 253268"/>
                <a:gd name="connsiteY7" fmla="*/ 192485 h 329711"/>
                <a:gd name="connsiteX8" fmla="*/ 194795 w 253268"/>
                <a:gd name="connsiteY8" fmla="*/ 0 h 329711"/>
                <a:gd name="connsiteX9" fmla="*/ 253268 w 253268"/>
                <a:gd name="connsiteY9" fmla="*/ 0 h 329711"/>
                <a:gd name="connsiteX10" fmla="*/ 253268 w 253268"/>
                <a:gd name="connsiteY10" fmla="*/ 195708 h 32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268" h="329711">
                  <a:moveTo>
                    <a:pt x="253268" y="195708"/>
                  </a:moveTo>
                  <a:cubicBezTo>
                    <a:pt x="253268" y="273993"/>
                    <a:pt x="213209" y="329712"/>
                    <a:pt x="126174" y="329712"/>
                  </a:cubicBezTo>
                  <a:cubicBezTo>
                    <a:pt x="39599" y="329712"/>
                    <a:pt x="0" y="274446"/>
                    <a:pt x="0" y="195708"/>
                  </a:cubicBezTo>
                  <a:lnTo>
                    <a:pt x="0" y="0"/>
                  </a:lnTo>
                  <a:lnTo>
                    <a:pt x="58941" y="0"/>
                  </a:lnTo>
                  <a:lnTo>
                    <a:pt x="58941" y="192485"/>
                  </a:lnTo>
                  <a:cubicBezTo>
                    <a:pt x="58941" y="241294"/>
                    <a:pt x="80127" y="274446"/>
                    <a:pt x="128016" y="274446"/>
                  </a:cubicBezTo>
                  <a:cubicBezTo>
                    <a:pt x="175913" y="274446"/>
                    <a:pt x="194795" y="241755"/>
                    <a:pt x="194795" y="192485"/>
                  </a:cubicBezTo>
                  <a:lnTo>
                    <a:pt x="194795" y="0"/>
                  </a:lnTo>
                  <a:lnTo>
                    <a:pt x="253268" y="0"/>
                  </a:lnTo>
                  <a:lnTo>
                    <a:pt x="253268" y="19570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9FC1199D-1BE6-423F-ADAC-1B7CBAF1DB91}"/>
                </a:ext>
              </a:extLst>
            </p:cNvPr>
            <p:cNvSpPr/>
            <p:nvPr/>
          </p:nvSpPr>
          <p:spPr>
            <a:xfrm>
              <a:off x="8804838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8 w 201695"/>
                <a:gd name="connsiteY1" fmla="*/ 240373 h 240373"/>
                <a:gd name="connsiteX2" fmla="*/ 146898 w 201695"/>
                <a:gd name="connsiteY2" fmla="*/ 106370 h 240373"/>
                <a:gd name="connsiteX3" fmla="*/ 103607 w 201695"/>
                <a:gd name="connsiteY3" fmla="*/ 49270 h 240373"/>
                <a:gd name="connsiteX4" fmla="*/ 54798 w 201695"/>
                <a:gd name="connsiteY4" fmla="*/ 105918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8" y="240373"/>
                  </a:lnTo>
                  <a:lnTo>
                    <a:pt x="146898" y="106370"/>
                  </a:lnTo>
                  <a:cubicBezTo>
                    <a:pt x="146898" y="72298"/>
                    <a:pt x="136767" y="49270"/>
                    <a:pt x="103607" y="49270"/>
                  </a:cubicBezTo>
                  <a:cubicBezTo>
                    <a:pt x="65390" y="49270"/>
                    <a:pt x="54798" y="80588"/>
                    <a:pt x="54798" y="105918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7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E7191C5F-FC93-4748-9A11-EDA7A6612882}"/>
                </a:ext>
              </a:extLst>
            </p:cNvPr>
            <p:cNvSpPr/>
            <p:nvPr/>
          </p:nvSpPr>
          <p:spPr>
            <a:xfrm>
              <a:off x="9068273" y="1941059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2 w 69534"/>
                <a:gd name="connsiteY1" fmla="*/ 66311 h 338461"/>
                <a:gd name="connsiteX2" fmla="*/ 0 w 69534"/>
                <a:gd name="connsiteY2" fmla="*/ 33160 h 338461"/>
                <a:gd name="connsiteX3" fmla="*/ 34532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2" y="66311"/>
                  </a:cubicBezTo>
                  <a:cubicBezTo>
                    <a:pt x="15649" y="66311"/>
                    <a:pt x="0" y="52503"/>
                    <a:pt x="0" y="33160"/>
                  </a:cubicBezTo>
                  <a:cubicBezTo>
                    <a:pt x="0" y="14277"/>
                    <a:pt x="15649" y="0"/>
                    <a:pt x="34532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4361EF3F-FE70-4257-87A6-E598180320B3}"/>
                </a:ext>
              </a:extLst>
            </p:cNvPr>
            <p:cNvSpPr/>
            <p:nvPr/>
          </p:nvSpPr>
          <p:spPr>
            <a:xfrm>
              <a:off x="9176921" y="2045135"/>
              <a:ext cx="227478" cy="234386"/>
            </a:xfrm>
            <a:custGeom>
              <a:avLst/>
              <a:gdLst>
                <a:gd name="connsiteX0" fmla="*/ 227478 w 227478"/>
                <a:gd name="connsiteY0" fmla="*/ 0 h 234386"/>
                <a:gd name="connsiteX1" fmla="*/ 142284 w 227478"/>
                <a:gd name="connsiteY1" fmla="*/ 234386 h 234386"/>
                <a:gd name="connsiteX2" fmla="*/ 85185 w 227478"/>
                <a:gd name="connsiteY2" fmla="*/ 234386 h 234386"/>
                <a:gd name="connsiteX3" fmla="*/ 0 w 227478"/>
                <a:gd name="connsiteY3" fmla="*/ 0 h 234386"/>
                <a:gd name="connsiteX4" fmla="*/ 60323 w 227478"/>
                <a:gd name="connsiteY4" fmla="*/ 0 h 234386"/>
                <a:gd name="connsiteX5" fmla="*/ 114199 w 227478"/>
                <a:gd name="connsiteY5" fmla="*/ 170387 h 234386"/>
                <a:gd name="connsiteX6" fmla="*/ 115120 w 227478"/>
                <a:gd name="connsiteY6" fmla="*/ 170387 h 234386"/>
                <a:gd name="connsiteX7" fmla="*/ 168997 w 227478"/>
                <a:gd name="connsiteY7" fmla="*/ 0 h 234386"/>
                <a:gd name="connsiteX8" fmla="*/ 227478 w 227478"/>
                <a:gd name="connsiteY8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478" h="234386">
                  <a:moveTo>
                    <a:pt x="227478" y="0"/>
                  </a:moveTo>
                  <a:lnTo>
                    <a:pt x="142284" y="234386"/>
                  </a:lnTo>
                  <a:lnTo>
                    <a:pt x="85185" y="234386"/>
                  </a:lnTo>
                  <a:lnTo>
                    <a:pt x="0" y="0"/>
                  </a:lnTo>
                  <a:lnTo>
                    <a:pt x="60323" y="0"/>
                  </a:lnTo>
                  <a:lnTo>
                    <a:pt x="114199" y="170387"/>
                  </a:lnTo>
                  <a:lnTo>
                    <a:pt x="115120" y="170387"/>
                  </a:lnTo>
                  <a:lnTo>
                    <a:pt x="168997" y="0"/>
                  </a:lnTo>
                  <a:lnTo>
                    <a:pt x="227478" y="0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C6AB41A3-EE45-4F8B-8561-4F2BFDDA1013}"/>
                </a:ext>
              </a:extLst>
            </p:cNvPr>
            <p:cNvSpPr/>
            <p:nvPr/>
          </p:nvSpPr>
          <p:spPr>
            <a:xfrm>
              <a:off x="9429904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27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8 w 214130"/>
                <a:gd name="connsiteY10" fmla="*/ 101765 h 245899"/>
                <a:gd name="connsiteX11" fmla="*/ 161168 w 214130"/>
                <a:gd name="connsiteY11" fmla="*/ 101765 h 245899"/>
                <a:gd name="connsiteX12" fmla="*/ 109134 w 214130"/>
                <a:gd name="connsiteY12" fmla="*/ 45126 h 245899"/>
                <a:gd name="connsiteX13" fmla="*/ 5479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500" y="245900"/>
                    <a:pt x="0" y="196621"/>
                    <a:pt x="0" y="122489"/>
                  </a:cubicBezTo>
                  <a:cubicBezTo>
                    <a:pt x="0" y="49739"/>
                    <a:pt x="44666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27" y="141824"/>
                  </a:lnTo>
                  <a:cubicBezTo>
                    <a:pt x="61714" y="178208"/>
                    <a:pt x="83352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31" y="233465"/>
                    <a:pt x="151488" y="245900"/>
                    <a:pt x="116034" y="245900"/>
                  </a:cubicBezTo>
                  <a:close/>
                  <a:moveTo>
                    <a:pt x="54798" y="101765"/>
                  </a:moveTo>
                  <a:lnTo>
                    <a:pt x="161168" y="101765"/>
                  </a:lnTo>
                  <a:cubicBezTo>
                    <a:pt x="158873" y="65850"/>
                    <a:pt x="139990" y="45126"/>
                    <a:pt x="109134" y="45126"/>
                  </a:cubicBezTo>
                  <a:cubicBezTo>
                    <a:pt x="78738" y="45134"/>
                    <a:pt x="59394" y="65390"/>
                    <a:pt x="54798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3FC3A2DF-C2B1-4B25-B534-F5E1D59A3F0F}"/>
                </a:ext>
              </a:extLst>
            </p:cNvPr>
            <p:cNvSpPr/>
            <p:nvPr/>
          </p:nvSpPr>
          <p:spPr>
            <a:xfrm>
              <a:off x="9703872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94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7 w 141832"/>
                <a:gd name="connsiteY7" fmla="*/ 5979 h 240364"/>
                <a:gd name="connsiteX8" fmla="*/ 53877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793" y="56631"/>
                    <a:pt x="114669" y="53868"/>
                    <a:pt x="102694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7" y="5979"/>
                  </a:lnTo>
                  <a:lnTo>
                    <a:pt x="53877" y="35454"/>
                  </a:lnTo>
                  <a:lnTo>
                    <a:pt x="54798" y="35454"/>
                  </a:lnTo>
                  <a:cubicBezTo>
                    <a:pt x="67224" y="13348"/>
                    <a:pt x="89331" y="0"/>
                    <a:pt x="116042" y="0"/>
                  </a:cubicBezTo>
                  <a:cubicBezTo>
                    <a:pt x="123872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E566DD13-4817-4C91-96FC-CBC0466BB0D8}"/>
                </a:ext>
              </a:extLst>
            </p:cNvPr>
            <p:cNvSpPr/>
            <p:nvPr/>
          </p:nvSpPr>
          <p:spPr>
            <a:xfrm>
              <a:off x="9871287" y="2039148"/>
              <a:ext cx="180510" cy="245891"/>
            </a:xfrm>
            <a:custGeom>
              <a:avLst/>
              <a:gdLst>
                <a:gd name="connsiteX0" fmla="*/ 26234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2 h 245891"/>
                <a:gd name="connsiteX11" fmla="*/ 0 w 180510"/>
                <a:gd name="connsiteY11" fmla="*/ 217337 h 245891"/>
                <a:gd name="connsiteX12" fmla="*/ 26234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4" y="174063"/>
                  </a:moveTo>
                  <a:cubicBezTo>
                    <a:pt x="49261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82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2"/>
                    <a:pt x="90251" y="245892"/>
                  </a:cubicBezTo>
                  <a:cubicBezTo>
                    <a:pt x="58941" y="245892"/>
                    <a:pt x="27172" y="236220"/>
                    <a:pt x="0" y="217337"/>
                  </a:cubicBezTo>
                  <a:lnTo>
                    <a:pt x="26234" y="17406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821DC2DB-ABD3-4652-A841-4D1E6F29828B}"/>
                </a:ext>
              </a:extLst>
            </p:cNvPr>
            <p:cNvSpPr/>
            <p:nvPr/>
          </p:nvSpPr>
          <p:spPr>
            <a:xfrm>
              <a:off x="10103018" y="1941059"/>
              <a:ext cx="69535" cy="338461"/>
            </a:xfrm>
            <a:custGeom>
              <a:avLst/>
              <a:gdLst>
                <a:gd name="connsiteX0" fmla="*/ 69535 w 69535"/>
                <a:gd name="connsiteY0" fmla="*/ 33160 h 338461"/>
                <a:gd name="connsiteX1" fmla="*/ 34533 w 69535"/>
                <a:gd name="connsiteY1" fmla="*/ 66311 h 338461"/>
                <a:gd name="connsiteX2" fmla="*/ 0 w 69535"/>
                <a:gd name="connsiteY2" fmla="*/ 33160 h 338461"/>
                <a:gd name="connsiteX3" fmla="*/ 34533 w 69535"/>
                <a:gd name="connsiteY3" fmla="*/ 0 h 338461"/>
                <a:gd name="connsiteX4" fmla="*/ 69535 w 69535"/>
                <a:gd name="connsiteY4" fmla="*/ 33160 h 338461"/>
                <a:gd name="connsiteX5" fmla="*/ 62166 w 69535"/>
                <a:gd name="connsiteY5" fmla="*/ 338462 h 338461"/>
                <a:gd name="connsiteX6" fmla="*/ 7369 w 69535"/>
                <a:gd name="connsiteY6" fmla="*/ 338462 h 338461"/>
                <a:gd name="connsiteX7" fmla="*/ 7369 w 69535"/>
                <a:gd name="connsiteY7" fmla="*/ 104076 h 338461"/>
                <a:gd name="connsiteX8" fmla="*/ 62166 w 69535"/>
                <a:gd name="connsiteY8" fmla="*/ 104076 h 338461"/>
                <a:gd name="connsiteX9" fmla="*/ 62166 w 69535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5" h="338461">
                  <a:moveTo>
                    <a:pt x="69535" y="33160"/>
                  </a:moveTo>
                  <a:cubicBezTo>
                    <a:pt x="69535" y="52503"/>
                    <a:pt x="53877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7" y="0"/>
                    <a:pt x="69535" y="14277"/>
                    <a:pt x="69535" y="33160"/>
                  </a:cubicBezTo>
                  <a:close/>
                  <a:moveTo>
                    <a:pt x="62166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6" y="104076"/>
                  </a:lnTo>
                  <a:lnTo>
                    <a:pt x="62166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2A137A4D-DCD1-498A-9B30-BA8A264D1628}"/>
                </a:ext>
              </a:extLst>
            </p:cNvPr>
            <p:cNvSpPr/>
            <p:nvPr/>
          </p:nvSpPr>
          <p:spPr>
            <a:xfrm>
              <a:off x="10211675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67736D99-481F-43E1-A439-6D53814FD4AF}"/>
                </a:ext>
              </a:extLst>
            </p:cNvPr>
            <p:cNvSpPr/>
            <p:nvPr/>
          </p:nvSpPr>
          <p:spPr>
            <a:xfrm>
              <a:off x="10400449" y="1944744"/>
              <a:ext cx="198923" cy="340304"/>
            </a:xfrm>
            <a:custGeom>
              <a:avLst/>
              <a:gdLst>
                <a:gd name="connsiteX0" fmla="*/ 100835 w 198923"/>
                <a:gd name="connsiteY0" fmla="*/ 189261 h 340304"/>
                <a:gd name="connsiteX1" fmla="*/ 145040 w 198923"/>
                <a:gd name="connsiteY1" fmla="*/ 194327 h 340304"/>
                <a:gd name="connsiteX2" fmla="*/ 145040 w 198923"/>
                <a:gd name="connsiteY2" fmla="*/ 186037 h 340304"/>
                <a:gd name="connsiteX3" fmla="*/ 93466 w 198923"/>
                <a:gd name="connsiteY3" fmla="*/ 140451 h 340304"/>
                <a:gd name="connsiteX4" fmla="*/ 34064 w 198923"/>
                <a:gd name="connsiteY4" fmla="*/ 153807 h 340304"/>
                <a:gd name="connsiteX5" fmla="*/ 22090 w 198923"/>
                <a:gd name="connsiteY5" fmla="*/ 107760 h 340304"/>
                <a:gd name="connsiteX6" fmla="*/ 98993 w 198923"/>
                <a:gd name="connsiteY6" fmla="*/ 94404 h 340304"/>
                <a:gd name="connsiteX7" fmla="*/ 198924 w 198923"/>
                <a:gd name="connsiteY7" fmla="*/ 185116 h 340304"/>
                <a:gd name="connsiteX8" fmla="*/ 198924 w 198923"/>
                <a:gd name="connsiteY8" fmla="*/ 334778 h 340304"/>
                <a:gd name="connsiteX9" fmla="*/ 146882 w 198923"/>
                <a:gd name="connsiteY9" fmla="*/ 334778 h 340304"/>
                <a:gd name="connsiteX10" fmla="*/ 146882 w 198923"/>
                <a:gd name="connsiteY10" fmla="*/ 309908 h 340304"/>
                <a:gd name="connsiteX11" fmla="*/ 145969 w 198923"/>
                <a:gd name="connsiteY11" fmla="*/ 309908 h 340304"/>
                <a:gd name="connsiteX12" fmla="*/ 77356 w 198923"/>
                <a:gd name="connsiteY12" fmla="*/ 340304 h 340304"/>
                <a:gd name="connsiteX13" fmla="*/ 0 w 198923"/>
                <a:gd name="connsiteY13" fmla="*/ 265703 h 340304"/>
                <a:gd name="connsiteX14" fmla="*/ 100835 w 198923"/>
                <a:gd name="connsiteY14" fmla="*/ 189261 h 340304"/>
                <a:gd name="connsiteX15" fmla="*/ 56170 w 198923"/>
                <a:gd name="connsiteY15" fmla="*/ 64008 h 340304"/>
                <a:gd name="connsiteX16" fmla="*/ 23480 w 198923"/>
                <a:gd name="connsiteY16" fmla="*/ 32238 h 340304"/>
                <a:gd name="connsiteX17" fmla="*/ 56170 w 198923"/>
                <a:gd name="connsiteY17" fmla="*/ 0 h 340304"/>
                <a:gd name="connsiteX18" fmla="*/ 88861 w 198923"/>
                <a:gd name="connsiteY18" fmla="*/ 32238 h 340304"/>
                <a:gd name="connsiteX19" fmla="*/ 56170 w 198923"/>
                <a:gd name="connsiteY19" fmla="*/ 64008 h 340304"/>
                <a:gd name="connsiteX20" fmla="*/ 91624 w 198923"/>
                <a:gd name="connsiteY20" fmla="*/ 299324 h 340304"/>
                <a:gd name="connsiteX21" fmla="*/ 145040 w 198923"/>
                <a:gd name="connsiteY21" fmla="*/ 271238 h 340304"/>
                <a:gd name="connsiteX22" fmla="*/ 145040 w 198923"/>
                <a:gd name="connsiteY22" fmla="*/ 230250 h 340304"/>
                <a:gd name="connsiteX23" fmla="*/ 106823 w 198923"/>
                <a:gd name="connsiteY23" fmla="*/ 225644 h 340304"/>
                <a:gd name="connsiteX24" fmla="*/ 52486 w 198923"/>
                <a:gd name="connsiteY24" fmla="*/ 264322 h 340304"/>
                <a:gd name="connsiteX25" fmla="*/ 91624 w 198923"/>
                <a:gd name="connsiteY25" fmla="*/ 299324 h 340304"/>
                <a:gd name="connsiteX26" fmla="*/ 151948 w 198923"/>
                <a:gd name="connsiteY26" fmla="*/ 64008 h 340304"/>
                <a:gd name="connsiteX27" fmla="*/ 119258 w 198923"/>
                <a:gd name="connsiteY27" fmla="*/ 32238 h 340304"/>
                <a:gd name="connsiteX28" fmla="*/ 151948 w 198923"/>
                <a:gd name="connsiteY28" fmla="*/ 0 h 340304"/>
                <a:gd name="connsiteX29" fmla="*/ 184639 w 198923"/>
                <a:gd name="connsiteY29" fmla="*/ 32238 h 340304"/>
                <a:gd name="connsiteX30" fmla="*/ 151948 w 198923"/>
                <a:gd name="connsiteY30" fmla="*/ 64008 h 3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923" h="340304">
                  <a:moveTo>
                    <a:pt x="100835" y="189261"/>
                  </a:moveTo>
                  <a:cubicBezTo>
                    <a:pt x="116026" y="189261"/>
                    <a:pt x="129851" y="190182"/>
                    <a:pt x="145040" y="194327"/>
                  </a:cubicBezTo>
                  <a:lnTo>
                    <a:pt x="145040" y="186037"/>
                  </a:lnTo>
                  <a:cubicBezTo>
                    <a:pt x="145040" y="156109"/>
                    <a:pt x="127539" y="140451"/>
                    <a:pt x="93466" y="140451"/>
                  </a:cubicBezTo>
                  <a:cubicBezTo>
                    <a:pt x="74584" y="140451"/>
                    <a:pt x="53407" y="145056"/>
                    <a:pt x="34064" y="153807"/>
                  </a:cubicBezTo>
                  <a:lnTo>
                    <a:pt x="22090" y="107760"/>
                  </a:lnTo>
                  <a:cubicBezTo>
                    <a:pt x="43727" y="99470"/>
                    <a:pt x="72282" y="94404"/>
                    <a:pt x="98993" y="94404"/>
                  </a:cubicBezTo>
                  <a:cubicBezTo>
                    <a:pt x="164844" y="94404"/>
                    <a:pt x="198924" y="125261"/>
                    <a:pt x="198924" y="185116"/>
                  </a:cubicBezTo>
                  <a:lnTo>
                    <a:pt x="198924" y="334778"/>
                  </a:lnTo>
                  <a:lnTo>
                    <a:pt x="146882" y="334778"/>
                  </a:lnTo>
                  <a:lnTo>
                    <a:pt x="146882" y="309908"/>
                  </a:lnTo>
                  <a:lnTo>
                    <a:pt x="145969" y="309908"/>
                  </a:lnTo>
                  <a:cubicBezTo>
                    <a:pt x="125705" y="330633"/>
                    <a:pt x="104528" y="340304"/>
                    <a:pt x="77356" y="340304"/>
                  </a:cubicBezTo>
                  <a:cubicBezTo>
                    <a:pt x="30388" y="340304"/>
                    <a:pt x="0" y="311290"/>
                    <a:pt x="0" y="265703"/>
                  </a:cubicBezTo>
                  <a:cubicBezTo>
                    <a:pt x="-8" y="215973"/>
                    <a:pt x="35446" y="189261"/>
                    <a:pt x="100835" y="189261"/>
                  </a:cubicBezTo>
                  <a:close/>
                  <a:moveTo>
                    <a:pt x="56170" y="64008"/>
                  </a:moveTo>
                  <a:cubicBezTo>
                    <a:pt x="38670" y="64008"/>
                    <a:pt x="23480" y="49270"/>
                    <a:pt x="23480" y="32238"/>
                  </a:cubicBezTo>
                  <a:cubicBezTo>
                    <a:pt x="23480" y="15198"/>
                    <a:pt x="38670" y="0"/>
                    <a:pt x="56170" y="0"/>
                  </a:cubicBezTo>
                  <a:cubicBezTo>
                    <a:pt x="73671" y="0"/>
                    <a:pt x="88861" y="15190"/>
                    <a:pt x="88861" y="32238"/>
                  </a:cubicBezTo>
                  <a:cubicBezTo>
                    <a:pt x="88861" y="49270"/>
                    <a:pt x="73671" y="64008"/>
                    <a:pt x="56170" y="64008"/>
                  </a:cubicBezTo>
                  <a:close/>
                  <a:moveTo>
                    <a:pt x="91624" y="299324"/>
                  </a:moveTo>
                  <a:cubicBezTo>
                    <a:pt x="111420" y="299324"/>
                    <a:pt x="129841" y="289652"/>
                    <a:pt x="145040" y="271238"/>
                  </a:cubicBezTo>
                  <a:lnTo>
                    <a:pt x="145040" y="230250"/>
                  </a:lnTo>
                  <a:cubicBezTo>
                    <a:pt x="132144" y="227026"/>
                    <a:pt x="118789" y="225644"/>
                    <a:pt x="106823" y="225644"/>
                  </a:cubicBezTo>
                  <a:cubicBezTo>
                    <a:pt x="72290" y="225644"/>
                    <a:pt x="52486" y="239452"/>
                    <a:pt x="52486" y="264322"/>
                  </a:cubicBezTo>
                  <a:cubicBezTo>
                    <a:pt x="52477" y="285968"/>
                    <a:pt x="67684" y="299324"/>
                    <a:pt x="91624" y="299324"/>
                  </a:cubicBezTo>
                  <a:close/>
                  <a:moveTo>
                    <a:pt x="151948" y="64008"/>
                  </a:moveTo>
                  <a:cubicBezTo>
                    <a:pt x="134447" y="64008"/>
                    <a:pt x="119258" y="49270"/>
                    <a:pt x="119258" y="32238"/>
                  </a:cubicBezTo>
                  <a:cubicBezTo>
                    <a:pt x="119258" y="15198"/>
                    <a:pt x="134447" y="0"/>
                    <a:pt x="151948" y="0"/>
                  </a:cubicBezTo>
                  <a:cubicBezTo>
                    <a:pt x="169448" y="0"/>
                    <a:pt x="184639" y="15190"/>
                    <a:pt x="184639" y="32238"/>
                  </a:cubicBezTo>
                  <a:cubicBezTo>
                    <a:pt x="184647" y="49270"/>
                    <a:pt x="169448" y="64008"/>
                    <a:pt x="151948" y="6400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05A64505-32AC-4527-AEA0-AB1174EA690E}"/>
                </a:ext>
              </a:extLst>
            </p:cNvPr>
            <p:cNvSpPr/>
            <p:nvPr/>
          </p:nvSpPr>
          <p:spPr>
            <a:xfrm>
              <a:off x="10641954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67" y="264791"/>
                    <a:pt x="145977" y="26018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C65FFDEA-1A26-4BE3-A84A-5A46C9E7B5FE}"/>
                </a:ext>
              </a:extLst>
            </p:cNvPr>
            <p:cNvSpPr/>
            <p:nvPr/>
          </p:nvSpPr>
          <p:spPr>
            <a:xfrm>
              <a:off x="4034676" y="2461949"/>
              <a:ext cx="203537" cy="324184"/>
            </a:xfrm>
            <a:custGeom>
              <a:avLst/>
              <a:gdLst>
                <a:gd name="connsiteX0" fmla="*/ 203538 w 203537"/>
                <a:gd name="connsiteY0" fmla="*/ 52955 h 324184"/>
                <a:gd name="connsiteX1" fmla="*/ 57561 w 203537"/>
                <a:gd name="connsiteY1" fmla="*/ 52955 h 324184"/>
                <a:gd name="connsiteX2" fmla="*/ 57561 w 203537"/>
                <a:gd name="connsiteY2" fmla="*/ 133543 h 324184"/>
                <a:gd name="connsiteX3" fmla="*/ 166694 w 203537"/>
                <a:gd name="connsiteY3" fmla="*/ 133543 h 324184"/>
                <a:gd name="connsiteX4" fmla="*/ 166694 w 203537"/>
                <a:gd name="connsiteY4" fmla="*/ 186037 h 324184"/>
                <a:gd name="connsiteX5" fmla="*/ 57561 w 203537"/>
                <a:gd name="connsiteY5" fmla="*/ 186037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55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55"/>
                  </a:moveTo>
                  <a:lnTo>
                    <a:pt x="57561" y="52955"/>
                  </a:lnTo>
                  <a:lnTo>
                    <a:pt x="57561" y="133543"/>
                  </a:lnTo>
                  <a:lnTo>
                    <a:pt x="166694" y="133543"/>
                  </a:lnTo>
                  <a:lnTo>
                    <a:pt x="166694" y="186037"/>
                  </a:lnTo>
                  <a:lnTo>
                    <a:pt x="57561" y="186037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5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CFC9BF65-D528-4810-BC56-4CD8988DC0C8}"/>
                </a:ext>
              </a:extLst>
            </p:cNvPr>
            <p:cNvSpPr/>
            <p:nvPr/>
          </p:nvSpPr>
          <p:spPr>
            <a:xfrm>
              <a:off x="4248564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94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5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7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52" y="132621"/>
                    <a:pt x="118796" y="131240"/>
                    <a:pt x="106822" y="131240"/>
                  </a:cubicBezTo>
                  <a:cubicBezTo>
                    <a:pt x="72289" y="131240"/>
                    <a:pt x="52494" y="145048"/>
                    <a:pt x="52494" y="169918"/>
                  </a:cubicBezTo>
                  <a:cubicBezTo>
                    <a:pt x="52494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BB62778A-CBC0-461E-B274-DB517F0546E3}"/>
                </a:ext>
              </a:extLst>
            </p:cNvPr>
            <p:cNvSpPr/>
            <p:nvPr/>
          </p:nvSpPr>
          <p:spPr>
            <a:xfrm>
              <a:off x="4504663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1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09" y="50191"/>
                  </a:cubicBezTo>
                  <a:cubicBezTo>
                    <a:pt x="78276" y="50191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71" y="196161"/>
                    <a:pt x="145509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8" name="Freihandform: Form 247">
              <a:extLst>
                <a:ext uri="{FF2B5EF4-FFF2-40B4-BE49-F238E27FC236}">
                  <a16:creationId xmlns:a16="http://schemas.microsoft.com/office/drawing/2014/main" id="{337ABDD6-BAFD-497D-BA4B-D32E663BBB93}"/>
                </a:ext>
              </a:extLst>
            </p:cNvPr>
            <p:cNvSpPr/>
            <p:nvPr/>
          </p:nvSpPr>
          <p:spPr>
            <a:xfrm>
              <a:off x="4749206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8 w 201695"/>
                <a:gd name="connsiteY10" fmla="*/ 136298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298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9" name="Freihandform: Form 248">
              <a:extLst>
                <a:ext uri="{FF2B5EF4-FFF2-40B4-BE49-F238E27FC236}">
                  <a16:creationId xmlns:a16="http://schemas.microsoft.com/office/drawing/2014/main" id="{F912D02F-D665-4FC7-ACBE-AFD64A4892B2}"/>
                </a:ext>
              </a:extLst>
            </p:cNvPr>
            <p:cNvSpPr/>
            <p:nvPr/>
          </p:nvSpPr>
          <p:spPr>
            <a:xfrm>
              <a:off x="5020788" y="2443535"/>
              <a:ext cx="218735" cy="348125"/>
            </a:xfrm>
            <a:custGeom>
              <a:avLst/>
              <a:gdLst>
                <a:gd name="connsiteX0" fmla="*/ 218736 w 218735"/>
                <a:gd name="connsiteY0" fmla="*/ 223785 h 348125"/>
                <a:gd name="connsiteX1" fmla="*/ 122959 w 218735"/>
                <a:gd name="connsiteY1" fmla="*/ 348125 h 348125"/>
                <a:gd name="connsiteX2" fmla="*/ 53424 w 218735"/>
                <a:gd name="connsiteY2" fmla="*/ 315434 h 348125"/>
                <a:gd name="connsiteX3" fmla="*/ 52503 w 218735"/>
                <a:gd name="connsiteY3" fmla="*/ 315434 h 348125"/>
                <a:gd name="connsiteX4" fmla="*/ 52503 w 218735"/>
                <a:gd name="connsiteY4" fmla="*/ 342599 h 348125"/>
                <a:gd name="connsiteX5" fmla="*/ 0 w 218735"/>
                <a:gd name="connsiteY5" fmla="*/ 342599 h 348125"/>
                <a:gd name="connsiteX6" fmla="*/ 0 w 218735"/>
                <a:gd name="connsiteY6" fmla="*/ 13808 h 348125"/>
                <a:gd name="connsiteX7" fmla="*/ 54806 w 218735"/>
                <a:gd name="connsiteY7" fmla="*/ 0 h 348125"/>
                <a:gd name="connsiteX8" fmla="*/ 54806 w 218735"/>
                <a:gd name="connsiteY8" fmla="*/ 135376 h 348125"/>
                <a:gd name="connsiteX9" fmla="*/ 55719 w 218735"/>
                <a:gd name="connsiteY9" fmla="*/ 135376 h 348125"/>
                <a:gd name="connsiteX10" fmla="*/ 124332 w 218735"/>
                <a:gd name="connsiteY10" fmla="*/ 102225 h 348125"/>
                <a:gd name="connsiteX11" fmla="*/ 218736 w 218735"/>
                <a:gd name="connsiteY11" fmla="*/ 223785 h 348125"/>
                <a:gd name="connsiteX12" fmla="*/ 164852 w 218735"/>
                <a:gd name="connsiteY12" fmla="*/ 225167 h 348125"/>
                <a:gd name="connsiteX13" fmla="*/ 110055 w 218735"/>
                <a:gd name="connsiteY13" fmla="*/ 151487 h 348125"/>
                <a:gd name="connsiteX14" fmla="*/ 54797 w 218735"/>
                <a:gd name="connsiteY14" fmla="*/ 181883 h 348125"/>
                <a:gd name="connsiteX15" fmla="*/ 54797 w 218735"/>
                <a:gd name="connsiteY15" fmla="*/ 267537 h 348125"/>
                <a:gd name="connsiteX16" fmla="*/ 110507 w 218735"/>
                <a:gd name="connsiteY16" fmla="*/ 299315 h 348125"/>
                <a:gd name="connsiteX17" fmla="*/ 164852 w 218735"/>
                <a:gd name="connsiteY17" fmla="*/ 225167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8735" h="348125">
                  <a:moveTo>
                    <a:pt x="218736" y="223785"/>
                  </a:moveTo>
                  <a:cubicBezTo>
                    <a:pt x="218736" y="299315"/>
                    <a:pt x="180519" y="348125"/>
                    <a:pt x="122959" y="348125"/>
                  </a:cubicBezTo>
                  <a:cubicBezTo>
                    <a:pt x="93483" y="348125"/>
                    <a:pt x="69074" y="335690"/>
                    <a:pt x="53424" y="315434"/>
                  </a:cubicBezTo>
                  <a:lnTo>
                    <a:pt x="52503" y="315434"/>
                  </a:lnTo>
                  <a:lnTo>
                    <a:pt x="52503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806" y="0"/>
                  </a:lnTo>
                  <a:lnTo>
                    <a:pt x="54806" y="135376"/>
                  </a:lnTo>
                  <a:lnTo>
                    <a:pt x="55719" y="135376"/>
                  </a:lnTo>
                  <a:cubicBezTo>
                    <a:pt x="71377" y="114652"/>
                    <a:pt x="95317" y="102225"/>
                    <a:pt x="124332" y="102225"/>
                  </a:cubicBezTo>
                  <a:cubicBezTo>
                    <a:pt x="180510" y="102217"/>
                    <a:pt x="218736" y="147803"/>
                    <a:pt x="218736" y="223785"/>
                  </a:cubicBezTo>
                  <a:close/>
                  <a:moveTo>
                    <a:pt x="164852" y="225167"/>
                  </a:moveTo>
                  <a:cubicBezTo>
                    <a:pt x="164852" y="176826"/>
                    <a:pt x="145056" y="151487"/>
                    <a:pt x="110055" y="151487"/>
                  </a:cubicBezTo>
                  <a:cubicBezTo>
                    <a:pt x="88878" y="151487"/>
                    <a:pt x="71838" y="160707"/>
                    <a:pt x="54797" y="181883"/>
                  </a:cubicBezTo>
                  <a:lnTo>
                    <a:pt x="54797" y="267537"/>
                  </a:lnTo>
                  <a:cubicBezTo>
                    <a:pt x="70448" y="288262"/>
                    <a:pt x="87949" y="299315"/>
                    <a:pt x="110507" y="299315"/>
                  </a:cubicBezTo>
                  <a:cubicBezTo>
                    <a:pt x="145969" y="299307"/>
                    <a:pt x="164852" y="272134"/>
                    <a:pt x="164852" y="225167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0" name="Freihandform: Form 249">
              <a:extLst>
                <a:ext uri="{FF2B5EF4-FFF2-40B4-BE49-F238E27FC236}">
                  <a16:creationId xmlns:a16="http://schemas.microsoft.com/office/drawing/2014/main" id="{ED3D0B6C-CF30-40F6-9994-049DE2F09E77}"/>
                </a:ext>
              </a:extLst>
            </p:cNvPr>
            <p:cNvSpPr/>
            <p:nvPr/>
          </p:nvSpPr>
          <p:spPr>
            <a:xfrm>
              <a:off x="5287630" y="2545752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806 w 214138"/>
                <a:gd name="connsiteY10" fmla="*/ 101765 h 245899"/>
                <a:gd name="connsiteX11" fmla="*/ 161176 w 214138"/>
                <a:gd name="connsiteY11" fmla="*/ 101765 h 245899"/>
                <a:gd name="connsiteX12" fmla="*/ 109134 w 214138"/>
                <a:gd name="connsiteY12" fmla="*/ 45125 h 245899"/>
                <a:gd name="connsiteX13" fmla="*/ 54806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7" y="198924"/>
                    <a:pt x="155658" y="190634"/>
                    <a:pt x="174079" y="171291"/>
                  </a:cubicBezTo>
                  <a:lnTo>
                    <a:pt x="208152" y="207214"/>
                  </a:lnTo>
                  <a:cubicBezTo>
                    <a:pt x="181440" y="233465"/>
                    <a:pt x="151504" y="245900"/>
                    <a:pt x="116042" y="245900"/>
                  </a:cubicBezTo>
                  <a:close/>
                  <a:moveTo>
                    <a:pt x="54806" y="101765"/>
                  </a:moveTo>
                  <a:lnTo>
                    <a:pt x="161176" y="101765"/>
                  </a:lnTo>
                  <a:cubicBezTo>
                    <a:pt x="158873" y="65850"/>
                    <a:pt x="139990" y="45125"/>
                    <a:pt x="109134" y="45125"/>
                  </a:cubicBezTo>
                  <a:cubicBezTo>
                    <a:pt x="78746" y="45134"/>
                    <a:pt x="59411" y="65390"/>
                    <a:pt x="54806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1" name="Freihandform: Form 250">
              <a:extLst>
                <a:ext uri="{FF2B5EF4-FFF2-40B4-BE49-F238E27FC236}">
                  <a16:creationId xmlns:a16="http://schemas.microsoft.com/office/drawing/2014/main" id="{2F102745-C89E-4457-AB2E-9882F7EDF638}"/>
                </a:ext>
              </a:extLst>
            </p:cNvPr>
            <p:cNvSpPr/>
            <p:nvPr/>
          </p:nvSpPr>
          <p:spPr>
            <a:xfrm>
              <a:off x="5561607" y="2545769"/>
              <a:ext cx="141832" cy="240365"/>
            </a:xfrm>
            <a:custGeom>
              <a:avLst/>
              <a:gdLst>
                <a:gd name="connsiteX0" fmla="*/ 141833 w 141832"/>
                <a:gd name="connsiteY0" fmla="*/ 5049 h 240365"/>
                <a:gd name="connsiteX1" fmla="*/ 133082 w 141832"/>
                <a:gd name="connsiteY1" fmla="*/ 61228 h 240365"/>
                <a:gd name="connsiteX2" fmla="*/ 102686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34 w 141832"/>
                <a:gd name="connsiteY10" fmla="*/ 0 h 240365"/>
                <a:gd name="connsiteX11" fmla="*/ 141833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3" y="5049"/>
                  </a:moveTo>
                  <a:lnTo>
                    <a:pt x="133082" y="61228"/>
                  </a:lnTo>
                  <a:cubicBezTo>
                    <a:pt x="124792" y="56623"/>
                    <a:pt x="114661" y="53859"/>
                    <a:pt x="102686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4" y="0"/>
                  </a:cubicBezTo>
                  <a:cubicBezTo>
                    <a:pt x="123879" y="-17"/>
                    <a:pt x="133543" y="1365"/>
                    <a:pt x="141833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2" name="Freihandform: Form 251">
              <a:extLst>
                <a:ext uri="{FF2B5EF4-FFF2-40B4-BE49-F238E27FC236}">
                  <a16:creationId xmlns:a16="http://schemas.microsoft.com/office/drawing/2014/main" id="{20B8CF65-3C7E-40C9-9359-73514BB8968F}"/>
                </a:ext>
              </a:extLst>
            </p:cNvPr>
            <p:cNvSpPr/>
            <p:nvPr/>
          </p:nvSpPr>
          <p:spPr>
            <a:xfrm>
              <a:off x="5733668" y="2545752"/>
              <a:ext cx="214138" cy="245899"/>
            </a:xfrm>
            <a:custGeom>
              <a:avLst/>
              <a:gdLst>
                <a:gd name="connsiteX0" fmla="*/ 116041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6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1 w 214138"/>
                <a:gd name="connsiteY8" fmla="*/ 207214 h 245899"/>
                <a:gd name="connsiteX9" fmla="*/ 116041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5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1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6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6" y="198924"/>
                    <a:pt x="155657" y="190634"/>
                    <a:pt x="174079" y="171291"/>
                  </a:cubicBezTo>
                  <a:lnTo>
                    <a:pt x="208151" y="207214"/>
                  </a:lnTo>
                  <a:cubicBezTo>
                    <a:pt x="181431" y="233465"/>
                    <a:pt x="151495" y="245900"/>
                    <a:pt x="116041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5"/>
                    <a:pt x="109125" y="45125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3" name="Freihandform: Form 252">
              <a:extLst>
                <a:ext uri="{FF2B5EF4-FFF2-40B4-BE49-F238E27FC236}">
                  <a16:creationId xmlns:a16="http://schemas.microsoft.com/office/drawing/2014/main" id="{C90F29F1-CEB1-4699-829E-DC7991CA70DB}"/>
                </a:ext>
              </a:extLst>
            </p:cNvPr>
            <p:cNvSpPr/>
            <p:nvPr/>
          </p:nvSpPr>
          <p:spPr>
            <a:xfrm>
              <a:off x="5999489" y="2447663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2DF19D42-3ABB-4580-B25F-F2837990BD84}"/>
                </a:ext>
              </a:extLst>
            </p:cNvPr>
            <p:cNvSpPr/>
            <p:nvPr/>
          </p:nvSpPr>
          <p:spPr>
            <a:xfrm>
              <a:off x="6120438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8 w 197542"/>
                <a:gd name="connsiteY5" fmla="*/ 75974 h 245899"/>
                <a:gd name="connsiteX6" fmla="*/ 112810 w 197542"/>
                <a:gd name="connsiteY6" fmla="*/ 50191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8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63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E5998662-7726-4AF1-B7A1-4A9F52203D33}"/>
                </a:ext>
              </a:extLst>
            </p:cNvPr>
            <p:cNvSpPr/>
            <p:nvPr/>
          </p:nvSpPr>
          <p:spPr>
            <a:xfrm>
              <a:off x="6364973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9 w 201695"/>
                <a:gd name="connsiteY10" fmla="*/ 136298 h 342598"/>
                <a:gd name="connsiteX11" fmla="*/ 124324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9" y="136298"/>
                  </a:lnTo>
                  <a:cubicBezTo>
                    <a:pt x="69074" y="115573"/>
                    <a:pt x="93483" y="102225"/>
                    <a:pt x="124324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6" name="Freihandform: Form 255">
              <a:extLst>
                <a:ext uri="{FF2B5EF4-FFF2-40B4-BE49-F238E27FC236}">
                  <a16:creationId xmlns:a16="http://schemas.microsoft.com/office/drawing/2014/main" id="{2C67B4C5-66E7-4334-907E-BD17FDCA901F}"/>
                </a:ext>
              </a:extLst>
            </p:cNvPr>
            <p:cNvSpPr/>
            <p:nvPr/>
          </p:nvSpPr>
          <p:spPr>
            <a:xfrm>
              <a:off x="6751826" y="2461940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9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2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9 w 398768"/>
                <a:gd name="connsiteY9" fmla="*/ 0 h 324184"/>
                <a:gd name="connsiteX10" fmla="*/ 317260 w 398768"/>
                <a:gd name="connsiteY10" fmla="*/ 324185 h 324184"/>
                <a:gd name="connsiteX11" fmla="*/ 257858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9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2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9" y="0"/>
                  </a:lnTo>
                  <a:lnTo>
                    <a:pt x="317260" y="324185"/>
                  </a:lnTo>
                  <a:lnTo>
                    <a:pt x="257858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D1D81AEF-2530-4F8A-A1BA-E124FBEB83E3}"/>
                </a:ext>
              </a:extLst>
            </p:cNvPr>
            <p:cNvSpPr/>
            <p:nvPr/>
          </p:nvSpPr>
          <p:spPr>
            <a:xfrm>
              <a:off x="7196759" y="2447663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8" name="Freihandform: Form 257">
              <a:extLst>
                <a:ext uri="{FF2B5EF4-FFF2-40B4-BE49-F238E27FC236}">
                  <a16:creationId xmlns:a16="http://schemas.microsoft.com/office/drawing/2014/main" id="{91616AB2-66B8-4121-A36D-D023DFC7F416}"/>
                </a:ext>
              </a:extLst>
            </p:cNvPr>
            <p:cNvSpPr/>
            <p:nvPr/>
          </p:nvSpPr>
          <p:spPr>
            <a:xfrm>
              <a:off x="7330586" y="2545769"/>
              <a:ext cx="141832" cy="240365"/>
            </a:xfrm>
            <a:custGeom>
              <a:avLst/>
              <a:gdLst>
                <a:gd name="connsiteX0" fmla="*/ 141832 w 141832"/>
                <a:gd name="connsiteY0" fmla="*/ 5049 h 240365"/>
                <a:gd name="connsiteX1" fmla="*/ 133082 w 141832"/>
                <a:gd name="connsiteY1" fmla="*/ 61228 h 240365"/>
                <a:gd name="connsiteX2" fmla="*/ 102694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41 w 141832"/>
                <a:gd name="connsiteY10" fmla="*/ 0 h 240365"/>
                <a:gd name="connsiteX11" fmla="*/ 141832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2" y="5049"/>
                  </a:moveTo>
                  <a:lnTo>
                    <a:pt x="133082" y="61228"/>
                  </a:lnTo>
                  <a:cubicBezTo>
                    <a:pt x="124792" y="56623"/>
                    <a:pt x="114668" y="53859"/>
                    <a:pt x="102694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3" y="13348"/>
                    <a:pt x="89330" y="0"/>
                    <a:pt x="116041" y="0"/>
                  </a:cubicBezTo>
                  <a:cubicBezTo>
                    <a:pt x="123871" y="-17"/>
                    <a:pt x="133543" y="1365"/>
                    <a:pt x="141832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9" name="Freihandform: Form 258">
              <a:extLst>
                <a:ext uri="{FF2B5EF4-FFF2-40B4-BE49-F238E27FC236}">
                  <a16:creationId xmlns:a16="http://schemas.microsoft.com/office/drawing/2014/main" id="{CF224488-73D5-498B-8A6F-E508395322D3}"/>
                </a:ext>
              </a:extLst>
            </p:cNvPr>
            <p:cNvSpPr/>
            <p:nvPr/>
          </p:nvSpPr>
          <p:spPr>
            <a:xfrm>
              <a:off x="7506323" y="2475749"/>
              <a:ext cx="145977" cy="315903"/>
            </a:xfrm>
            <a:custGeom>
              <a:avLst/>
              <a:gdLst>
                <a:gd name="connsiteX0" fmla="*/ 145978 w 145977"/>
                <a:gd name="connsiteY0" fmla="*/ 260185 h 315903"/>
                <a:gd name="connsiteX1" fmla="*/ 145978 w 145977"/>
                <a:gd name="connsiteY1" fmla="*/ 307153 h 315903"/>
                <a:gd name="connsiteX2" fmla="*/ 99923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2 w 145977"/>
                <a:gd name="connsiteY15" fmla="*/ 268006 h 315903"/>
                <a:gd name="connsiteX16" fmla="*/ 145978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3" y="312680"/>
                    <a:pt x="116041" y="315903"/>
                    <a:pt x="99923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20" y="268006"/>
                    <a:pt x="115572" y="268006"/>
                  </a:cubicBezTo>
                  <a:cubicBezTo>
                    <a:pt x="125721" y="268015"/>
                    <a:pt x="136766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0" name="Freihandform: Form 259">
              <a:extLst>
                <a:ext uri="{FF2B5EF4-FFF2-40B4-BE49-F238E27FC236}">
                  <a16:creationId xmlns:a16="http://schemas.microsoft.com/office/drawing/2014/main" id="{3AE46D25-9359-4619-8055-B59B12C4E131}"/>
                </a:ext>
              </a:extLst>
            </p:cNvPr>
            <p:cNvSpPr/>
            <p:nvPr/>
          </p:nvSpPr>
          <p:spPr>
            <a:xfrm>
              <a:off x="7691154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3" y="53415"/>
                    <a:pt x="115121" y="46499"/>
                    <a:pt x="97159" y="46499"/>
                  </a:cubicBezTo>
                  <a:cubicBezTo>
                    <a:pt x="76896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06F838B5-38CC-47DF-BFBC-AF849845BCE1}"/>
                </a:ext>
              </a:extLst>
            </p:cNvPr>
            <p:cNvSpPr/>
            <p:nvPr/>
          </p:nvSpPr>
          <p:spPr>
            <a:xfrm>
              <a:off x="7916480" y="2545760"/>
              <a:ext cx="197541" cy="245899"/>
            </a:xfrm>
            <a:custGeom>
              <a:avLst/>
              <a:gdLst>
                <a:gd name="connsiteX0" fmla="*/ 196169 w 197541"/>
                <a:gd name="connsiteY0" fmla="*/ 208135 h 245899"/>
                <a:gd name="connsiteX1" fmla="*/ 112357 w 197541"/>
                <a:gd name="connsiteY1" fmla="*/ 245900 h 245899"/>
                <a:gd name="connsiteX2" fmla="*/ 0 w 197541"/>
                <a:gd name="connsiteY2" fmla="*/ 123871 h 245899"/>
                <a:gd name="connsiteX3" fmla="*/ 113278 w 197541"/>
                <a:gd name="connsiteY3" fmla="*/ 0 h 245899"/>
                <a:gd name="connsiteX4" fmla="*/ 197542 w 197541"/>
                <a:gd name="connsiteY4" fmla="*/ 40059 h 245899"/>
                <a:gd name="connsiteX5" fmla="*/ 159777 w 197541"/>
                <a:gd name="connsiteY5" fmla="*/ 75974 h 245899"/>
                <a:gd name="connsiteX6" fmla="*/ 112810 w 197541"/>
                <a:gd name="connsiteY6" fmla="*/ 50191 h 245899"/>
                <a:gd name="connsiteX7" fmla="*/ 54788 w 197541"/>
                <a:gd name="connsiteY7" fmla="*/ 122942 h 245899"/>
                <a:gd name="connsiteX8" fmla="*/ 112349 w 197541"/>
                <a:gd name="connsiteY8" fmla="*/ 196161 h 245899"/>
                <a:gd name="connsiteX9" fmla="*/ 160699 w 197541"/>
                <a:gd name="connsiteY9" fmla="*/ 170370 h 245899"/>
                <a:gd name="connsiteX10" fmla="*/ 196169 w 197541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1" h="245899">
                  <a:moveTo>
                    <a:pt x="196169" y="208135"/>
                  </a:moveTo>
                  <a:cubicBezTo>
                    <a:pt x="172680" y="233926"/>
                    <a:pt x="145977" y="245900"/>
                    <a:pt x="112357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8" y="78737"/>
                    <a:pt x="54788" y="122942"/>
                  </a:cubicBezTo>
                  <a:cubicBezTo>
                    <a:pt x="54788" y="166694"/>
                    <a:pt x="78277" y="196161"/>
                    <a:pt x="112349" y="196161"/>
                  </a:cubicBezTo>
                  <a:cubicBezTo>
                    <a:pt x="130762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EFD7FED8-140E-49CE-846B-FEC793083645}"/>
                </a:ext>
              </a:extLst>
            </p:cNvPr>
            <p:cNvSpPr/>
            <p:nvPr/>
          </p:nvSpPr>
          <p:spPr>
            <a:xfrm>
              <a:off x="8161024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8 w 201695"/>
                <a:gd name="connsiteY1" fmla="*/ 342590 h 342598"/>
                <a:gd name="connsiteX2" fmla="*/ 146898 w 201695"/>
                <a:gd name="connsiteY2" fmla="*/ 208587 h 342598"/>
                <a:gd name="connsiteX3" fmla="*/ 103607 w 201695"/>
                <a:gd name="connsiteY3" fmla="*/ 151487 h 342598"/>
                <a:gd name="connsiteX4" fmla="*/ 54798 w 201695"/>
                <a:gd name="connsiteY4" fmla="*/ 208135 h 342598"/>
                <a:gd name="connsiteX5" fmla="*/ 54798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8 w 201695"/>
                <a:gd name="connsiteY8" fmla="*/ 0 h 342598"/>
                <a:gd name="connsiteX9" fmla="*/ 54798 w 201695"/>
                <a:gd name="connsiteY9" fmla="*/ 136298 h 342598"/>
                <a:gd name="connsiteX10" fmla="*/ 55719 w 201695"/>
                <a:gd name="connsiteY10" fmla="*/ 136298 h 342598"/>
                <a:gd name="connsiteX11" fmla="*/ 124332 w 201695"/>
                <a:gd name="connsiteY11" fmla="*/ 102225 h 342598"/>
                <a:gd name="connsiteX12" fmla="*/ 201688 w 201695"/>
                <a:gd name="connsiteY12" fmla="*/ 197082 h 342598"/>
                <a:gd name="connsiteX13" fmla="*/ 201688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306" y="151487"/>
                    <a:pt x="103607" y="151487"/>
                  </a:cubicBezTo>
                  <a:cubicBezTo>
                    <a:pt x="65850" y="151487"/>
                    <a:pt x="54798" y="181423"/>
                    <a:pt x="54798" y="208135"/>
                  </a:cubicBezTo>
                  <a:lnTo>
                    <a:pt x="54798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8" y="0"/>
                  </a:lnTo>
                  <a:lnTo>
                    <a:pt x="54798" y="136298"/>
                  </a:lnTo>
                  <a:lnTo>
                    <a:pt x="55719" y="136298"/>
                  </a:lnTo>
                  <a:cubicBezTo>
                    <a:pt x="69074" y="115573"/>
                    <a:pt x="93484" y="102225"/>
                    <a:pt x="124332" y="102225"/>
                  </a:cubicBezTo>
                  <a:cubicBezTo>
                    <a:pt x="178660" y="102225"/>
                    <a:pt x="201688" y="142745"/>
                    <a:pt x="201688" y="197082"/>
                  </a:cubicBezTo>
                  <a:lnTo>
                    <a:pt x="201688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A901D558-23E5-4464-8A3C-15F371E6872B}"/>
                </a:ext>
              </a:extLst>
            </p:cNvPr>
            <p:cNvSpPr/>
            <p:nvPr/>
          </p:nvSpPr>
          <p:spPr>
            <a:xfrm>
              <a:off x="8416729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40 w 198923"/>
                <a:gd name="connsiteY1" fmla="*/ 99922 h 245899"/>
                <a:gd name="connsiteX2" fmla="*/ 145040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6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495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26" y="94856"/>
                    <a:pt x="129851" y="95778"/>
                    <a:pt x="145040" y="99922"/>
                  </a:cubicBezTo>
                  <a:lnTo>
                    <a:pt x="145040" y="91633"/>
                  </a:lnTo>
                  <a:cubicBezTo>
                    <a:pt x="145040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2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28" y="204919"/>
                    <a:pt x="129851" y="195248"/>
                    <a:pt x="145048" y="176834"/>
                  </a:cubicBezTo>
                  <a:lnTo>
                    <a:pt x="145048" y="135845"/>
                  </a:lnTo>
                  <a:cubicBezTo>
                    <a:pt x="132152" y="132621"/>
                    <a:pt x="118797" y="131240"/>
                    <a:pt x="106831" y="131240"/>
                  </a:cubicBezTo>
                  <a:cubicBezTo>
                    <a:pt x="72298" y="131240"/>
                    <a:pt x="52495" y="145048"/>
                    <a:pt x="52495" y="169918"/>
                  </a:cubicBezTo>
                  <a:cubicBezTo>
                    <a:pt x="52486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4" name="Freihandform: Form 263">
              <a:extLst>
                <a:ext uri="{FF2B5EF4-FFF2-40B4-BE49-F238E27FC236}">
                  <a16:creationId xmlns:a16="http://schemas.microsoft.com/office/drawing/2014/main" id="{1707B2C4-8F71-403B-9E15-A9883B7C2A1C}"/>
                </a:ext>
              </a:extLst>
            </p:cNvPr>
            <p:cNvSpPr/>
            <p:nvPr/>
          </p:nvSpPr>
          <p:spPr>
            <a:xfrm>
              <a:off x="8659530" y="2440295"/>
              <a:ext cx="143667" cy="345830"/>
            </a:xfrm>
            <a:custGeom>
              <a:avLst/>
              <a:gdLst>
                <a:gd name="connsiteX0" fmla="*/ 143667 w 143667"/>
                <a:gd name="connsiteY0" fmla="*/ 51582 h 345830"/>
                <a:gd name="connsiteX1" fmla="*/ 119727 w 143667"/>
                <a:gd name="connsiteY1" fmla="*/ 46976 h 345830"/>
                <a:gd name="connsiteX2" fmla="*/ 90712 w 143667"/>
                <a:gd name="connsiteY2" fmla="*/ 79667 h 345830"/>
                <a:gd name="connsiteX3" fmla="*/ 90712 w 143667"/>
                <a:gd name="connsiteY3" fmla="*/ 111445 h 345830"/>
                <a:gd name="connsiteX4" fmla="*/ 137228 w 143667"/>
                <a:gd name="connsiteY4" fmla="*/ 111445 h 345830"/>
                <a:gd name="connsiteX5" fmla="*/ 137228 w 143667"/>
                <a:gd name="connsiteY5" fmla="*/ 157031 h 345830"/>
                <a:gd name="connsiteX6" fmla="*/ 91173 w 143667"/>
                <a:gd name="connsiteY6" fmla="*/ 157031 h 345830"/>
                <a:gd name="connsiteX7" fmla="*/ 91173 w 143667"/>
                <a:gd name="connsiteY7" fmla="*/ 345831 h 345830"/>
                <a:gd name="connsiteX8" fmla="*/ 36375 w 143667"/>
                <a:gd name="connsiteY8" fmla="*/ 345831 h 345830"/>
                <a:gd name="connsiteX9" fmla="*/ 36375 w 143667"/>
                <a:gd name="connsiteY9" fmla="*/ 157031 h 345830"/>
                <a:gd name="connsiteX10" fmla="*/ 0 w 143667"/>
                <a:gd name="connsiteY10" fmla="*/ 157031 h 345830"/>
                <a:gd name="connsiteX11" fmla="*/ 0 w 143667"/>
                <a:gd name="connsiteY11" fmla="*/ 111445 h 345830"/>
                <a:gd name="connsiteX12" fmla="*/ 36375 w 143667"/>
                <a:gd name="connsiteY12" fmla="*/ 111445 h 345830"/>
                <a:gd name="connsiteX13" fmla="*/ 36375 w 143667"/>
                <a:gd name="connsiteY13" fmla="*/ 77824 h 345830"/>
                <a:gd name="connsiteX14" fmla="*/ 110976 w 143667"/>
                <a:gd name="connsiteY14" fmla="*/ 0 h 345830"/>
                <a:gd name="connsiteX15" fmla="*/ 143667 w 143667"/>
                <a:gd name="connsiteY15" fmla="*/ 5066 h 345830"/>
                <a:gd name="connsiteX16" fmla="*/ 143667 w 143667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67" h="345830">
                  <a:moveTo>
                    <a:pt x="143667" y="51582"/>
                  </a:moveTo>
                  <a:cubicBezTo>
                    <a:pt x="136298" y="48358"/>
                    <a:pt x="127548" y="46976"/>
                    <a:pt x="119727" y="46976"/>
                  </a:cubicBezTo>
                  <a:cubicBezTo>
                    <a:pt x="99001" y="46976"/>
                    <a:pt x="90712" y="57569"/>
                    <a:pt x="90712" y="79667"/>
                  </a:cubicBezTo>
                  <a:lnTo>
                    <a:pt x="90712" y="111445"/>
                  </a:lnTo>
                  <a:lnTo>
                    <a:pt x="137228" y="111445"/>
                  </a:lnTo>
                  <a:lnTo>
                    <a:pt x="137228" y="157031"/>
                  </a:lnTo>
                  <a:lnTo>
                    <a:pt x="91173" y="157031"/>
                  </a:lnTo>
                  <a:lnTo>
                    <a:pt x="91173" y="345831"/>
                  </a:lnTo>
                  <a:lnTo>
                    <a:pt x="36375" y="345831"/>
                  </a:lnTo>
                  <a:lnTo>
                    <a:pt x="36375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75" y="111445"/>
                  </a:lnTo>
                  <a:lnTo>
                    <a:pt x="36375" y="77824"/>
                  </a:lnTo>
                  <a:cubicBezTo>
                    <a:pt x="36375" y="29015"/>
                    <a:pt x="58481" y="0"/>
                    <a:pt x="110976" y="0"/>
                  </a:cubicBezTo>
                  <a:cubicBezTo>
                    <a:pt x="122951" y="0"/>
                    <a:pt x="134465" y="1382"/>
                    <a:pt x="143667" y="5066"/>
                  </a:cubicBezTo>
                  <a:lnTo>
                    <a:pt x="143667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5" name="Freihandform: Form 264">
              <a:extLst>
                <a:ext uri="{FF2B5EF4-FFF2-40B4-BE49-F238E27FC236}">
                  <a16:creationId xmlns:a16="http://schemas.microsoft.com/office/drawing/2014/main" id="{3A870182-1564-41CE-9E37-9ABD1DE9A6E3}"/>
                </a:ext>
              </a:extLst>
            </p:cNvPr>
            <p:cNvSpPr/>
            <p:nvPr/>
          </p:nvSpPr>
          <p:spPr>
            <a:xfrm>
              <a:off x="8832370" y="2475749"/>
              <a:ext cx="145978" cy="315903"/>
            </a:xfrm>
            <a:custGeom>
              <a:avLst/>
              <a:gdLst>
                <a:gd name="connsiteX0" fmla="*/ 145978 w 145978"/>
                <a:gd name="connsiteY0" fmla="*/ 260185 h 315903"/>
                <a:gd name="connsiteX1" fmla="*/ 145978 w 145978"/>
                <a:gd name="connsiteY1" fmla="*/ 307153 h 315903"/>
                <a:gd name="connsiteX2" fmla="*/ 99923 w 145978"/>
                <a:gd name="connsiteY2" fmla="*/ 315903 h 315903"/>
                <a:gd name="connsiteX3" fmla="*/ 35915 w 145978"/>
                <a:gd name="connsiteY3" fmla="*/ 250053 h 315903"/>
                <a:gd name="connsiteX4" fmla="*/ 35915 w 145978"/>
                <a:gd name="connsiteY4" fmla="*/ 121577 h 315903"/>
                <a:gd name="connsiteX5" fmla="*/ 0 w 145978"/>
                <a:gd name="connsiteY5" fmla="*/ 121577 h 315903"/>
                <a:gd name="connsiteX6" fmla="*/ 0 w 145978"/>
                <a:gd name="connsiteY6" fmla="*/ 75991 h 315903"/>
                <a:gd name="connsiteX7" fmla="*/ 35454 w 145978"/>
                <a:gd name="connsiteY7" fmla="*/ 75991 h 315903"/>
                <a:gd name="connsiteX8" fmla="*/ 35454 w 145978"/>
                <a:gd name="connsiteY8" fmla="*/ 11983 h 315903"/>
                <a:gd name="connsiteX9" fmla="*/ 90252 w 145978"/>
                <a:gd name="connsiteY9" fmla="*/ 0 h 315903"/>
                <a:gd name="connsiteX10" fmla="*/ 90252 w 145978"/>
                <a:gd name="connsiteY10" fmla="*/ 75982 h 315903"/>
                <a:gd name="connsiteX11" fmla="*/ 145969 w 145978"/>
                <a:gd name="connsiteY11" fmla="*/ 75982 h 315903"/>
                <a:gd name="connsiteX12" fmla="*/ 145969 w 145978"/>
                <a:gd name="connsiteY12" fmla="*/ 121568 h 315903"/>
                <a:gd name="connsiteX13" fmla="*/ 90252 w 145978"/>
                <a:gd name="connsiteY13" fmla="*/ 121568 h 315903"/>
                <a:gd name="connsiteX14" fmla="*/ 90252 w 145978"/>
                <a:gd name="connsiteY14" fmla="*/ 237149 h 315903"/>
                <a:gd name="connsiteX15" fmla="*/ 115573 w 145978"/>
                <a:gd name="connsiteY15" fmla="*/ 268006 h 315903"/>
                <a:gd name="connsiteX16" fmla="*/ 145978 w 145978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8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4" y="312680"/>
                    <a:pt x="116042" y="315903"/>
                    <a:pt x="99923" y="315903"/>
                  </a:cubicBezTo>
                  <a:cubicBezTo>
                    <a:pt x="58481" y="315903"/>
                    <a:pt x="35915" y="292876"/>
                    <a:pt x="35915" y="250053"/>
                  </a:cubicBezTo>
                  <a:lnTo>
                    <a:pt x="35915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2" y="0"/>
                  </a:lnTo>
                  <a:lnTo>
                    <a:pt x="90252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2" y="121568"/>
                  </a:lnTo>
                  <a:lnTo>
                    <a:pt x="90252" y="237149"/>
                  </a:lnTo>
                  <a:cubicBezTo>
                    <a:pt x="90252" y="258795"/>
                    <a:pt x="97620" y="268006"/>
                    <a:pt x="115573" y="268006"/>
                  </a:cubicBezTo>
                  <a:cubicBezTo>
                    <a:pt x="125714" y="268015"/>
                    <a:pt x="136758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6" name="Freihandform: Form 265">
              <a:extLst>
                <a:ext uri="{FF2B5EF4-FFF2-40B4-BE49-F238E27FC236}">
                  <a16:creationId xmlns:a16="http://schemas.microsoft.com/office/drawing/2014/main" id="{59DBD287-68CC-4F3F-90AB-A995B27E5A9B}"/>
                </a:ext>
              </a:extLst>
            </p:cNvPr>
            <p:cNvSpPr/>
            <p:nvPr/>
          </p:nvSpPr>
          <p:spPr>
            <a:xfrm>
              <a:off x="9017185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7" name="Freihandform: Form 266">
              <a:extLst>
                <a:ext uri="{FF2B5EF4-FFF2-40B4-BE49-F238E27FC236}">
                  <a16:creationId xmlns:a16="http://schemas.microsoft.com/office/drawing/2014/main" id="{B6287DF6-CA02-4DE1-AD71-4BF62EBE6396}"/>
                </a:ext>
              </a:extLst>
            </p:cNvPr>
            <p:cNvSpPr/>
            <p:nvPr/>
          </p:nvSpPr>
          <p:spPr>
            <a:xfrm>
              <a:off x="9240728" y="2616208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8" name="Freihandform: Form 267">
              <a:extLst>
                <a:ext uri="{FF2B5EF4-FFF2-40B4-BE49-F238E27FC236}">
                  <a16:creationId xmlns:a16="http://schemas.microsoft.com/office/drawing/2014/main" id="{A455995B-FF19-4248-94F5-EA453F5182BC}"/>
                </a:ext>
              </a:extLst>
            </p:cNvPr>
            <p:cNvSpPr/>
            <p:nvPr/>
          </p:nvSpPr>
          <p:spPr>
            <a:xfrm>
              <a:off x="9550208" y="2551739"/>
              <a:ext cx="201686" cy="239921"/>
            </a:xfrm>
            <a:custGeom>
              <a:avLst/>
              <a:gdLst>
                <a:gd name="connsiteX0" fmla="*/ 54797 w 201686"/>
                <a:gd name="connsiteY0" fmla="*/ 140911 h 239921"/>
                <a:gd name="connsiteX1" fmla="*/ 101304 w 201686"/>
                <a:gd name="connsiteY1" fmla="*/ 190182 h 239921"/>
                <a:gd name="connsiteX2" fmla="*/ 146890 w 201686"/>
                <a:gd name="connsiteY2" fmla="*/ 140451 h 239921"/>
                <a:gd name="connsiteX3" fmla="*/ 146890 w 201686"/>
                <a:gd name="connsiteY3" fmla="*/ 8 h 239921"/>
                <a:gd name="connsiteX4" fmla="*/ 201687 w 201686"/>
                <a:gd name="connsiteY4" fmla="*/ 8 h 239921"/>
                <a:gd name="connsiteX5" fmla="*/ 201687 w 201686"/>
                <a:gd name="connsiteY5" fmla="*/ 142301 h 239921"/>
                <a:gd name="connsiteX6" fmla="*/ 102685 w 201686"/>
                <a:gd name="connsiteY6" fmla="*/ 239921 h 239921"/>
                <a:gd name="connsiteX7" fmla="*/ 0 w 201686"/>
                <a:gd name="connsiteY7" fmla="*/ 142754 h 239921"/>
                <a:gd name="connsiteX8" fmla="*/ 0 w 201686"/>
                <a:gd name="connsiteY8" fmla="*/ 0 h 239921"/>
                <a:gd name="connsiteX9" fmla="*/ 54797 w 201686"/>
                <a:gd name="connsiteY9" fmla="*/ 0 h 239921"/>
                <a:gd name="connsiteX10" fmla="*/ 54797 w 201686"/>
                <a:gd name="connsiteY10" fmla="*/ 140911 h 23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1686" h="239921">
                  <a:moveTo>
                    <a:pt x="54797" y="140911"/>
                  </a:moveTo>
                  <a:cubicBezTo>
                    <a:pt x="54797" y="173141"/>
                    <a:pt x="70916" y="190182"/>
                    <a:pt x="101304" y="190182"/>
                  </a:cubicBezTo>
                  <a:cubicBezTo>
                    <a:pt x="131240" y="190182"/>
                    <a:pt x="146890" y="173610"/>
                    <a:pt x="146890" y="140451"/>
                  </a:cubicBezTo>
                  <a:lnTo>
                    <a:pt x="146890" y="8"/>
                  </a:lnTo>
                  <a:lnTo>
                    <a:pt x="201687" y="8"/>
                  </a:lnTo>
                  <a:lnTo>
                    <a:pt x="201687" y="142301"/>
                  </a:lnTo>
                  <a:cubicBezTo>
                    <a:pt x="201687" y="203998"/>
                    <a:pt x="167155" y="239921"/>
                    <a:pt x="102685" y="239921"/>
                  </a:cubicBezTo>
                  <a:cubicBezTo>
                    <a:pt x="38678" y="239921"/>
                    <a:pt x="0" y="203998"/>
                    <a:pt x="0" y="142754"/>
                  </a:cubicBezTo>
                  <a:lnTo>
                    <a:pt x="0" y="0"/>
                  </a:lnTo>
                  <a:lnTo>
                    <a:pt x="54797" y="0"/>
                  </a:lnTo>
                  <a:lnTo>
                    <a:pt x="54797" y="14091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9" name="Freihandform: Form 268">
              <a:extLst>
                <a:ext uri="{FF2B5EF4-FFF2-40B4-BE49-F238E27FC236}">
                  <a16:creationId xmlns:a16="http://schemas.microsoft.com/office/drawing/2014/main" id="{2A24E77D-343F-423D-A124-23142B96164A}"/>
                </a:ext>
              </a:extLst>
            </p:cNvPr>
            <p:cNvSpPr/>
            <p:nvPr/>
          </p:nvSpPr>
          <p:spPr>
            <a:xfrm>
              <a:off x="9821371" y="2545760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89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0" name="Freihandform: Form 269">
              <a:extLst>
                <a:ext uri="{FF2B5EF4-FFF2-40B4-BE49-F238E27FC236}">
                  <a16:creationId xmlns:a16="http://schemas.microsoft.com/office/drawing/2014/main" id="{83AE92AB-068D-4D77-910A-C243DEA3B7D8}"/>
                </a:ext>
              </a:extLst>
            </p:cNvPr>
            <p:cNvSpPr/>
            <p:nvPr/>
          </p:nvSpPr>
          <p:spPr>
            <a:xfrm>
              <a:off x="10081021" y="2443527"/>
              <a:ext cx="219196" cy="348125"/>
            </a:xfrm>
            <a:custGeom>
              <a:avLst/>
              <a:gdLst>
                <a:gd name="connsiteX0" fmla="*/ 0 w 219196"/>
                <a:gd name="connsiteY0" fmla="*/ 224715 h 348125"/>
                <a:gd name="connsiteX1" fmla="*/ 95326 w 219196"/>
                <a:gd name="connsiteY1" fmla="*/ 102225 h 348125"/>
                <a:gd name="connsiteX2" fmla="*/ 163478 w 219196"/>
                <a:gd name="connsiteY2" fmla="*/ 133995 h 348125"/>
                <a:gd name="connsiteX3" fmla="*/ 164399 w 219196"/>
                <a:gd name="connsiteY3" fmla="*/ 133995 h 348125"/>
                <a:gd name="connsiteX4" fmla="*/ 164399 w 219196"/>
                <a:gd name="connsiteY4" fmla="*/ 13808 h 348125"/>
                <a:gd name="connsiteX5" fmla="*/ 219196 w 219196"/>
                <a:gd name="connsiteY5" fmla="*/ 0 h 348125"/>
                <a:gd name="connsiteX6" fmla="*/ 219196 w 219196"/>
                <a:gd name="connsiteY6" fmla="*/ 342598 h 348125"/>
                <a:gd name="connsiteX7" fmla="*/ 165781 w 219196"/>
                <a:gd name="connsiteY7" fmla="*/ 342598 h 348125"/>
                <a:gd name="connsiteX8" fmla="*/ 165781 w 219196"/>
                <a:gd name="connsiteY8" fmla="*/ 314965 h 348125"/>
                <a:gd name="connsiteX9" fmla="*/ 164860 w 219196"/>
                <a:gd name="connsiteY9" fmla="*/ 314965 h 348125"/>
                <a:gd name="connsiteX10" fmla="*/ 94405 w 219196"/>
                <a:gd name="connsiteY10" fmla="*/ 348125 h 348125"/>
                <a:gd name="connsiteX11" fmla="*/ 0 w 219196"/>
                <a:gd name="connsiteY11" fmla="*/ 224715 h 348125"/>
                <a:gd name="connsiteX12" fmla="*/ 54345 w 219196"/>
                <a:gd name="connsiteY12" fmla="*/ 224715 h 348125"/>
                <a:gd name="connsiteX13" fmla="*/ 108681 w 219196"/>
                <a:gd name="connsiteY13" fmla="*/ 299776 h 348125"/>
                <a:gd name="connsiteX14" fmla="*/ 164399 w 219196"/>
                <a:gd name="connsiteY14" fmla="*/ 268919 h 348125"/>
                <a:gd name="connsiteX15" fmla="*/ 164399 w 219196"/>
                <a:gd name="connsiteY15" fmla="*/ 183265 h 348125"/>
                <a:gd name="connsiteX16" fmla="*/ 108681 w 219196"/>
                <a:gd name="connsiteY16" fmla="*/ 151956 h 348125"/>
                <a:gd name="connsiteX17" fmla="*/ 54345 w 219196"/>
                <a:gd name="connsiteY17" fmla="*/ 224715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6" h="348125">
                  <a:moveTo>
                    <a:pt x="0" y="224715"/>
                  </a:moveTo>
                  <a:cubicBezTo>
                    <a:pt x="0" y="149193"/>
                    <a:pt x="38217" y="102225"/>
                    <a:pt x="95326" y="102225"/>
                  </a:cubicBezTo>
                  <a:cubicBezTo>
                    <a:pt x="124801" y="102225"/>
                    <a:pt x="147828" y="114652"/>
                    <a:pt x="163478" y="133995"/>
                  </a:cubicBezTo>
                  <a:lnTo>
                    <a:pt x="164399" y="133995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8"/>
                  </a:lnTo>
                  <a:lnTo>
                    <a:pt x="165781" y="342598"/>
                  </a:lnTo>
                  <a:lnTo>
                    <a:pt x="165781" y="314965"/>
                  </a:lnTo>
                  <a:lnTo>
                    <a:pt x="164860" y="314965"/>
                  </a:lnTo>
                  <a:cubicBezTo>
                    <a:pt x="147828" y="335690"/>
                    <a:pt x="123419" y="348125"/>
                    <a:pt x="94405" y="348125"/>
                  </a:cubicBezTo>
                  <a:cubicBezTo>
                    <a:pt x="38686" y="348125"/>
                    <a:pt x="0" y="300697"/>
                    <a:pt x="0" y="224715"/>
                  </a:cubicBezTo>
                  <a:close/>
                  <a:moveTo>
                    <a:pt x="54345" y="224715"/>
                  </a:moveTo>
                  <a:cubicBezTo>
                    <a:pt x="54345" y="272603"/>
                    <a:pt x="74148" y="299776"/>
                    <a:pt x="108681" y="299776"/>
                  </a:cubicBezTo>
                  <a:cubicBezTo>
                    <a:pt x="129867" y="299776"/>
                    <a:pt x="147359" y="289644"/>
                    <a:pt x="164399" y="268919"/>
                  </a:cubicBezTo>
                  <a:lnTo>
                    <a:pt x="164399" y="183265"/>
                  </a:lnTo>
                  <a:cubicBezTo>
                    <a:pt x="148740" y="162088"/>
                    <a:pt x="130780" y="151956"/>
                    <a:pt x="108681" y="151956"/>
                  </a:cubicBezTo>
                  <a:cubicBezTo>
                    <a:pt x="73227" y="151965"/>
                    <a:pt x="54345" y="177747"/>
                    <a:pt x="54345" y="22471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1" name="Freihandform: Form 270">
              <a:extLst>
                <a:ext uri="{FF2B5EF4-FFF2-40B4-BE49-F238E27FC236}">
                  <a16:creationId xmlns:a16="http://schemas.microsoft.com/office/drawing/2014/main" id="{71B3082D-B364-404C-8EE0-64D1F1F07577}"/>
                </a:ext>
              </a:extLst>
            </p:cNvPr>
            <p:cNvSpPr/>
            <p:nvPr/>
          </p:nvSpPr>
          <p:spPr>
            <a:xfrm>
              <a:off x="4011188" y="2963018"/>
              <a:ext cx="227478" cy="335246"/>
            </a:xfrm>
            <a:custGeom>
              <a:avLst/>
              <a:gdLst>
                <a:gd name="connsiteX0" fmla="*/ 36383 w 227478"/>
                <a:gd name="connsiteY0" fmla="*/ 245900 h 335246"/>
                <a:gd name="connsiteX1" fmla="*/ 116963 w 227478"/>
                <a:gd name="connsiteY1" fmla="*/ 282283 h 335246"/>
                <a:gd name="connsiteX2" fmla="*/ 169465 w 227478"/>
                <a:gd name="connsiteY2" fmla="*/ 241755 h 335246"/>
                <a:gd name="connsiteX3" fmla="*/ 10593 w 227478"/>
                <a:gd name="connsiteY3" fmla="*/ 93944 h 335246"/>
                <a:gd name="connsiteX4" fmla="*/ 120656 w 227478"/>
                <a:gd name="connsiteY4" fmla="*/ 0 h 335246"/>
                <a:gd name="connsiteX5" fmla="*/ 225183 w 227478"/>
                <a:gd name="connsiteY5" fmla="*/ 39147 h 335246"/>
                <a:gd name="connsiteX6" fmla="*/ 188800 w 227478"/>
                <a:gd name="connsiteY6" fmla="*/ 83812 h 335246"/>
                <a:gd name="connsiteX7" fmla="*/ 117884 w 227478"/>
                <a:gd name="connsiteY7" fmla="*/ 52503 h 335246"/>
                <a:gd name="connsiteX8" fmla="*/ 68613 w 227478"/>
                <a:gd name="connsiteY8" fmla="*/ 88886 h 335246"/>
                <a:gd name="connsiteX9" fmla="*/ 227478 w 227478"/>
                <a:gd name="connsiteY9" fmla="*/ 237158 h 335246"/>
                <a:gd name="connsiteX10" fmla="*/ 115590 w 227478"/>
                <a:gd name="connsiteY10" fmla="*/ 335246 h 335246"/>
                <a:gd name="connsiteX11" fmla="*/ 0 w 227478"/>
                <a:gd name="connsiteY11" fmla="*/ 290573 h 335246"/>
                <a:gd name="connsiteX12" fmla="*/ 36383 w 227478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78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63" y="282283"/>
                  </a:cubicBezTo>
                  <a:cubicBezTo>
                    <a:pt x="147359" y="282283"/>
                    <a:pt x="169465" y="265243"/>
                    <a:pt x="169465" y="241755"/>
                  </a:cubicBezTo>
                  <a:cubicBezTo>
                    <a:pt x="169465" y="179589"/>
                    <a:pt x="10593" y="198932"/>
                    <a:pt x="10593" y="93944"/>
                  </a:cubicBezTo>
                  <a:cubicBezTo>
                    <a:pt x="10593" y="38226"/>
                    <a:pt x="55726" y="0"/>
                    <a:pt x="120656" y="0"/>
                  </a:cubicBezTo>
                  <a:cubicBezTo>
                    <a:pt x="159333" y="0"/>
                    <a:pt x="195256" y="13356"/>
                    <a:pt x="225183" y="39147"/>
                  </a:cubicBezTo>
                  <a:lnTo>
                    <a:pt x="188800" y="83812"/>
                  </a:lnTo>
                  <a:cubicBezTo>
                    <a:pt x="165312" y="63087"/>
                    <a:pt x="141832" y="52503"/>
                    <a:pt x="117884" y="52503"/>
                  </a:cubicBezTo>
                  <a:cubicBezTo>
                    <a:pt x="89338" y="52503"/>
                    <a:pt x="68613" y="67692"/>
                    <a:pt x="68613" y="88886"/>
                  </a:cubicBezTo>
                  <a:cubicBezTo>
                    <a:pt x="68613" y="147359"/>
                    <a:pt x="227478" y="128024"/>
                    <a:pt x="227478" y="237158"/>
                  </a:cubicBezTo>
                  <a:cubicBezTo>
                    <a:pt x="227478" y="295639"/>
                    <a:pt x="182352" y="335246"/>
                    <a:pt x="115590" y="335246"/>
                  </a:cubicBezTo>
                  <a:cubicBezTo>
                    <a:pt x="72758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2" name="Freihandform: Form 271">
              <a:extLst>
                <a:ext uri="{FF2B5EF4-FFF2-40B4-BE49-F238E27FC236}">
                  <a16:creationId xmlns:a16="http://schemas.microsoft.com/office/drawing/2014/main" id="{91760FEA-4737-4183-8A29-75C45D9B69AB}"/>
                </a:ext>
              </a:extLst>
            </p:cNvPr>
            <p:cNvSpPr/>
            <p:nvPr/>
          </p:nvSpPr>
          <p:spPr>
            <a:xfrm>
              <a:off x="4287334" y="3052356"/>
              <a:ext cx="225644" cy="245908"/>
            </a:xfrm>
            <a:custGeom>
              <a:avLst/>
              <a:gdLst>
                <a:gd name="connsiteX0" fmla="*/ 0 w 225644"/>
                <a:gd name="connsiteY0" fmla="*/ 122950 h 245908"/>
                <a:gd name="connsiteX1" fmla="*/ 113748 w 225644"/>
                <a:gd name="connsiteY1" fmla="*/ 0 h 245908"/>
                <a:gd name="connsiteX2" fmla="*/ 225644 w 225644"/>
                <a:gd name="connsiteY2" fmla="*/ 122950 h 245908"/>
                <a:gd name="connsiteX3" fmla="*/ 113748 w 225644"/>
                <a:gd name="connsiteY3" fmla="*/ 245908 h 245908"/>
                <a:gd name="connsiteX4" fmla="*/ 0 w 225644"/>
                <a:gd name="connsiteY4" fmla="*/ 122950 h 245908"/>
                <a:gd name="connsiteX5" fmla="*/ 171308 w 225644"/>
                <a:gd name="connsiteY5" fmla="*/ 123410 h 245908"/>
                <a:gd name="connsiteX6" fmla="*/ 112826 w 225644"/>
                <a:gd name="connsiteY6" fmla="*/ 49731 h 245908"/>
                <a:gd name="connsiteX7" fmla="*/ 54345 w 225644"/>
                <a:gd name="connsiteY7" fmla="*/ 122481 h 245908"/>
                <a:gd name="connsiteX8" fmla="*/ 113287 w 225644"/>
                <a:gd name="connsiteY8" fmla="*/ 196621 h 245908"/>
                <a:gd name="connsiteX9" fmla="*/ 171308 w 225644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44" h="245908">
                  <a:moveTo>
                    <a:pt x="0" y="122950"/>
                  </a:moveTo>
                  <a:cubicBezTo>
                    <a:pt x="0" y="49270"/>
                    <a:pt x="45586" y="0"/>
                    <a:pt x="113748" y="0"/>
                  </a:cubicBezTo>
                  <a:cubicBezTo>
                    <a:pt x="181440" y="0"/>
                    <a:pt x="225644" y="48349"/>
                    <a:pt x="225644" y="122950"/>
                  </a:cubicBezTo>
                  <a:cubicBezTo>
                    <a:pt x="225644" y="196629"/>
                    <a:pt x="181892" y="245908"/>
                    <a:pt x="113748" y="245908"/>
                  </a:cubicBezTo>
                  <a:cubicBezTo>
                    <a:pt x="46055" y="245900"/>
                    <a:pt x="0" y="197090"/>
                    <a:pt x="0" y="122950"/>
                  </a:cubicBezTo>
                  <a:close/>
                  <a:moveTo>
                    <a:pt x="171308" y="123410"/>
                  </a:moveTo>
                  <a:cubicBezTo>
                    <a:pt x="171308" y="77824"/>
                    <a:pt x="148741" y="49731"/>
                    <a:pt x="112826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12" y="196621"/>
                    <a:pt x="113287" y="196621"/>
                  </a:cubicBezTo>
                  <a:cubicBezTo>
                    <a:pt x="149202" y="196629"/>
                    <a:pt x="171308" y="168536"/>
                    <a:pt x="171308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3" name="Freihandform: Form 272">
              <a:extLst>
                <a:ext uri="{FF2B5EF4-FFF2-40B4-BE49-F238E27FC236}">
                  <a16:creationId xmlns:a16="http://schemas.microsoft.com/office/drawing/2014/main" id="{24BA7877-7B7C-4C99-A7FB-8D50CD60EB59}"/>
                </a:ext>
              </a:extLst>
            </p:cNvPr>
            <p:cNvSpPr/>
            <p:nvPr/>
          </p:nvSpPr>
          <p:spPr>
            <a:xfrm>
              <a:off x="4551790" y="3058352"/>
              <a:ext cx="185115" cy="234377"/>
            </a:xfrm>
            <a:custGeom>
              <a:avLst/>
              <a:gdLst>
                <a:gd name="connsiteX0" fmla="*/ 185108 w 185115"/>
                <a:gd name="connsiteY0" fmla="*/ 234378 h 234377"/>
                <a:gd name="connsiteX1" fmla="*/ 0 w 185115"/>
                <a:gd name="connsiteY1" fmla="*/ 234378 h 234377"/>
                <a:gd name="connsiteX2" fmla="*/ 0 w 185115"/>
                <a:gd name="connsiteY2" fmla="*/ 187410 h 234377"/>
                <a:gd name="connsiteX3" fmla="*/ 116963 w 185115"/>
                <a:gd name="connsiteY3" fmla="*/ 46968 h 234377"/>
                <a:gd name="connsiteX4" fmla="*/ 6900 w 185115"/>
                <a:gd name="connsiteY4" fmla="*/ 46968 h 234377"/>
                <a:gd name="connsiteX5" fmla="*/ 6900 w 185115"/>
                <a:gd name="connsiteY5" fmla="*/ 0 h 234377"/>
                <a:gd name="connsiteX6" fmla="*/ 183274 w 185115"/>
                <a:gd name="connsiteY6" fmla="*/ 0 h 234377"/>
                <a:gd name="connsiteX7" fmla="*/ 183274 w 185115"/>
                <a:gd name="connsiteY7" fmla="*/ 46968 h 234377"/>
                <a:gd name="connsiteX8" fmla="*/ 65850 w 185115"/>
                <a:gd name="connsiteY8" fmla="*/ 187410 h 234377"/>
                <a:gd name="connsiteX9" fmla="*/ 185116 w 185115"/>
                <a:gd name="connsiteY9" fmla="*/ 187410 h 234377"/>
                <a:gd name="connsiteX10" fmla="*/ 185116 w 185115"/>
                <a:gd name="connsiteY10" fmla="*/ 234378 h 2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5115" h="234377">
                  <a:moveTo>
                    <a:pt x="185108" y="234378"/>
                  </a:moveTo>
                  <a:lnTo>
                    <a:pt x="0" y="234378"/>
                  </a:lnTo>
                  <a:lnTo>
                    <a:pt x="0" y="187410"/>
                  </a:lnTo>
                  <a:lnTo>
                    <a:pt x="116963" y="46968"/>
                  </a:lnTo>
                  <a:lnTo>
                    <a:pt x="6900" y="46968"/>
                  </a:lnTo>
                  <a:lnTo>
                    <a:pt x="6900" y="0"/>
                  </a:lnTo>
                  <a:lnTo>
                    <a:pt x="183274" y="0"/>
                  </a:lnTo>
                  <a:lnTo>
                    <a:pt x="183274" y="46968"/>
                  </a:lnTo>
                  <a:lnTo>
                    <a:pt x="65850" y="187410"/>
                  </a:lnTo>
                  <a:lnTo>
                    <a:pt x="185116" y="187410"/>
                  </a:lnTo>
                  <a:lnTo>
                    <a:pt x="185116" y="23437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4" name="Freihandform: Form 273">
              <a:extLst>
                <a:ext uri="{FF2B5EF4-FFF2-40B4-BE49-F238E27FC236}">
                  <a16:creationId xmlns:a16="http://schemas.microsoft.com/office/drawing/2014/main" id="{CB08555D-77C4-4E49-9021-BEE8D3903ACB}"/>
                </a:ext>
              </a:extLst>
            </p:cNvPr>
            <p:cNvSpPr/>
            <p:nvPr/>
          </p:nvSpPr>
          <p:spPr>
            <a:xfrm>
              <a:off x="478624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84" y="66311"/>
                    <a:pt x="34533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33" y="0"/>
                  </a:cubicBezTo>
                  <a:cubicBezTo>
                    <a:pt x="53884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5" name="Freihandform: Form 274">
              <a:extLst>
                <a:ext uri="{FF2B5EF4-FFF2-40B4-BE49-F238E27FC236}">
                  <a16:creationId xmlns:a16="http://schemas.microsoft.com/office/drawing/2014/main" id="{B95A74DD-3BCD-4CB1-9EC7-F904CAEFCB5B}"/>
                </a:ext>
              </a:extLst>
            </p:cNvPr>
            <p:cNvSpPr/>
            <p:nvPr/>
          </p:nvSpPr>
          <p:spPr>
            <a:xfrm>
              <a:off x="4904378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503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6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36" y="204919"/>
                    <a:pt x="129850" y="195248"/>
                    <a:pt x="145048" y="176834"/>
                  </a:cubicBezTo>
                  <a:lnTo>
                    <a:pt x="145048" y="135845"/>
                  </a:lnTo>
                  <a:cubicBezTo>
                    <a:pt x="132161" y="132621"/>
                    <a:pt x="118805" y="131240"/>
                    <a:pt x="106831" y="131240"/>
                  </a:cubicBezTo>
                  <a:cubicBezTo>
                    <a:pt x="72298" y="131240"/>
                    <a:pt x="52503" y="145048"/>
                    <a:pt x="52503" y="169918"/>
                  </a:cubicBezTo>
                  <a:cubicBezTo>
                    <a:pt x="52494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6" name="Freihandform: Form 275">
              <a:extLst>
                <a:ext uri="{FF2B5EF4-FFF2-40B4-BE49-F238E27FC236}">
                  <a16:creationId xmlns:a16="http://schemas.microsoft.com/office/drawing/2014/main" id="{B756A931-26C4-46F3-AF51-F75487DE5C6F}"/>
                </a:ext>
              </a:extLst>
            </p:cNvPr>
            <p:cNvSpPr/>
            <p:nvPr/>
          </p:nvSpPr>
          <p:spPr>
            <a:xfrm>
              <a:off x="5173423" y="2950592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7" name="Freihandform: Form 276">
              <a:extLst>
                <a:ext uri="{FF2B5EF4-FFF2-40B4-BE49-F238E27FC236}">
                  <a16:creationId xmlns:a16="http://schemas.microsoft.com/office/drawing/2014/main" id="{7EE99256-843E-4966-A958-37FF836D7C17}"/>
                </a:ext>
              </a:extLst>
            </p:cNvPr>
            <p:cNvSpPr/>
            <p:nvPr/>
          </p:nvSpPr>
          <p:spPr>
            <a:xfrm>
              <a:off x="5275974" y="3058344"/>
              <a:ext cx="330180" cy="234386"/>
            </a:xfrm>
            <a:custGeom>
              <a:avLst/>
              <a:gdLst>
                <a:gd name="connsiteX0" fmla="*/ 330180 w 330180"/>
                <a:gd name="connsiteY0" fmla="*/ 0 h 234386"/>
                <a:gd name="connsiteX1" fmla="*/ 260646 w 330180"/>
                <a:gd name="connsiteY1" fmla="*/ 234386 h 234386"/>
                <a:gd name="connsiteX2" fmla="*/ 208143 w 330180"/>
                <a:gd name="connsiteY2" fmla="*/ 234386 h 234386"/>
                <a:gd name="connsiteX3" fmla="*/ 165320 w 330180"/>
                <a:gd name="connsiteY3" fmla="*/ 72298 h 234386"/>
                <a:gd name="connsiteX4" fmla="*/ 164408 w 330180"/>
                <a:gd name="connsiteY4" fmla="*/ 72298 h 234386"/>
                <a:gd name="connsiteX5" fmla="*/ 122037 w 330180"/>
                <a:gd name="connsiteY5" fmla="*/ 234386 h 234386"/>
                <a:gd name="connsiteX6" fmla="*/ 69535 w 330180"/>
                <a:gd name="connsiteY6" fmla="*/ 234386 h 234386"/>
                <a:gd name="connsiteX7" fmla="*/ 0 w 330180"/>
                <a:gd name="connsiteY7" fmla="*/ 0 h 234386"/>
                <a:gd name="connsiteX8" fmla="*/ 57560 w 330180"/>
                <a:gd name="connsiteY8" fmla="*/ 0 h 234386"/>
                <a:gd name="connsiteX9" fmla="*/ 98089 w 330180"/>
                <a:gd name="connsiteY9" fmla="*/ 157943 h 234386"/>
                <a:gd name="connsiteX10" fmla="*/ 99001 w 330180"/>
                <a:gd name="connsiteY10" fmla="*/ 157943 h 234386"/>
                <a:gd name="connsiteX11" fmla="*/ 140451 w 330180"/>
                <a:gd name="connsiteY11" fmla="*/ 0 h 234386"/>
                <a:gd name="connsiteX12" fmla="*/ 190642 w 330180"/>
                <a:gd name="connsiteY12" fmla="*/ 0 h 234386"/>
                <a:gd name="connsiteX13" fmla="*/ 233465 w 330180"/>
                <a:gd name="connsiteY13" fmla="*/ 157943 h 234386"/>
                <a:gd name="connsiteX14" fmla="*/ 234378 w 330180"/>
                <a:gd name="connsiteY14" fmla="*/ 157943 h 234386"/>
                <a:gd name="connsiteX15" fmla="*/ 273524 w 330180"/>
                <a:gd name="connsiteY15" fmla="*/ 0 h 234386"/>
                <a:gd name="connsiteX16" fmla="*/ 330180 w 330180"/>
                <a:gd name="connsiteY16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180" h="234386">
                  <a:moveTo>
                    <a:pt x="330180" y="0"/>
                  </a:moveTo>
                  <a:lnTo>
                    <a:pt x="260646" y="234386"/>
                  </a:lnTo>
                  <a:lnTo>
                    <a:pt x="208143" y="234386"/>
                  </a:lnTo>
                  <a:lnTo>
                    <a:pt x="165320" y="72298"/>
                  </a:lnTo>
                  <a:lnTo>
                    <a:pt x="164408" y="72298"/>
                  </a:lnTo>
                  <a:lnTo>
                    <a:pt x="122037" y="234386"/>
                  </a:lnTo>
                  <a:lnTo>
                    <a:pt x="69535" y="234386"/>
                  </a:lnTo>
                  <a:lnTo>
                    <a:pt x="0" y="0"/>
                  </a:lnTo>
                  <a:lnTo>
                    <a:pt x="57560" y="0"/>
                  </a:lnTo>
                  <a:lnTo>
                    <a:pt x="98089" y="157943"/>
                  </a:lnTo>
                  <a:lnTo>
                    <a:pt x="99001" y="157943"/>
                  </a:lnTo>
                  <a:lnTo>
                    <a:pt x="140451" y="0"/>
                  </a:lnTo>
                  <a:lnTo>
                    <a:pt x="190642" y="0"/>
                  </a:lnTo>
                  <a:lnTo>
                    <a:pt x="233465" y="157943"/>
                  </a:lnTo>
                  <a:lnTo>
                    <a:pt x="234378" y="157943"/>
                  </a:lnTo>
                  <a:lnTo>
                    <a:pt x="273524" y="0"/>
                  </a:lnTo>
                  <a:lnTo>
                    <a:pt x="33018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8" name="Freihandform: Form 277">
              <a:extLst>
                <a:ext uri="{FF2B5EF4-FFF2-40B4-BE49-F238E27FC236}">
                  <a16:creationId xmlns:a16="http://schemas.microsoft.com/office/drawing/2014/main" id="{C1566263-06A3-4DAE-81C0-6CD38991B895}"/>
                </a:ext>
              </a:extLst>
            </p:cNvPr>
            <p:cNvSpPr/>
            <p:nvPr/>
          </p:nvSpPr>
          <p:spPr>
            <a:xfrm>
              <a:off x="5647320" y="2954268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9" name="Freihandform: Form 278">
              <a:extLst>
                <a:ext uri="{FF2B5EF4-FFF2-40B4-BE49-F238E27FC236}">
                  <a16:creationId xmlns:a16="http://schemas.microsoft.com/office/drawing/2014/main" id="{C35799A7-8D8C-4526-BFD3-2B76F61338E3}"/>
                </a:ext>
              </a:extLst>
            </p:cNvPr>
            <p:cNvSpPr/>
            <p:nvPr/>
          </p:nvSpPr>
          <p:spPr>
            <a:xfrm>
              <a:off x="5759802" y="3052356"/>
              <a:ext cx="180502" cy="245891"/>
            </a:xfrm>
            <a:custGeom>
              <a:avLst/>
              <a:gdLst>
                <a:gd name="connsiteX0" fmla="*/ 26235 w 180502"/>
                <a:gd name="connsiteY0" fmla="*/ 174063 h 245891"/>
                <a:gd name="connsiteX1" fmla="*/ 92545 w 180502"/>
                <a:gd name="connsiteY1" fmla="*/ 200314 h 245891"/>
                <a:gd name="connsiteX2" fmla="*/ 127078 w 180502"/>
                <a:gd name="connsiteY2" fmla="*/ 176826 h 245891"/>
                <a:gd name="connsiteX3" fmla="*/ 9655 w 180502"/>
                <a:gd name="connsiteY3" fmla="*/ 72750 h 245891"/>
                <a:gd name="connsiteX4" fmla="*/ 98072 w 180502"/>
                <a:gd name="connsiteY4" fmla="*/ 0 h 245891"/>
                <a:gd name="connsiteX5" fmla="*/ 179120 w 180502"/>
                <a:gd name="connsiteY5" fmla="*/ 24401 h 245891"/>
                <a:gd name="connsiteX6" fmla="*/ 153338 w 180502"/>
                <a:gd name="connsiteY6" fmla="*/ 67223 h 245891"/>
                <a:gd name="connsiteX7" fmla="*/ 97159 w 180502"/>
                <a:gd name="connsiteY7" fmla="*/ 46499 h 245891"/>
                <a:gd name="connsiteX8" fmla="*/ 63539 w 180502"/>
                <a:gd name="connsiteY8" fmla="*/ 68145 h 245891"/>
                <a:gd name="connsiteX9" fmla="*/ 180502 w 180502"/>
                <a:gd name="connsiteY9" fmla="*/ 171751 h 245891"/>
                <a:gd name="connsiteX10" fmla="*/ 90251 w 180502"/>
                <a:gd name="connsiteY10" fmla="*/ 245891 h 245891"/>
                <a:gd name="connsiteX11" fmla="*/ 0 w 180502"/>
                <a:gd name="connsiteY11" fmla="*/ 217337 h 245891"/>
                <a:gd name="connsiteX12" fmla="*/ 26235 w 180502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02" h="245891">
                  <a:moveTo>
                    <a:pt x="26235" y="174063"/>
                  </a:moveTo>
                  <a:cubicBezTo>
                    <a:pt x="49254" y="191563"/>
                    <a:pt x="71821" y="200314"/>
                    <a:pt x="92545" y="200314"/>
                  </a:cubicBezTo>
                  <a:cubicBezTo>
                    <a:pt x="112801" y="200314"/>
                    <a:pt x="127078" y="191103"/>
                    <a:pt x="127078" y="176826"/>
                  </a:cubicBezTo>
                  <a:cubicBezTo>
                    <a:pt x="127078" y="136766"/>
                    <a:pt x="9655" y="151035"/>
                    <a:pt x="9655" y="72750"/>
                  </a:cubicBezTo>
                  <a:cubicBezTo>
                    <a:pt x="9655" y="29467"/>
                    <a:pt x="45578" y="0"/>
                    <a:pt x="98072" y="0"/>
                  </a:cubicBezTo>
                  <a:cubicBezTo>
                    <a:pt x="126166" y="0"/>
                    <a:pt x="154259" y="8282"/>
                    <a:pt x="179120" y="24401"/>
                  </a:cubicBezTo>
                  <a:lnTo>
                    <a:pt x="153338" y="67223"/>
                  </a:lnTo>
                  <a:cubicBezTo>
                    <a:pt x="133074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02" y="93014"/>
                    <a:pt x="180502" y="171751"/>
                  </a:cubicBezTo>
                  <a:cubicBezTo>
                    <a:pt x="180502" y="215956"/>
                    <a:pt x="144127" y="245891"/>
                    <a:pt x="90251" y="245891"/>
                  </a:cubicBezTo>
                  <a:cubicBezTo>
                    <a:pt x="58942" y="245891"/>
                    <a:pt x="27164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0" name="Freihandform: Form 279">
              <a:extLst>
                <a:ext uri="{FF2B5EF4-FFF2-40B4-BE49-F238E27FC236}">
                  <a16:creationId xmlns:a16="http://schemas.microsoft.com/office/drawing/2014/main" id="{A3C8438E-2478-4F49-9168-B8953F43F7B6}"/>
                </a:ext>
              </a:extLst>
            </p:cNvPr>
            <p:cNvSpPr/>
            <p:nvPr/>
          </p:nvSpPr>
          <p:spPr>
            <a:xfrm>
              <a:off x="597652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87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47 w 180510"/>
                <a:gd name="connsiteY8" fmla="*/ 68145 h 245891"/>
                <a:gd name="connsiteX9" fmla="*/ 180510 w 180510"/>
                <a:gd name="connsiteY9" fmla="*/ 171751 h 245891"/>
                <a:gd name="connsiteX10" fmla="*/ 90259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1" y="200314"/>
                    <a:pt x="92545" y="200314"/>
                  </a:cubicBezTo>
                  <a:cubicBezTo>
                    <a:pt x="112809" y="200314"/>
                    <a:pt x="127087" y="191103"/>
                    <a:pt x="127087" y="176826"/>
                  </a:cubicBezTo>
                  <a:cubicBezTo>
                    <a:pt x="127087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2" y="53415"/>
                    <a:pt x="115129" y="46499"/>
                    <a:pt x="97159" y="46499"/>
                  </a:cubicBezTo>
                  <a:cubicBezTo>
                    <a:pt x="76904" y="46499"/>
                    <a:pt x="63547" y="55249"/>
                    <a:pt x="63547" y="68145"/>
                  </a:cubicBezTo>
                  <a:cubicBezTo>
                    <a:pt x="63547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9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1" name="Freihandform: Form 280">
              <a:extLst>
                <a:ext uri="{FF2B5EF4-FFF2-40B4-BE49-F238E27FC236}">
                  <a16:creationId xmlns:a16="http://schemas.microsoft.com/office/drawing/2014/main" id="{79FA65E8-3B49-486C-BBA8-7D5BFAF50194}"/>
                </a:ext>
              </a:extLst>
            </p:cNvPr>
            <p:cNvSpPr/>
            <p:nvPr/>
          </p:nvSpPr>
          <p:spPr>
            <a:xfrm>
              <a:off x="6201863" y="3052356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5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7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4" y="207214"/>
                  </a:lnTo>
                  <a:cubicBezTo>
                    <a:pt x="181432" y="233465"/>
                    <a:pt x="151496" y="245900"/>
                    <a:pt x="116034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5" y="65850"/>
                    <a:pt x="139990" y="45125"/>
                    <a:pt x="109134" y="45125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2" name="Freihandform: Form 281">
              <a:extLst>
                <a:ext uri="{FF2B5EF4-FFF2-40B4-BE49-F238E27FC236}">
                  <a16:creationId xmlns:a16="http://schemas.microsoft.com/office/drawing/2014/main" id="{C4A39B2C-6C0D-42F4-BC52-B3B451C480B1}"/>
                </a:ext>
              </a:extLst>
            </p:cNvPr>
            <p:cNvSpPr/>
            <p:nvPr/>
          </p:nvSpPr>
          <p:spPr>
            <a:xfrm>
              <a:off x="6475831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7 w 201695"/>
                <a:gd name="connsiteY4" fmla="*/ 105910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7" y="80579"/>
                    <a:pt x="54797" y="105910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3" name="Freihandform: Form 282">
              <a:extLst>
                <a:ext uri="{FF2B5EF4-FFF2-40B4-BE49-F238E27FC236}">
                  <a16:creationId xmlns:a16="http://schemas.microsoft.com/office/drawing/2014/main" id="{46BB5A8F-C21E-4D01-B431-807803FB5AD6}"/>
                </a:ext>
              </a:extLst>
            </p:cNvPr>
            <p:cNvSpPr/>
            <p:nvPr/>
          </p:nvSpPr>
          <p:spPr>
            <a:xfrm>
              <a:off x="672606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7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0" y="200314"/>
                    <a:pt x="92545" y="200314"/>
                  </a:cubicBezTo>
                  <a:cubicBezTo>
                    <a:pt x="112809" y="200314"/>
                    <a:pt x="127078" y="191103"/>
                    <a:pt x="127078" y="176826"/>
                  </a:cubicBezTo>
                  <a:cubicBezTo>
                    <a:pt x="127078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5" y="0"/>
                    <a:pt x="154259" y="8282"/>
                    <a:pt x="179128" y="24401"/>
                  </a:cubicBezTo>
                  <a:lnTo>
                    <a:pt x="153337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1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4" name="Freihandform: Form 283">
              <a:extLst>
                <a:ext uri="{FF2B5EF4-FFF2-40B4-BE49-F238E27FC236}">
                  <a16:creationId xmlns:a16="http://schemas.microsoft.com/office/drawing/2014/main" id="{E2B32CBE-81D4-4157-A204-C55B0BFC36FD}"/>
                </a:ext>
              </a:extLst>
            </p:cNvPr>
            <p:cNvSpPr/>
            <p:nvPr/>
          </p:nvSpPr>
          <p:spPr>
            <a:xfrm>
              <a:off x="6951395" y="3052365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8 w 197542"/>
                <a:gd name="connsiteY3" fmla="*/ 0 h 245899"/>
                <a:gd name="connsiteX4" fmla="*/ 197542 w 197542"/>
                <a:gd name="connsiteY4" fmla="*/ 40060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25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60"/>
                  </a:cubicBezTo>
                  <a:lnTo>
                    <a:pt x="159777" y="75974"/>
                  </a:lnTo>
                  <a:cubicBezTo>
                    <a:pt x="145969" y="58013"/>
                    <a:pt x="131231" y="50192"/>
                    <a:pt x="112809" y="50192"/>
                  </a:cubicBezTo>
                  <a:cubicBezTo>
                    <a:pt x="78276" y="50192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62" y="196161"/>
                    <a:pt x="145500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5" name="Freihandform: Form 284">
              <a:extLst>
                <a:ext uri="{FF2B5EF4-FFF2-40B4-BE49-F238E27FC236}">
                  <a16:creationId xmlns:a16="http://schemas.microsoft.com/office/drawing/2014/main" id="{11A2A934-6ABD-469C-A7DA-94052AA3ACD9}"/>
                </a:ext>
              </a:extLst>
            </p:cNvPr>
            <p:cNvSpPr/>
            <p:nvPr/>
          </p:nvSpPr>
          <p:spPr>
            <a:xfrm>
              <a:off x="7195938" y="2950140"/>
              <a:ext cx="201695" cy="342598"/>
            </a:xfrm>
            <a:custGeom>
              <a:avLst/>
              <a:gdLst>
                <a:gd name="connsiteX0" fmla="*/ 201695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7 h 342598"/>
                <a:gd name="connsiteX10" fmla="*/ 55718 w 201695"/>
                <a:gd name="connsiteY10" fmla="*/ 136297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5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7"/>
                  </a:lnTo>
                  <a:lnTo>
                    <a:pt x="55718" y="136297"/>
                  </a:lnTo>
                  <a:cubicBezTo>
                    <a:pt x="69074" y="115573"/>
                    <a:pt x="93483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6" name="Freihandform: Form 285">
              <a:extLst>
                <a:ext uri="{FF2B5EF4-FFF2-40B4-BE49-F238E27FC236}">
                  <a16:creationId xmlns:a16="http://schemas.microsoft.com/office/drawing/2014/main" id="{3BB1BD05-C8A4-4547-A1A7-DBF8092E1E72}"/>
                </a:ext>
              </a:extLst>
            </p:cNvPr>
            <p:cNvSpPr/>
            <p:nvPr/>
          </p:nvSpPr>
          <p:spPr>
            <a:xfrm>
              <a:off x="7451652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86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8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19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8" y="131240"/>
                    <a:pt x="106822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7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7" name="Freihandform: Form 286">
              <a:extLst>
                <a:ext uri="{FF2B5EF4-FFF2-40B4-BE49-F238E27FC236}">
                  <a16:creationId xmlns:a16="http://schemas.microsoft.com/office/drawing/2014/main" id="{0E2A3272-C104-4611-8721-06CADC35166A}"/>
                </a:ext>
              </a:extLst>
            </p:cNvPr>
            <p:cNvSpPr/>
            <p:nvPr/>
          </p:nvSpPr>
          <p:spPr>
            <a:xfrm>
              <a:off x="7694437" y="2946899"/>
              <a:ext cx="143674" cy="345830"/>
            </a:xfrm>
            <a:custGeom>
              <a:avLst/>
              <a:gdLst>
                <a:gd name="connsiteX0" fmla="*/ 143674 w 143674"/>
                <a:gd name="connsiteY0" fmla="*/ 51582 h 345830"/>
                <a:gd name="connsiteX1" fmla="*/ 119734 w 143674"/>
                <a:gd name="connsiteY1" fmla="*/ 46976 h 345830"/>
                <a:gd name="connsiteX2" fmla="*/ 90720 w 143674"/>
                <a:gd name="connsiteY2" fmla="*/ 79667 h 345830"/>
                <a:gd name="connsiteX3" fmla="*/ 90720 w 143674"/>
                <a:gd name="connsiteY3" fmla="*/ 111445 h 345830"/>
                <a:gd name="connsiteX4" fmla="*/ 137235 w 143674"/>
                <a:gd name="connsiteY4" fmla="*/ 111445 h 345830"/>
                <a:gd name="connsiteX5" fmla="*/ 137235 w 143674"/>
                <a:gd name="connsiteY5" fmla="*/ 157031 h 345830"/>
                <a:gd name="connsiteX6" fmla="*/ 91180 w 143674"/>
                <a:gd name="connsiteY6" fmla="*/ 157031 h 345830"/>
                <a:gd name="connsiteX7" fmla="*/ 91180 w 143674"/>
                <a:gd name="connsiteY7" fmla="*/ 345831 h 345830"/>
                <a:gd name="connsiteX8" fmla="*/ 36383 w 143674"/>
                <a:gd name="connsiteY8" fmla="*/ 345831 h 345830"/>
                <a:gd name="connsiteX9" fmla="*/ 36383 w 143674"/>
                <a:gd name="connsiteY9" fmla="*/ 157031 h 345830"/>
                <a:gd name="connsiteX10" fmla="*/ 0 w 143674"/>
                <a:gd name="connsiteY10" fmla="*/ 157031 h 345830"/>
                <a:gd name="connsiteX11" fmla="*/ 0 w 143674"/>
                <a:gd name="connsiteY11" fmla="*/ 111445 h 345830"/>
                <a:gd name="connsiteX12" fmla="*/ 36383 w 143674"/>
                <a:gd name="connsiteY12" fmla="*/ 111445 h 345830"/>
                <a:gd name="connsiteX13" fmla="*/ 36383 w 143674"/>
                <a:gd name="connsiteY13" fmla="*/ 77825 h 345830"/>
                <a:gd name="connsiteX14" fmla="*/ 110983 w 143674"/>
                <a:gd name="connsiteY14" fmla="*/ 0 h 345830"/>
                <a:gd name="connsiteX15" fmla="*/ 143674 w 143674"/>
                <a:gd name="connsiteY15" fmla="*/ 5066 h 345830"/>
                <a:gd name="connsiteX16" fmla="*/ 143674 w 143674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74" h="345830">
                  <a:moveTo>
                    <a:pt x="143674" y="51582"/>
                  </a:moveTo>
                  <a:cubicBezTo>
                    <a:pt x="136306" y="48358"/>
                    <a:pt x="127555" y="46976"/>
                    <a:pt x="119734" y="46976"/>
                  </a:cubicBezTo>
                  <a:cubicBezTo>
                    <a:pt x="99010" y="46976"/>
                    <a:pt x="90720" y="57569"/>
                    <a:pt x="90720" y="79667"/>
                  </a:cubicBezTo>
                  <a:lnTo>
                    <a:pt x="90720" y="111445"/>
                  </a:lnTo>
                  <a:lnTo>
                    <a:pt x="137235" y="111445"/>
                  </a:lnTo>
                  <a:lnTo>
                    <a:pt x="137235" y="157031"/>
                  </a:lnTo>
                  <a:lnTo>
                    <a:pt x="91180" y="157031"/>
                  </a:lnTo>
                  <a:lnTo>
                    <a:pt x="91180" y="345831"/>
                  </a:lnTo>
                  <a:lnTo>
                    <a:pt x="36383" y="345831"/>
                  </a:lnTo>
                  <a:lnTo>
                    <a:pt x="36383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83" y="111445"/>
                  </a:lnTo>
                  <a:lnTo>
                    <a:pt x="36383" y="77825"/>
                  </a:lnTo>
                  <a:cubicBezTo>
                    <a:pt x="36383" y="29015"/>
                    <a:pt x="58490" y="0"/>
                    <a:pt x="110983" y="0"/>
                  </a:cubicBezTo>
                  <a:cubicBezTo>
                    <a:pt x="122958" y="0"/>
                    <a:pt x="134472" y="1382"/>
                    <a:pt x="143674" y="5066"/>
                  </a:cubicBezTo>
                  <a:lnTo>
                    <a:pt x="143674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8" name="Freihandform: Form 287">
              <a:extLst>
                <a:ext uri="{FF2B5EF4-FFF2-40B4-BE49-F238E27FC236}">
                  <a16:creationId xmlns:a16="http://schemas.microsoft.com/office/drawing/2014/main" id="{58991AAA-2773-4AF3-A0C0-BCBBC8236D08}"/>
                </a:ext>
              </a:extLst>
            </p:cNvPr>
            <p:cNvSpPr/>
            <p:nvPr/>
          </p:nvSpPr>
          <p:spPr>
            <a:xfrm>
              <a:off x="7867277" y="2982353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9" name="Freihandform: Form 288">
              <a:extLst>
                <a:ext uri="{FF2B5EF4-FFF2-40B4-BE49-F238E27FC236}">
                  <a16:creationId xmlns:a16="http://schemas.microsoft.com/office/drawing/2014/main" id="{BE6DF724-2E49-4DC2-A0EC-8498D22EADAE}"/>
                </a:ext>
              </a:extLst>
            </p:cNvPr>
            <p:cNvSpPr/>
            <p:nvPr/>
          </p:nvSpPr>
          <p:spPr>
            <a:xfrm>
              <a:off x="8049797" y="3052356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4 w 214130"/>
                <a:gd name="connsiteY2" fmla="*/ 0 h 245899"/>
                <a:gd name="connsiteX3" fmla="*/ 214131 w 214130"/>
                <a:gd name="connsiteY3" fmla="*/ 119266 h 245899"/>
                <a:gd name="connsiteX4" fmla="*/ 213209 w 214130"/>
                <a:gd name="connsiteY4" fmla="*/ 141824 h 245899"/>
                <a:gd name="connsiteX5" fmla="*/ 55727 w 214130"/>
                <a:gd name="connsiteY5" fmla="*/ 141824 h 245899"/>
                <a:gd name="connsiteX6" fmla="*/ 116510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88 w 214130"/>
                <a:gd name="connsiteY10" fmla="*/ 101765 h 245899"/>
                <a:gd name="connsiteX11" fmla="*/ 161159 w 214130"/>
                <a:gd name="connsiteY11" fmla="*/ 101765 h 245899"/>
                <a:gd name="connsiteX12" fmla="*/ 109125 w 214130"/>
                <a:gd name="connsiteY12" fmla="*/ 45125 h 245899"/>
                <a:gd name="connsiteX13" fmla="*/ 5478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4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09" y="141824"/>
                  </a:cubicBezTo>
                  <a:lnTo>
                    <a:pt x="55727" y="141824"/>
                  </a:lnTo>
                  <a:cubicBezTo>
                    <a:pt x="61714" y="178207"/>
                    <a:pt x="83351" y="198924"/>
                    <a:pt x="116510" y="198924"/>
                  </a:cubicBezTo>
                  <a:cubicBezTo>
                    <a:pt x="138147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23" y="233465"/>
                    <a:pt x="151487" y="245900"/>
                    <a:pt x="116033" y="245900"/>
                  </a:cubicBezTo>
                  <a:close/>
                  <a:moveTo>
                    <a:pt x="54788" y="101765"/>
                  </a:moveTo>
                  <a:lnTo>
                    <a:pt x="161159" y="101765"/>
                  </a:lnTo>
                  <a:cubicBezTo>
                    <a:pt x="158864" y="65850"/>
                    <a:pt x="139981" y="45125"/>
                    <a:pt x="109125" y="45125"/>
                  </a:cubicBezTo>
                  <a:cubicBezTo>
                    <a:pt x="78729" y="45134"/>
                    <a:pt x="59394" y="65390"/>
                    <a:pt x="54788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0" name="Freihandform: Form 289">
              <a:extLst>
                <a:ext uri="{FF2B5EF4-FFF2-40B4-BE49-F238E27FC236}">
                  <a16:creationId xmlns:a16="http://schemas.microsoft.com/office/drawing/2014/main" id="{6F2B2A44-D3B9-4839-8780-2523FC7C0CFA}"/>
                </a:ext>
              </a:extLst>
            </p:cNvPr>
            <p:cNvSpPr/>
            <p:nvPr/>
          </p:nvSpPr>
          <p:spPr>
            <a:xfrm>
              <a:off x="8323756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1" name="Freihandform: Form 290">
              <a:extLst>
                <a:ext uri="{FF2B5EF4-FFF2-40B4-BE49-F238E27FC236}">
                  <a16:creationId xmlns:a16="http://schemas.microsoft.com/office/drawing/2014/main" id="{A7B61303-4423-4700-A145-E52E0AAF82EC}"/>
                </a:ext>
              </a:extLst>
            </p:cNvPr>
            <p:cNvSpPr/>
            <p:nvPr/>
          </p:nvSpPr>
          <p:spPr>
            <a:xfrm>
              <a:off x="8741466" y="2935854"/>
              <a:ext cx="31309" cy="452200"/>
            </a:xfrm>
            <a:custGeom>
              <a:avLst/>
              <a:gdLst>
                <a:gd name="connsiteX0" fmla="*/ 31309 w 31309"/>
                <a:gd name="connsiteY0" fmla="*/ 452201 h 452200"/>
                <a:gd name="connsiteX1" fmla="*/ 0 w 31309"/>
                <a:gd name="connsiteY1" fmla="*/ 452201 h 452200"/>
                <a:gd name="connsiteX2" fmla="*/ 0 w 31309"/>
                <a:gd name="connsiteY2" fmla="*/ 0 h 452200"/>
                <a:gd name="connsiteX3" fmla="*/ 31309 w 31309"/>
                <a:gd name="connsiteY3" fmla="*/ 0 h 452200"/>
                <a:gd name="connsiteX4" fmla="*/ 31309 w 31309"/>
                <a:gd name="connsiteY4" fmla="*/ 452201 h 45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09" h="452200">
                  <a:moveTo>
                    <a:pt x="31309" y="452201"/>
                  </a:moveTo>
                  <a:lnTo>
                    <a:pt x="0" y="452201"/>
                  </a:lnTo>
                  <a:lnTo>
                    <a:pt x="0" y="0"/>
                  </a:lnTo>
                  <a:lnTo>
                    <a:pt x="31309" y="0"/>
                  </a:lnTo>
                  <a:lnTo>
                    <a:pt x="31309" y="45220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2" name="Freihandform: Form 291">
              <a:extLst>
                <a:ext uri="{FF2B5EF4-FFF2-40B4-BE49-F238E27FC236}">
                  <a16:creationId xmlns:a16="http://schemas.microsoft.com/office/drawing/2014/main" id="{CAA87110-575D-4D1F-A310-D946F13A5FF3}"/>
                </a:ext>
              </a:extLst>
            </p:cNvPr>
            <p:cNvSpPr/>
            <p:nvPr/>
          </p:nvSpPr>
          <p:spPr>
            <a:xfrm>
              <a:off x="8970820" y="2968545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8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3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8 w 398768"/>
                <a:gd name="connsiteY9" fmla="*/ 0 h 324184"/>
                <a:gd name="connsiteX10" fmla="*/ 317260 w 398768"/>
                <a:gd name="connsiteY10" fmla="*/ 324185 h 324184"/>
                <a:gd name="connsiteX11" fmla="*/ 257857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8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3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8" y="0"/>
                  </a:lnTo>
                  <a:lnTo>
                    <a:pt x="317260" y="324185"/>
                  </a:lnTo>
                  <a:lnTo>
                    <a:pt x="257857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3" name="Freihandform: Form 292">
              <a:extLst>
                <a:ext uri="{FF2B5EF4-FFF2-40B4-BE49-F238E27FC236}">
                  <a16:creationId xmlns:a16="http://schemas.microsoft.com/office/drawing/2014/main" id="{284BB8DF-265D-4207-A163-D86AF4D1D7FF}"/>
                </a:ext>
              </a:extLst>
            </p:cNvPr>
            <p:cNvSpPr/>
            <p:nvPr/>
          </p:nvSpPr>
          <p:spPr>
            <a:xfrm>
              <a:off x="941575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4" name="Freihandform: Form 293">
              <a:extLst>
                <a:ext uri="{FF2B5EF4-FFF2-40B4-BE49-F238E27FC236}">
                  <a16:creationId xmlns:a16="http://schemas.microsoft.com/office/drawing/2014/main" id="{4DB9C8B7-8322-4B56-AFD9-905DC7EF49E5}"/>
                </a:ext>
              </a:extLst>
            </p:cNvPr>
            <p:cNvSpPr/>
            <p:nvPr/>
          </p:nvSpPr>
          <p:spPr>
            <a:xfrm>
              <a:off x="9528805" y="2963018"/>
              <a:ext cx="227486" cy="335246"/>
            </a:xfrm>
            <a:custGeom>
              <a:avLst/>
              <a:gdLst>
                <a:gd name="connsiteX0" fmla="*/ 36383 w 227486"/>
                <a:gd name="connsiteY0" fmla="*/ 245900 h 335246"/>
                <a:gd name="connsiteX1" fmla="*/ 116971 w 227486"/>
                <a:gd name="connsiteY1" fmla="*/ 282283 h 335246"/>
                <a:gd name="connsiteX2" fmla="*/ 169466 w 227486"/>
                <a:gd name="connsiteY2" fmla="*/ 241755 h 335246"/>
                <a:gd name="connsiteX3" fmla="*/ 10601 w 227486"/>
                <a:gd name="connsiteY3" fmla="*/ 93944 h 335246"/>
                <a:gd name="connsiteX4" fmla="*/ 120656 w 227486"/>
                <a:gd name="connsiteY4" fmla="*/ 0 h 335246"/>
                <a:gd name="connsiteX5" fmla="*/ 225183 w 227486"/>
                <a:gd name="connsiteY5" fmla="*/ 39147 h 335246"/>
                <a:gd name="connsiteX6" fmla="*/ 188808 w 227486"/>
                <a:gd name="connsiteY6" fmla="*/ 83812 h 335246"/>
                <a:gd name="connsiteX7" fmla="*/ 117884 w 227486"/>
                <a:gd name="connsiteY7" fmla="*/ 52503 h 335246"/>
                <a:gd name="connsiteX8" fmla="*/ 68613 w 227486"/>
                <a:gd name="connsiteY8" fmla="*/ 88886 h 335246"/>
                <a:gd name="connsiteX9" fmla="*/ 227486 w 227486"/>
                <a:gd name="connsiteY9" fmla="*/ 237158 h 335246"/>
                <a:gd name="connsiteX10" fmla="*/ 115590 w 227486"/>
                <a:gd name="connsiteY10" fmla="*/ 335246 h 335246"/>
                <a:gd name="connsiteX11" fmla="*/ 0 w 227486"/>
                <a:gd name="connsiteY11" fmla="*/ 290573 h 335246"/>
                <a:gd name="connsiteX12" fmla="*/ 36383 w 227486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86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71" y="282283"/>
                  </a:cubicBezTo>
                  <a:cubicBezTo>
                    <a:pt x="147359" y="282283"/>
                    <a:pt x="169466" y="265243"/>
                    <a:pt x="169466" y="241755"/>
                  </a:cubicBezTo>
                  <a:cubicBezTo>
                    <a:pt x="169466" y="179589"/>
                    <a:pt x="10601" y="198932"/>
                    <a:pt x="10601" y="93944"/>
                  </a:cubicBezTo>
                  <a:cubicBezTo>
                    <a:pt x="10601" y="38226"/>
                    <a:pt x="55727" y="0"/>
                    <a:pt x="120656" y="0"/>
                  </a:cubicBezTo>
                  <a:cubicBezTo>
                    <a:pt x="159342" y="0"/>
                    <a:pt x="195256" y="13356"/>
                    <a:pt x="225183" y="39147"/>
                  </a:cubicBezTo>
                  <a:lnTo>
                    <a:pt x="188808" y="83812"/>
                  </a:lnTo>
                  <a:cubicBezTo>
                    <a:pt x="165321" y="63087"/>
                    <a:pt x="141841" y="52503"/>
                    <a:pt x="117884" y="52503"/>
                  </a:cubicBezTo>
                  <a:cubicBezTo>
                    <a:pt x="89339" y="52503"/>
                    <a:pt x="68613" y="67692"/>
                    <a:pt x="68613" y="88886"/>
                  </a:cubicBezTo>
                  <a:cubicBezTo>
                    <a:pt x="68613" y="147359"/>
                    <a:pt x="227486" y="128024"/>
                    <a:pt x="227486" y="237158"/>
                  </a:cubicBezTo>
                  <a:cubicBezTo>
                    <a:pt x="227486" y="295639"/>
                    <a:pt x="182352" y="335246"/>
                    <a:pt x="115590" y="335246"/>
                  </a:cubicBezTo>
                  <a:cubicBezTo>
                    <a:pt x="72767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5" name="Freihandform: Form 294">
              <a:extLst>
                <a:ext uri="{FF2B5EF4-FFF2-40B4-BE49-F238E27FC236}">
                  <a16:creationId xmlns:a16="http://schemas.microsoft.com/office/drawing/2014/main" id="{17E12F20-0FCA-412C-B4C2-F749AFFCAD6E}"/>
                </a:ext>
              </a:extLst>
            </p:cNvPr>
            <p:cNvSpPr/>
            <p:nvPr/>
          </p:nvSpPr>
          <p:spPr>
            <a:xfrm>
              <a:off x="9804959" y="3052356"/>
              <a:ext cx="225636" cy="245908"/>
            </a:xfrm>
            <a:custGeom>
              <a:avLst/>
              <a:gdLst>
                <a:gd name="connsiteX0" fmla="*/ 0 w 225636"/>
                <a:gd name="connsiteY0" fmla="*/ 122950 h 245908"/>
                <a:gd name="connsiteX1" fmla="*/ 113739 w 225636"/>
                <a:gd name="connsiteY1" fmla="*/ 0 h 245908"/>
                <a:gd name="connsiteX2" fmla="*/ 225636 w 225636"/>
                <a:gd name="connsiteY2" fmla="*/ 122950 h 245908"/>
                <a:gd name="connsiteX3" fmla="*/ 113739 w 225636"/>
                <a:gd name="connsiteY3" fmla="*/ 245908 h 245908"/>
                <a:gd name="connsiteX4" fmla="*/ 0 w 225636"/>
                <a:gd name="connsiteY4" fmla="*/ 122950 h 245908"/>
                <a:gd name="connsiteX5" fmla="*/ 171300 w 225636"/>
                <a:gd name="connsiteY5" fmla="*/ 123410 h 245908"/>
                <a:gd name="connsiteX6" fmla="*/ 112818 w 225636"/>
                <a:gd name="connsiteY6" fmla="*/ 49731 h 245908"/>
                <a:gd name="connsiteX7" fmla="*/ 54345 w 225636"/>
                <a:gd name="connsiteY7" fmla="*/ 122481 h 245908"/>
                <a:gd name="connsiteX8" fmla="*/ 113287 w 225636"/>
                <a:gd name="connsiteY8" fmla="*/ 196621 h 245908"/>
                <a:gd name="connsiteX9" fmla="*/ 171300 w 225636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36" h="245908">
                  <a:moveTo>
                    <a:pt x="0" y="122950"/>
                  </a:moveTo>
                  <a:cubicBezTo>
                    <a:pt x="0" y="49270"/>
                    <a:pt x="45586" y="0"/>
                    <a:pt x="113739" y="0"/>
                  </a:cubicBezTo>
                  <a:cubicBezTo>
                    <a:pt x="181431" y="0"/>
                    <a:pt x="225636" y="48349"/>
                    <a:pt x="225636" y="122950"/>
                  </a:cubicBezTo>
                  <a:cubicBezTo>
                    <a:pt x="225636" y="196629"/>
                    <a:pt x="181884" y="245908"/>
                    <a:pt x="113739" y="245908"/>
                  </a:cubicBezTo>
                  <a:cubicBezTo>
                    <a:pt x="46047" y="245900"/>
                    <a:pt x="0" y="197090"/>
                    <a:pt x="0" y="122950"/>
                  </a:cubicBezTo>
                  <a:close/>
                  <a:moveTo>
                    <a:pt x="171300" y="123410"/>
                  </a:moveTo>
                  <a:cubicBezTo>
                    <a:pt x="171300" y="77824"/>
                    <a:pt x="148741" y="49731"/>
                    <a:pt x="112818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03" y="196621"/>
                    <a:pt x="113287" y="196621"/>
                  </a:cubicBezTo>
                  <a:cubicBezTo>
                    <a:pt x="149193" y="196629"/>
                    <a:pt x="171300" y="168536"/>
                    <a:pt x="171300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21" name="Freihandform: Form 92">
            <a:extLst>
              <a:ext uri="{FF2B5EF4-FFF2-40B4-BE49-F238E27FC236}">
                <a16:creationId xmlns:a16="http://schemas.microsoft.com/office/drawing/2014/main" id="{429B2815-4C5E-AE4F-A498-0A0195A8BCB9}"/>
              </a:ext>
            </a:extLst>
          </p:cNvPr>
          <p:cNvSpPr/>
          <p:nvPr userDrawn="1"/>
        </p:nvSpPr>
        <p:spPr>
          <a:xfrm>
            <a:off x="10272160" y="300704"/>
            <a:ext cx="1403903" cy="535987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rgbClr val="041E42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430C106-4EB7-47B9-8F1D-0BFCFBEAEC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1CD45B2-C7E2-4C43-84ED-BFB6DC4E84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8319" y="3431381"/>
            <a:ext cx="3571200" cy="2769394"/>
          </a:xfrm>
          <a:solidFill>
            <a:schemeClr val="bg1"/>
          </a:solidFill>
        </p:spPr>
        <p:txBody>
          <a:bodyPr wrap="square" lIns="180000" tIns="180000" rIns="360000" bIns="18000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FE029E8-09EC-45DC-B2BB-25B2B1C145AC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133350" y="2711163"/>
            <a:chExt cx="333375" cy="13681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D3613C15-D9EF-4DBF-8B74-3D509941276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8E0568E8-B36B-404B-9E38-F367F7DFCF81}"/>
                </a:ext>
              </a:extLst>
            </p:cNvPr>
            <p:cNvSpPr txBox="1"/>
            <p:nvPr userDrawn="1"/>
          </p:nvSpPr>
          <p:spPr>
            <a:xfrm>
              <a:off x="-96506" y="271116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54EB1BCB-8EFE-43BA-AE53-9984B9F11B54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133350" y="2711163"/>
            <a:chExt cx="333375" cy="136812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B189016C-ED2A-474D-A417-5E0F497B514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9856DE16-FDEC-4063-8C73-CBF95C803B59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3759D02-378A-4C73-8CA4-E4FB217B94E6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133350" y="2711163"/>
            <a:chExt cx="333375" cy="13681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612F9041-226E-4E23-B398-1F7D9044B5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618D5641-3E9B-4072-8388-BB46336975A8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70072D5-E220-4946-9EE1-80DFB58C3A38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133350" y="2711163"/>
            <a:chExt cx="333375" cy="136812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0A43D9D6-7790-4E94-8493-67757E33734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8E7E0758-62D1-453D-B55E-FDC4CCE3C6E4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84310EC5-28E5-4146-A748-79C1FCA769F0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133350" y="2711163"/>
            <a:chExt cx="333375" cy="136812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D5BC590-E7B8-48F8-AAC5-6799BCBDEB4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DF5B0BA6-3F36-41A3-8125-15AA496849C8}"/>
                </a:ext>
              </a:extLst>
            </p:cNvPr>
            <p:cNvSpPr txBox="1"/>
            <p:nvPr userDrawn="1"/>
          </p:nvSpPr>
          <p:spPr>
            <a:xfrm>
              <a:off x="-96504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07018BC3-E9D3-4DC9-9093-D415FD96426D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133350" y="2711163"/>
            <a:chExt cx="333375" cy="136812"/>
          </a:xfrm>
        </p:grpSpPr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38F1A063-9C9E-48DF-9813-A4EA4497C2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F79F31FE-DC89-4DED-A231-3D8DCBF48D98}"/>
                </a:ext>
              </a:extLst>
            </p:cNvPr>
            <p:cNvSpPr txBox="1"/>
            <p:nvPr userDrawn="1"/>
          </p:nvSpPr>
          <p:spPr>
            <a:xfrm>
              <a:off x="-96503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F7DF8EA8-3E45-431B-90A0-140583E1D079}"/>
              </a:ext>
            </a:extLst>
          </p:cNvPr>
          <p:cNvGrpSpPr/>
          <p:nvPr userDrawn="1"/>
        </p:nvGrpSpPr>
        <p:grpSpPr>
          <a:xfrm rot="16200000">
            <a:off x="281643" y="-299136"/>
            <a:ext cx="333375" cy="136808"/>
            <a:chOff x="-133350" y="2711167"/>
            <a:chExt cx="333375" cy="136808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B300055A-A6D6-4CE1-986A-0930765E029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0B2C23E7-0482-498A-B984-44C6CF40F3B6}"/>
                </a:ext>
              </a:extLst>
            </p:cNvPr>
            <p:cNvSpPr txBox="1"/>
            <p:nvPr userDrawn="1"/>
          </p:nvSpPr>
          <p:spPr>
            <a:xfrm>
              <a:off x="-96507" y="271116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C7A65B2-F352-4DA5-9A36-9105D478D2C2}"/>
              </a:ext>
            </a:extLst>
          </p:cNvPr>
          <p:cNvGrpSpPr/>
          <p:nvPr userDrawn="1"/>
        </p:nvGrpSpPr>
        <p:grpSpPr>
          <a:xfrm rot="16200000">
            <a:off x="5752963" y="-299136"/>
            <a:ext cx="333375" cy="136804"/>
            <a:chOff x="-133350" y="2711171"/>
            <a:chExt cx="333375" cy="136804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4D9AE9BE-891D-491B-98F9-78F552DDC8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E259A48F-52D3-481E-86F8-360FED16B872}"/>
                </a:ext>
              </a:extLst>
            </p:cNvPr>
            <p:cNvSpPr txBox="1"/>
            <p:nvPr userDrawn="1"/>
          </p:nvSpPr>
          <p:spPr>
            <a:xfrm>
              <a:off x="-96504" y="271117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7ADB04CE-94F5-430A-9FF1-01DE211731F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416680" y="-397424"/>
            <a:chExt cx="124906" cy="333375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50411913-7BEC-4F33-BDE8-154F93D079C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A40BADBF-D4AC-4B48-AE66-D79BD3055404}"/>
                </a:ext>
              </a:extLst>
            </p:cNvPr>
            <p:cNvSpPr txBox="1"/>
            <p:nvPr userDrawn="1"/>
          </p:nvSpPr>
          <p:spPr>
            <a:xfrm rot="16200000">
              <a:off x="634928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CB5DA2A5-4F29-4DF6-A342-0A7B4878AAB5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3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E820BD84-9211-4C19-A40B-4121AD892514}"/>
              </a:ext>
            </a:extLst>
          </p:cNvPr>
          <p:cNvGrpSpPr/>
          <p:nvPr userDrawn="1"/>
        </p:nvGrpSpPr>
        <p:grpSpPr>
          <a:xfrm rot="16200000">
            <a:off x="11447325" y="-299139"/>
            <a:ext cx="333375" cy="136800"/>
            <a:chOff x="-133350" y="2711175"/>
            <a:chExt cx="333375" cy="13680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21C7D9CA-751B-4809-9338-47DDC5D1A7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D1C22B97-CFD8-4E78-BF7E-02A71F190F83}"/>
                </a:ext>
              </a:extLst>
            </p:cNvPr>
            <p:cNvSpPr txBox="1"/>
            <p:nvPr userDrawn="1"/>
          </p:nvSpPr>
          <p:spPr>
            <a:xfrm>
              <a:off x="-96501" y="2711175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813202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91F16-A38C-4704-AC2A-54EFFD6840B2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6A4CB3A7-ACED-41D0-8E35-318CD3693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EBFE18BD-74E5-4328-B98A-9C6FC4FCA59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317" y="1631156"/>
            <a:ext cx="11157746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51E223D-AC82-4D54-A383-0E2DF84E2E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8317" y="5690271"/>
            <a:ext cx="11157746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05EC4CE8-43C6-428F-9E62-CB38E0CE6447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142AAD46-67A3-4127-B280-D69434A7D72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408502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1C6F0-82FB-4758-8445-3C854B8A42D3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2099" y="6634666"/>
            <a:ext cx="193964" cy="123111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8C7F934-D7F3-42CA-88CC-3AEB50FF1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B4B72DA6-61BE-42F9-8894-08B159BC7C7D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317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0E2D86CD-8C0A-461A-82DE-DEB73A6F9AC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8317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B4E7C39B-83E8-467B-AD57-55CA08888B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06331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CE124A50-74B4-4E32-AA56-DCD775B1300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06331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BF87D6FE-3E8F-49D4-B36A-217C95B23AF8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381895C7-DC25-40C3-9857-7AF6421845A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627449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65E404-FA7C-4123-B3AC-C4E47D4145D2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2099" y="6634666"/>
            <a:ext cx="193964" cy="123111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9995CF9C-9826-4946-A085-FF49199BE4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E2430412-20B6-4F53-A77B-A26A49135E4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317" y="1631156"/>
            <a:ext cx="3569758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48CA2DF0-5B92-4CE6-AF1A-CC648431BB9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8317" y="5690271"/>
            <a:ext cx="3569758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8">
            <a:extLst>
              <a:ext uri="{FF2B5EF4-FFF2-40B4-BE49-F238E27FC236}">
                <a16:creationId xmlns:a16="http://schemas.microsoft.com/office/drawing/2014/main" id="{002E2471-F223-4896-A895-CE0AF20E11D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106305" y="1631156"/>
            <a:ext cx="3569758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470E7482-A37A-44BE-ADE5-A0B3B10E8FC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06305" y="5690271"/>
            <a:ext cx="3569758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Bildplatzhalter 8">
            <a:extLst>
              <a:ext uri="{FF2B5EF4-FFF2-40B4-BE49-F238E27FC236}">
                <a16:creationId xmlns:a16="http://schemas.microsoft.com/office/drawing/2014/main" id="{3FD09289-F115-4464-A726-812A11720CAD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12311" y="1631156"/>
            <a:ext cx="3569758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26" name="Textplatzhalter 10">
            <a:extLst>
              <a:ext uri="{FF2B5EF4-FFF2-40B4-BE49-F238E27FC236}">
                <a16:creationId xmlns:a16="http://schemas.microsoft.com/office/drawing/2014/main" id="{F3F11CE6-C8CF-4ABE-B3B8-C00D74678A9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12311" y="5690271"/>
            <a:ext cx="3569758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A7347480-9F70-4378-B138-B8B7C593F86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DD6E75C0-962B-4DE7-8D95-4D4F45AB824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721892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0B6EA-496C-459A-815A-9BD62A63A65D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11155366" cy="4569619"/>
          </a:xfrm>
        </p:spPr>
        <p:txBody>
          <a:bodyPr/>
          <a:lstStyle/>
          <a:p>
            <a:pPr lvl="0"/>
            <a:r>
              <a:rPr lang="de-DE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BD0D2AE-225B-47F4-A359-0020AE80A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451A9BBC-9F96-4260-BC40-C6D3D23D6FB6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A13C3F65-DA83-41EB-89FA-4255A4DF2ED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854430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468426-EBDC-4303-B9B1-D92AAD036170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2099" y="6634666"/>
            <a:ext cx="193964" cy="123111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5469733" cy="4569619"/>
          </a:xfrm>
        </p:spPr>
        <p:txBody>
          <a:bodyPr/>
          <a:lstStyle/>
          <a:p>
            <a:pPr lvl="0"/>
            <a:r>
              <a:rPr lang="de-DE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BD0D2AE-225B-47F4-A359-0020AE80A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451A9BBC-9F96-4260-BC40-C6D3D23D6FB6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Inhaltsplatzhalter 7">
            <a:extLst>
              <a:ext uri="{FF2B5EF4-FFF2-40B4-BE49-F238E27FC236}">
                <a16:creationId xmlns:a16="http://schemas.microsoft.com/office/drawing/2014/main" id="{33608DEB-69EC-4E8F-A567-9E3EA36C3624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6206330" y="1631156"/>
            <a:ext cx="5469733" cy="4569619"/>
          </a:xfrm>
        </p:spPr>
        <p:txBody>
          <a:bodyPr/>
          <a:lstStyle/>
          <a:p>
            <a:pPr lvl="0"/>
            <a:r>
              <a:rPr lang="de-DE"/>
              <a:t> 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6BCD0DB3-1746-4FA4-9BF2-5CC1A0E5F8B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577756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A9FD88-BC3F-47B2-AE3F-ECDD22FD8DC5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5086500-15A5-49F2-8B64-748C19FDAB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04861" y="1631156"/>
            <a:ext cx="3571200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84BE64F-DBB2-4BF3-ABE7-E92BB978D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0D6633D6-CA56-460E-AA1C-9A4D6A62324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18317" y="1631157"/>
            <a:ext cx="7363752" cy="4569620"/>
          </a:xfrm>
        </p:spPr>
        <p:txBody>
          <a:bodyPr/>
          <a:lstStyle/>
          <a:p>
            <a:pPr lvl="0"/>
            <a:r>
              <a:rPr lang="de-DE"/>
              <a:t> 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7CDDF36A-B7A5-4E95-A5D6-07C5FCED28B4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3506DC8-BD94-4752-B673-EB18A5638B4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85792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| Ro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2F81409-1E84-4F9F-909C-B8147813B64E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rgbClr val="971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1925060-7FCF-4CBC-B0DA-0731E3E98579}"/>
              </a:ext>
            </a:extLst>
          </p:cNvPr>
          <p:cNvSpPr/>
          <p:nvPr userDrawn="1"/>
        </p:nvSpPr>
        <p:spPr>
          <a:xfrm>
            <a:off x="518400" y="1196733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Textplatzhalter 9">
            <a:extLst>
              <a:ext uri="{FF2B5EF4-FFF2-40B4-BE49-F238E27FC236}">
                <a16:creationId xmlns:a16="http://schemas.microsoft.com/office/drawing/2014/main" id="{A9FF3927-CA7B-4361-998A-3A60E5D23F5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1" name="Freihandform: Form 60">
            <a:extLst>
              <a:ext uri="{FF2B5EF4-FFF2-40B4-BE49-F238E27FC236}">
                <a16:creationId xmlns:a16="http://schemas.microsoft.com/office/drawing/2014/main" id="{BC19384B-1D95-4C0D-B3F0-61407A015F56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93DCB95B-459E-4AC2-8E4B-6C459242A95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ECEE8D8-DF92-4CFD-A29A-DD98DFA7EC69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133350" y="2711163"/>
            <a:chExt cx="333375" cy="136812"/>
          </a:xfrm>
        </p:grpSpPr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E89218EB-083A-44EC-89C4-86451CE1FC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399474D3-E53E-4ABA-9B61-C9BB08A3276B}"/>
                </a:ext>
              </a:extLst>
            </p:cNvPr>
            <p:cNvSpPr txBox="1"/>
            <p:nvPr userDrawn="1"/>
          </p:nvSpPr>
          <p:spPr>
            <a:xfrm>
              <a:off x="-96506" y="271116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57879191-3BE6-4B4E-A6B9-7EE964614B4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133350" y="2711163"/>
            <a:chExt cx="333375" cy="136812"/>
          </a:xfrm>
        </p:grpSpPr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4484379-E642-433C-B53A-1DEE6A9DD4E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7C54D7A6-C6ED-4572-B49C-338FB11A042A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382F9D16-DA93-44FA-B850-67D0B6AD397D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133350" y="2711163"/>
            <a:chExt cx="333375" cy="136812"/>
          </a:xfrm>
        </p:grpSpPr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201A13C-71DC-4465-B39F-F196A50353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D957CB6E-B09B-4A22-86F0-6C38F81B2E90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38DB7D0C-ACAA-4A6B-8088-624B0BC24502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133350" y="2711163"/>
            <a:chExt cx="333375" cy="136812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E8B86ED7-0F29-451E-8C7D-9B396D5E20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ED76FB85-7BBB-4E8D-A853-5FCC744835E1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E1524020-40DB-450A-AEE5-3E1B459B16B5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133350" y="2711163"/>
            <a:chExt cx="333375" cy="136812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539CBAAA-C79F-4BC9-9AF3-18ED0AF9EE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65F01F83-E434-491F-8893-1CE5848F9B6D}"/>
                </a:ext>
              </a:extLst>
            </p:cNvPr>
            <p:cNvSpPr txBox="1"/>
            <p:nvPr userDrawn="1"/>
          </p:nvSpPr>
          <p:spPr>
            <a:xfrm>
              <a:off x="-96504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99ECB07F-83AC-4A69-A930-C51459FBE5BA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133350" y="2711163"/>
            <a:chExt cx="333375" cy="136812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EB6DF347-64CA-4BE1-8952-3E80EBD0082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F82628F6-8442-4626-962B-E947FDA8C0C0}"/>
                </a:ext>
              </a:extLst>
            </p:cNvPr>
            <p:cNvSpPr txBox="1"/>
            <p:nvPr userDrawn="1"/>
          </p:nvSpPr>
          <p:spPr>
            <a:xfrm>
              <a:off x="-96503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C9B4EC5D-DF7B-4D80-86D6-C95B0B60B325}"/>
              </a:ext>
            </a:extLst>
          </p:cNvPr>
          <p:cNvGrpSpPr/>
          <p:nvPr userDrawn="1"/>
        </p:nvGrpSpPr>
        <p:grpSpPr>
          <a:xfrm rot="16200000">
            <a:off x="281643" y="-299136"/>
            <a:ext cx="333375" cy="136808"/>
            <a:chOff x="-133350" y="2711167"/>
            <a:chExt cx="333375" cy="136808"/>
          </a:xfrm>
        </p:grpSpPr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7A230F03-8AA4-4AAE-999A-6E872C727A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1C36145D-6FFB-4D3A-85D6-2ACFDAE5F5D2}"/>
                </a:ext>
              </a:extLst>
            </p:cNvPr>
            <p:cNvSpPr txBox="1"/>
            <p:nvPr userDrawn="1"/>
          </p:nvSpPr>
          <p:spPr>
            <a:xfrm>
              <a:off x="-96507" y="271116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0D1EC147-B041-40BC-BA8D-878A722616DE}"/>
              </a:ext>
            </a:extLst>
          </p:cNvPr>
          <p:cNvGrpSpPr/>
          <p:nvPr userDrawn="1"/>
        </p:nvGrpSpPr>
        <p:grpSpPr>
          <a:xfrm rot="16200000">
            <a:off x="5752963" y="-299136"/>
            <a:ext cx="333375" cy="136804"/>
            <a:chOff x="-133350" y="2711171"/>
            <a:chExt cx="333375" cy="136804"/>
          </a:xfrm>
        </p:grpSpPr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4A4E226E-C413-42F0-AA69-108B05313D4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4A93327E-EEC7-45A4-9C35-410D17ECB865}"/>
                </a:ext>
              </a:extLst>
            </p:cNvPr>
            <p:cNvSpPr txBox="1"/>
            <p:nvPr userDrawn="1"/>
          </p:nvSpPr>
          <p:spPr>
            <a:xfrm>
              <a:off x="-96504" y="271117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0EC1AF1A-26A7-479B-A176-8997B58ED4D1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416680" y="-397424"/>
            <a:chExt cx="124906" cy="333375"/>
          </a:xfrm>
        </p:grpSpPr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80D76042-D322-4CD0-B41A-CE295CEC6835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397EC952-23B6-4728-82B6-3D733107C66E}"/>
                </a:ext>
              </a:extLst>
            </p:cNvPr>
            <p:cNvSpPr txBox="1"/>
            <p:nvPr userDrawn="1"/>
          </p:nvSpPr>
          <p:spPr>
            <a:xfrm rot="16200000">
              <a:off x="634928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D8CEDBB7-9662-435E-8F5A-F3EE555D9908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3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24365663-FE3F-47D4-A8D7-729A38C4987D}"/>
              </a:ext>
            </a:extLst>
          </p:cNvPr>
          <p:cNvGrpSpPr/>
          <p:nvPr userDrawn="1"/>
        </p:nvGrpSpPr>
        <p:grpSpPr>
          <a:xfrm rot="16200000">
            <a:off x="11447325" y="-299139"/>
            <a:ext cx="333375" cy="136800"/>
            <a:chOff x="-133350" y="2711175"/>
            <a:chExt cx="333375" cy="136800"/>
          </a:xfrm>
        </p:grpSpPr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92EE37E1-8647-4AEB-9AEE-FF0711435F3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C2B4E3D7-0BC3-4BC1-B86B-DD51E9785755}"/>
                </a:ext>
              </a:extLst>
            </p:cNvPr>
            <p:cNvSpPr txBox="1"/>
            <p:nvPr userDrawn="1"/>
          </p:nvSpPr>
          <p:spPr>
            <a:xfrm>
              <a:off x="-96501" y="2711175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430291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079717-E97F-4041-A2DA-BCAED95A5C61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B908A7-A1D8-4FB7-9CB4-BDC3E20D2B6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A9DBE995-23F2-460C-86CC-60633EED251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024811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1660C-C7C1-473E-BEF9-D7441416578B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B25E710-D493-4189-8EF7-00ABE0AB56E5}"/>
              </a:ext>
            </a:extLst>
          </p:cNvPr>
          <p:cNvSpPr/>
          <p:nvPr userDrawn="1"/>
        </p:nvSpPr>
        <p:spPr>
          <a:xfrm>
            <a:off x="518317" y="1631155"/>
            <a:ext cx="11157746" cy="45696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2F509DB-422D-41FB-A02B-822A0A204E4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97190" y="2835964"/>
            <a:ext cx="7200000" cy="2160000"/>
          </a:xfrm>
        </p:spPr>
        <p:txBody>
          <a:bodyPr rIns="0" anchor="ctr" anchorCtr="0">
            <a:norm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„Mastertextformat bearbeiten“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F862885B-685B-4384-B9F0-6266AD0BDA76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C209FD4A-C7D6-4B64-AD6B-63B653F6B00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35489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2519410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4">
                  <a:alpha val="50000"/>
                </a:schemeClr>
              </a:gs>
              <a:gs pos="5000">
                <a:schemeClr val="accent4"/>
              </a:gs>
              <a:gs pos="100000">
                <a:schemeClr val="accent4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/>
              <a:t> </a:t>
            </a:r>
          </a:p>
        </p:txBody>
      </p:sp>
      <p:sp>
        <p:nvSpPr>
          <p:cNvPr id="59" name="Bildplatzhalter 60">
            <a:extLst>
              <a:ext uri="{FF2B5EF4-FFF2-40B4-BE49-F238E27FC236}">
                <a16:creationId xmlns:a16="http://schemas.microsoft.com/office/drawing/2014/main" id="{92CE05A2-27DE-4191-8A63-5C7C7ACA37C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BD8B083-79E8-44E1-BA43-E993160F02E1}"/>
              </a:ext>
            </a:extLst>
          </p:cNvPr>
          <p:cNvSpPr/>
          <p:nvPr userDrawn="1"/>
        </p:nvSpPr>
        <p:spPr>
          <a:xfrm>
            <a:off x="518400" y="1196733"/>
            <a:ext cx="11676062" cy="72000"/>
          </a:xfrm>
          <a:prstGeom prst="rect">
            <a:avLst/>
          </a:prstGeom>
          <a:solidFill>
            <a:srgbClr val="971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/>
              <a:t>Vielen Dank</a:t>
            </a:r>
            <a:br>
              <a:rPr lang="de-DE"/>
            </a:br>
            <a:r>
              <a:rPr lang="de-DE"/>
              <a:t>für Ihre Aufmerksamkeit!</a:t>
            </a:r>
          </a:p>
        </p:txBody>
      </p: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0C3B9D07-F821-46AB-95B1-D19222D00FD7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133350" y="2711163"/>
            <a:chExt cx="333375" cy="136812"/>
          </a:xfrm>
        </p:grpSpPr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22380010-0050-441D-BA9C-97B5835158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C13F555F-C26E-4B21-A77C-6CA7380155F8}"/>
                </a:ext>
              </a:extLst>
            </p:cNvPr>
            <p:cNvSpPr txBox="1"/>
            <p:nvPr userDrawn="1"/>
          </p:nvSpPr>
          <p:spPr>
            <a:xfrm>
              <a:off x="-96506" y="271116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705760C0-8935-4141-9AEE-BB96816B3799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133350" y="2711163"/>
            <a:chExt cx="333375" cy="136812"/>
          </a:xfrm>
        </p:grpSpPr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EBE9DAC0-7790-4611-B602-40B3CD18C73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1FBE1EE4-3D10-40E7-9F1E-627A51E59C61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B25E0919-4E1B-4A97-A1C2-6AE7D2A59920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133350" y="2711163"/>
            <a:chExt cx="333375" cy="136812"/>
          </a:xfrm>
        </p:grpSpPr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849FBB7D-3378-4F36-B80B-3E0BDCA834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6141066E-6566-420D-B6EB-886DF25CCD11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87A742EA-EC3D-47DE-9C2D-533639983C8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133350" y="2711163"/>
            <a:chExt cx="333375" cy="136812"/>
          </a:xfrm>
        </p:grpSpPr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846719FD-F8B1-447D-8561-7A1E238E8A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2ABDBC31-5895-4E49-887D-433A43B32DBC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AEF4BF1C-C847-48A1-A7BF-3BEE82EF1C59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133350" y="2711163"/>
            <a:chExt cx="333375" cy="136812"/>
          </a:xfrm>
        </p:grpSpPr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1CF60061-B6B2-4FE6-9482-278DFD418B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73D29742-39CB-41E5-B346-BADC9743E285}"/>
                </a:ext>
              </a:extLst>
            </p:cNvPr>
            <p:cNvSpPr txBox="1"/>
            <p:nvPr userDrawn="1"/>
          </p:nvSpPr>
          <p:spPr>
            <a:xfrm>
              <a:off x="-96504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77" name="Gruppieren 76">
            <a:extLst>
              <a:ext uri="{FF2B5EF4-FFF2-40B4-BE49-F238E27FC236}">
                <a16:creationId xmlns:a16="http://schemas.microsoft.com/office/drawing/2014/main" id="{D55A5473-7182-4B24-8843-51E2ADF3D492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133350" y="2711163"/>
            <a:chExt cx="333375" cy="136812"/>
          </a:xfrm>
        </p:grpSpPr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204A095A-3A24-4259-92A8-4500898AC0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82971EAD-9159-4D12-8726-4FBE6AFA23F0}"/>
                </a:ext>
              </a:extLst>
            </p:cNvPr>
            <p:cNvSpPr txBox="1"/>
            <p:nvPr userDrawn="1"/>
          </p:nvSpPr>
          <p:spPr>
            <a:xfrm>
              <a:off x="-96503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80" name="Gruppieren 79">
            <a:extLst>
              <a:ext uri="{FF2B5EF4-FFF2-40B4-BE49-F238E27FC236}">
                <a16:creationId xmlns:a16="http://schemas.microsoft.com/office/drawing/2014/main" id="{D1FF9524-93DA-476B-89EA-9E475617F2D9}"/>
              </a:ext>
            </a:extLst>
          </p:cNvPr>
          <p:cNvGrpSpPr/>
          <p:nvPr userDrawn="1"/>
        </p:nvGrpSpPr>
        <p:grpSpPr>
          <a:xfrm rot="16200000">
            <a:off x="281643" y="-299136"/>
            <a:ext cx="333375" cy="136808"/>
            <a:chOff x="-133350" y="2711167"/>
            <a:chExt cx="333375" cy="136808"/>
          </a:xfrm>
        </p:grpSpPr>
        <p:cxnSp>
          <p:nvCxnSpPr>
            <p:cNvPr id="81" name="Gerader Verbinder 80">
              <a:extLst>
                <a:ext uri="{FF2B5EF4-FFF2-40B4-BE49-F238E27FC236}">
                  <a16:creationId xmlns:a16="http://schemas.microsoft.com/office/drawing/2014/main" id="{8DFFD401-DC7D-4F6D-82BF-DC6E357E59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36A6CE9C-ECB8-42E6-B61D-3A0F3C4D7A56}"/>
                </a:ext>
              </a:extLst>
            </p:cNvPr>
            <p:cNvSpPr txBox="1"/>
            <p:nvPr userDrawn="1"/>
          </p:nvSpPr>
          <p:spPr>
            <a:xfrm>
              <a:off x="-96507" y="271116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20076CAA-CFEC-4359-9762-07ED0661EE26}"/>
              </a:ext>
            </a:extLst>
          </p:cNvPr>
          <p:cNvGrpSpPr/>
          <p:nvPr userDrawn="1"/>
        </p:nvGrpSpPr>
        <p:grpSpPr>
          <a:xfrm rot="16200000">
            <a:off x="5752963" y="-299136"/>
            <a:ext cx="333375" cy="136804"/>
            <a:chOff x="-133350" y="2711171"/>
            <a:chExt cx="333375" cy="136804"/>
          </a:xfrm>
        </p:grpSpPr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91EF761B-D6BF-475C-8903-456E1F0576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413A99B1-6C23-41A6-A82B-0EC01B779471}"/>
                </a:ext>
              </a:extLst>
            </p:cNvPr>
            <p:cNvSpPr txBox="1"/>
            <p:nvPr userDrawn="1"/>
          </p:nvSpPr>
          <p:spPr>
            <a:xfrm>
              <a:off x="-96504" y="271117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16CE4EF7-E819-4747-A9E4-8C86F991481E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416680" y="-397424"/>
            <a:chExt cx="124906" cy="333375"/>
          </a:xfrm>
        </p:grpSpPr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3B78DE36-86EF-463F-A7E5-0CD3043C9F4D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EAD15804-28A7-4690-889A-7D8A91A7D478}"/>
                </a:ext>
              </a:extLst>
            </p:cNvPr>
            <p:cNvSpPr txBox="1"/>
            <p:nvPr userDrawn="1"/>
          </p:nvSpPr>
          <p:spPr>
            <a:xfrm rot="16200000">
              <a:off x="634928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9023C4F7-97EF-4D2F-9223-1AFEE89D9C68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3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D5072DFD-BA29-43BB-A0B1-01F593A0242E}"/>
              </a:ext>
            </a:extLst>
          </p:cNvPr>
          <p:cNvGrpSpPr/>
          <p:nvPr userDrawn="1"/>
        </p:nvGrpSpPr>
        <p:grpSpPr>
          <a:xfrm rot="16200000">
            <a:off x="11447325" y="-299139"/>
            <a:ext cx="333375" cy="136800"/>
            <a:chOff x="-133350" y="2711175"/>
            <a:chExt cx="333375" cy="136800"/>
          </a:xfrm>
        </p:grpSpPr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A9C77A6D-E177-4B69-A5A1-6B77E4229F3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701274C6-5A42-4082-BC4B-8532BFB4CC40}"/>
                </a:ext>
              </a:extLst>
            </p:cNvPr>
            <p:cNvSpPr txBox="1"/>
            <p:nvPr userDrawn="1"/>
          </p:nvSpPr>
          <p:spPr>
            <a:xfrm>
              <a:off x="-96501" y="2711175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21" name="Grafik 3">
            <a:extLst>
              <a:ext uri="{FF2B5EF4-FFF2-40B4-BE49-F238E27FC236}">
                <a16:creationId xmlns:a16="http://schemas.microsoft.com/office/drawing/2014/main" id="{06D91DA4-2AD4-4044-ACD2-26BD75F591CE}"/>
              </a:ext>
            </a:extLst>
          </p:cNvPr>
          <p:cNvGrpSpPr/>
          <p:nvPr userDrawn="1"/>
        </p:nvGrpSpPr>
        <p:grpSpPr>
          <a:xfrm>
            <a:off x="510639" y="293688"/>
            <a:ext cx="2631832" cy="563562"/>
            <a:chOff x="4011188" y="1936931"/>
            <a:chExt cx="6776742" cy="1451124"/>
          </a:xfrm>
          <a:solidFill>
            <a:schemeClr val="tx1"/>
          </a:solidFill>
        </p:grpSpPr>
        <p:sp>
          <p:nvSpPr>
            <p:cNvPr id="122" name="Freihandform: Form 213">
              <a:extLst>
                <a:ext uri="{FF2B5EF4-FFF2-40B4-BE49-F238E27FC236}">
                  <a16:creationId xmlns:a16="http://schemas.microsoft.com/office/drawing/2014/main" id="{8B89B079-6887-4745-861A-0D8F365E140C}"/>
                </a:ext>
              </a:extLst>
            </p:cNvPr>
            <p:cNvSpPr/>
            <p:nvPr/>
          </p:nvSpPr>
          <p:spPr>
            <a:xfrm>
              <a:off x="4034676" y="1955336"/>
              <a:ext cx="203537" cy="324184"/>
            </a:xfrm>
            <a:custGeom>
              <a:avLst/>
              <a:gdLst>
                <a:gd name="connsiteX0" fmla="*/ 203538 w 203537"/>
                <a:gd name="connsiteY0" fmla="*/ 52963 h 324184"/>
                <a:gd name="connsiteX1" fmla="*/ 57561 w 203537"/>
                <a:gd name="connsiteY1" fmla="*/ 52963 h 324184"/>
                <a:gd name="connsiteX2" fmla="*/ 57561 w 203537"/>
                <a:gd name="connsiteY2" fmla="*/ 133551 h 324184"/>
                <a:gd name="connsiteX3" fmla="*/ 166694 w 203537"/>
                <a:gd name="connsiteY3" fmla="*/ 133551 h 324184"/>
                <a:gd name="connsiteX4" fmla="*/ 166694 w 203537"/>
                <a:gd name="connsiteY4" fmla="*/ 186045 h 324184"/>
                <a:gd name="connsiteX5" fmla="*/ 57561 w 203537"/>
                <a:gd name="connsiteY5" fmla="*/ 186045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63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63"/>
                  </a:moveTo>
                  <a:lnTo>
                    <a:pt x="57561" y="52963"/>
                  </a:lnTo>
                  <a:lnTo>
                    <a:pt x="57561" y="133551"/>
                  </a:lnTo>
                  <a:lnTo>
                    <a:pt x="166694" y="133551"/>
                  </a:lnTo>
                  <a:lnTo>
                    <a:pt x="166694" y="186045"/>
                  </a:lnTo>
                  <a:lnTo>
                    <a:pt x="57561" y="186045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6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3" name="Freihandform: Form 214">
              <a:extLst>
                <a:ext uri="{FF2B5EF4-FFF2-40B4-BE49-F238E27FC236}">
                  <a16:creationId xmlns:a16="http://schemas.microsoft.com/office/drawing/2014/main" id="{8FAFB012-CEB2-E447-869E-FF6F76A303A2}"/>
                </a:ext>
              </a:extLst>
            </p:cNvPr>
            <p:cNvSpPr/>
            <p:nvPr/>
          </p:nvSpPr>
          <p:spPr>
            <a:xfrm>
              <a:off x="426950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94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84 w 141832"/>
                <a:gd name="connsiteY7" fmla="*/ 5979 h 240364"/>
                <a:gd name="connsiteX8" fmla="*/ 53884 w 141832"/>
                <a:gd name="connsiteY8" fmla="*/ 35454 h 240364"/>
                <a:gd name="connsiteX9" fmla="*/ 54797 w 141832"/>
                <a:gd name="connsiteY9" fmla="*/ 35454 h 240364"/>
                <a:gd name="connsiteX10" fmla="*/ 116041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800" y="56631"/>
                    <a:pt x="114668" y="53868"/>
                    <a:pt x="102694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84" y="5979"/>
                  </a:lnTo>
                  <a:lnTo>
                    <a:pt x="53884" y="35454"/>
                  </a:lnTo>
                  <a:lnTo>
                    <a:pt x="54797" y="35454"/>
                  </a:lnTo>
                  <a:cubicBezTo>
                    <a:pt x="67232" y="13348"/>
                    <a:pt x="89338" y="0"/>
                    <a:pt x="116041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4" name="Freihandform: Form 215">
              <a:extLst>
                <a:ext uri="{FF2B5EF4-FFF2-40B4-BE49-F238E27FC236}">
                  <a16:creationId xmlns:a16="http://schemas.microsoft.com/office/drawing/2014/main" id="{60CFA2AB-964A-0A4B-8C97-3C657044B2E6}"/>
                </a:ext>
              </a:extLst>
            </p:cNvPr>
            <p:cNvSpPr/>
            <p:nvPr/>
          </p:nvSpPr>
          <p:spPr>
            <a:xfrm>
              <a:off x="4450268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5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5 w 69542"/>
                <a:gd name="connsiteY8" fmla="*/ 104076 h 338461"/>
                <a:gd name="connsiteX9" fmla="*/ 62175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76" y="0"/>
                    <a:pt x="69543" y="14277"/>
                    <a:pt x="69543" y="33160"/>
                  </a:cubicBezTo>
                  <a:close/>
                  <a:moveTo>
                    <a:pt x="6217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5" y="104076"/>
                  </a:lnTo>
                  <a:lnTo>
                    <a:pt x="62175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5" name="Freihandform: Form 216">
              <a:extLst>
                <a:ext uri="{FF2B5EF4-FFF2-40B4-BE49-F238E27FC236}">
                  <a16:creationId xmlns:a16="http://schemas.microsoft.com/office/drawing/2014/main" id="{367A9542-13DC-BF47-845E-EEB771B94EEA}"/>
                </a:ext>
              </a:extLst>
            </p:cNvPr>
            <p:cNvSpPr/>
            <p:nvPr/>
          </p:nvSpPr>
          <p:spPr>
            <a:xfrm>
              <a:off x="4570153" y="2039148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6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8"/>
                    <a:pt x="83360" y="198924"/>
                    <a:pt x="116511" y="198924"/>
                  </a:cubicBezTo>
                  <a:cubicBezTo>
                    <a:pt x="138157" y="198924"/>
                    <a:pt x="155657" y="190634"/>
                    <a:pt x="174079" y="171291"/>
                  </a:cubicBezTo>
                  <a:lnTo>
                    <a:pt x="208152" y="207214"/>
                  </a:lnTo>
                  <a:cubicBezTo>
                    <a:pt x="181431" y="233465"/>
                    <a:pt x="151495" y="245900"/>
                    <a:pt x="116042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6"/>
                    <a:pt x="109125" y="45126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6" name="Freihandform: Form 217">
              <a:extLst>
                <a:ext uri="{FF2B5EF4-FFF2-40B4-BE49-F238E27FC236}">
                  <a16:creationId xmlns:a16="http://schemas.microsoft.com/office/drawing/2014/main" id="{1A42EEDB-7AB9-5946-A0A7-7B270D88A73B}"/>
                </a:ext>
              </a:extLst>
            </p:cNvPr>
            <p:cNvSpPr/>
            <p:nvPr/>
          </p:nvSpPr>
          <p:spPr>
            <a:xfrm>
              <a:off x="4831929" y="1936931"/>
              <a:ext cx="219187" cy="348116"/>
            </a:xfrm>
            <a:custGeom>
              <a:avLst/>
              <a:gdLst>
                <a:gd name="connsiteX0" fmla="*/ 0 w 219187"/>
                <a:gd name="connsiteY0" fmla="*/ 224706 h 348116"/>
                <a:gd name="connsiteX1" fmla="*/ 95317 w 219187"/>
                <a:gd name="connsiteY1" fmla="*/ 102217 h 348116"/>
                <a:gd name="connsiteX2" fmla="*/ 163478 w 219187"/>
                <a:gd name="connsiteY2" fmla="*/ 133986 h 348116"/>
                <a:gd name="connsiteX3" fmla="*/ 164391 w 219187"/>
                <a:gd name="connsiteY3" fmla="*/ 133986 h 348116"/>
                <a:gd name="connsiteX4" fmla="*/ 164391 w 219187"/>
                <a:gd name="connsiteY4" fmla="*/ 13808 h 348116"/>
                <a:gd name="connsiteX5" fmla="*/ 219188 w 219187"/>
                <a:gd name="connsiteY5" fmla="*/ 0 h 348116"/>
                <a:gd name="connsiteX6" fmla="*/ 219188 w 219187"/>
                <a:gd name="connsiteY6" fmla="*/ 342590 h 348116"/>
                <a:gd name="connsiteX7" fmla="*/ 165773 w 219187"/>
                <a:gd name="connsiteY7" fmla="*/ 342590 h 348116"/>
                <a:gd name="connsiteX8" fmla="*/ 165773 w 219187"/>
                <a:gd name="connsiteY8" fmla="*/ 314957 h 348116"/>
                <a:gd name="connsiteX9" fmla="*/ 164851 w 219187"/>
                <a:gd name="connsiteY9" fmla="*/ 314957 h 348116"/>
                <a:gd name="connsiteX10" fmla="*/ 94404 w 219187"/>
                <a:gd name="connsiteY10" fmla="*/ 348117 h 348116"/>
                <a:gd name="connsiteX11" fmla="*/ 0 w 219187"/>
                <a:gd name="connsiteY11" fmla="*/ 224706 h 348116"/>
                <a:gd name="connsiteX12" fmla="*/ 54328 w 219187"/>
                <a:gd name="connsiteY12" fmla="*/ 224706 h 348116"/>
                <a:gd name="connsiteX13" fmla="*/ 108664 w 219187"/>
                <a:gd name="connsiteY13" fmla="*/ 299767 h 348116"/>
                <a:gd name="connsiteX14" fmla="*/ 164383 w 219187"/>
                <a:gd name="connsiteY14" fmla="*/ 268911 h 348116"/>
                <a:gd name="connsiteX15" fmla="*/ 164383 w 219187"/>
                <a:gd name="connsiteY15" fmla="*/ 183265 h 348116"/>
                <a:gd name="connsiteX16" fmla="*/ 108664 w 219187"/>
                <a:gd name="connsiteY16" fmla="*/ 151956 h 348116"/>
                <a:gd name="connsiteX17" fmla="*/ 54328 w 219187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87" h="348116">
                  <a:moveTo>
                    <a:pt x="0" y="224706"/>
                  </a:moveTo>
                  <a:cubicBezTo>
                    <a:pt x="0" y="149185"/>
                    <a:pt x="38217" y="102217"/>
                    <a:pt x="95317" y="102217"/>
                  </a:cubicBezTo>
                  <a:cubicBezTo>
                    <a:pt x="124792" y="102217"/>
                    <a:pt x="147819" y="114643"/>
                    <a:pt x="163478" y="133986"/>
                  </a:cubicBezTo>
                  <a:lnTo>
                    <a:pt x="164391" y="133986"/>
                  </a:lnTo>
                  <a:lnTo>
                    <a:pt x="164391" y="13808"/>
                  </a:lnTo>
                  <a:lnTo>
                    <a:pt x="219188" y="0"/>
                  </a:lnTo>
                  <a:lnTo>
                    <a:pt x="219188" y="342590"/>
                  </a:lnTo>
                  <a:lnTo>
                    <a:pt x="165773" y="342590"/>
                  </a:lnTo>
                  <a:lnTo>
                    <a:pt x="165773" y="314957"/>
                  </a:lnTo>
                  <a:lnTo>
                    <a:pt x="164851" y="314957"/>
                  </a:lnTo>
                  <a:cubicBezTo>
                    <a:pt x="147819" y="335682"/>
                    <a:pt x="123410" y="348117"/>
                    <a:pt x="94404" y="348117"/>
                  </a:cubicBezTo>
                  <a:cubicBezTo>
                    <a:pt x="38677" y="348117"/>
                    <a:pt x="0" y="300689"/>
                    <a:pt x="0" y="224706"/>
                  </a:cubicBezTo>
                  <a:close/>
                  <a:moveTo>
                    <a:pt x="54328" y="224706"/>
                  </a:moveTo>
                  <a:cubicBezTo>
                    <a:pt x="54328" y="272595"/>
                    <a:pt x="74131" y="299767"/>
                    <a:pt x="108664" y="299767"/>
                  </a:cubicBezTo>
                  <a:cubicBezTo>
                    <a:pt x="129849" y="299767"/>
                    <a:pt x="147351" y="289635"/>
                    <a:pt x="164383" y="268911"/>
                  </a:cubicBezTo>
                  <a:lnTo>
                    <a:pt x="164383" y="183265"/>
                  </a:lnTo>
                  <a:cubicBezTo>
                    <a:pt x="148732" y="162088"/>
                    <a:pt x="130762" y="151956"/>
                    <a:pt x="108664" y="151956"/>
                  </a:cubicBezTo>
                  <a:cubicBezTo>
                    <a:pt x="73210" y="151956"/>
                    <a:pt x="54328" y="177739"/>
                    <a:pt x="54328" y="224706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7" name="Freihandform: Form 218">
              <a:extLst>
                <a:ext uri="{FF2B5EF4-FFF2-40B4-BE49-F238E27FC236}">
                  <a16:creationId xmlns:a16="http://schemas.microsoft.com/office/drawing/2014/main" id="{0C4F78BB-ECC1-9B4E-A4FB-AF718AB2C773}"/>
                </a:ext>
              </a:extLst>
            </p:cNvPr>
            <p:cNvSpPr/>
            <p:nvPr/>
          </p:nvSpPr>
          <p:spPr>
            <a:xfrm>
              <a:off x="512248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86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7 w 141832"/>
                <a:gd name="connsiteY9" fmla="*/ 35454 h 240364"/>
                <a:gd name="connsiteX10" fmla="*/ 116033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792" y="56631"/>
                    <a:pt x="114660" y="53868"/>
                    <a:pt x="102686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3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8" name="Freihandform: Form 219">
              <a:extLst>
                <a:ext uri="{FF2B5EF4-FFF2-40B4-BE49-F238E27FC236}">
                  <a16:creationId xmlns:a16="http://schemas.microsoft.com/office/drawing/2014/main" id="{E5CC0BE3-70DF-A64D-A937-D3747D9F7FFA}"/>
                </a:ext>
              </a:extLst>
            </p:cNvPr>
            <p:cNvSpPr/>
            <p:nvPr/>
          </p:nvSpPr>
          <p:spPr>
            <a:xfrm>
              <a:off x="5303239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9" name="Freihandform: Form 220">
              <a:extLst>
                <a:ext uri="{FF2B5EF4-FFF2-40B4-BE49-F238E27FC236}">
                  <a16:creationId xmlns:a16="http://schemas.microsoft.com/office/drawing/2014/main" id="{8A992392-BE78-4C45-A9AD-9A46BB85E45C}"/>
                </a:ext>
              </a:extLst>
            </p:cNvPr>
            <p:cNvSpPr/>
            <p:nvPr/>
          </p:nvSpPr>
          <p:spPr>
            <a:xfrm>
              <a:off x="5424179" y="2039156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2"/>
                    <a:pt x="112809" y="50192"/>
                  </a:cubicBezTo>
                  <a:cubicBezTo>
                    <a:pt x="78277" y="50192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71" y="196161"/>
                    <a:pt x="145509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0" name="Freihandform: Form 221">
              <a:extLst>
                <a:ext uri="{FF2B5EF4-FFF2-40B4-BE49-F238E27FC236}">
                  <a16:creationId xmlns:a16="http://schemas.microsoft.com/office/drawing/2014/main" id="{AD1DD049-8BF7-AB4F-A285-FA0FEECB6CE4}"/>
                </a:ext>
              </a:extLst>
            </p:cNvPr>
            <p:cNvSpPr/>
            <p:nvPr/>
          </p:nvSpPr>
          <p:spPr>
            <a:xfrm>
              <a:off x="5668731" y="1936931"/>
              <a:ext cx="201695" cy="342590"/>
            </a:xfrm>
            <a:custGeom>
              <a:avLst/>
              <a:gdLst>
                <a:gd name="connsiteX0" fmla="*/ 201695 w 201695"/>
                <a:gd name="connsiteY0" fmla="*/ 342590 h 342590"/>
                <a:gd name="connsiteX1" fmla="*/ 146898 w 201695"/>
                <a:gd name="connsiteY1" fmla="*/ 342590 h 342590"/>
                <a:gd name="connsiteX2" fmla="*/ 146898 w 201695"/>
                <a:gd name="connsiteY2" fmla="*/ 208587 h 342590"/>
                <a:gd name="connsiteX3" fmla="*/ 103607 w 201695"/>
                <a:gd name="connsiteY3" fmla="*/ 151487 h 342590"/>
                <a:gd name="connsiteX4" fmla="*/ 54797 w 201695"/>
                <a:gd name="connsiteY4" fmla="*/ 208135 h 342590"/>
                <a:gd name="connsiteX5" fmla="*/ 54797 w 201695"/>
                <a:gd name="connsiteY5" fmla="*/ 342590 h 342590"/>
                <a:gd name="connsiteX6" fmla="*/ 0 w 201695"/>
                <a:gd name="connsiteY6" fmla="*/ 342590 h 342590"/>
                <a:gd name="connsiteX7" fmla="*/ 0 w 201695"/>
                <a:gd name="connsiteY7" fmla="*/ 13808 h 342590"/>
                <a:gd name="connsiteX8" fmla="*/ 54797 w 201695"/>
                <a:gd name="connsiteY8" fmla="*/ 0 h 342590"/>
                <a:gd name="connsiteX9" fmla="*/ 54797 w 201695"/>
                <a:gd name="connsiteY9" fmla="*/ 136298 h 342590"/>
                <a:gd name="connsiteX10" fmla="*/ 55718 w 201695"/>
                <a:gd name="connsiteY10" fmla="*/ 136298 h 342590"/>
                <a:gd name="connsiteX11" fmla="*/ 124323 w 201695"/>
                <a:gd name="connsiteY11" fmla="*/ 102225 h 342590"/>
                <a:gd name="connsiteX12" fmla="*/ 201687 w 201695"/>
                <a:gd name="connsiteY12" fmla="*/ 197082 h 342590"/>
                <a:gd name="connsiteX13" fmla="*/ 201687 w 201695"/>
                <a:gd name="connsiteY13" fmla="*/ 342590 h 34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0">
                  <a:moveTo>
                    <a:pt x="201695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297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0"/>
                  </a:lnTo>
                  <a:lnTo>
                    <a:pt x="0" y="342590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" name="Freihandform: Form 222">
              <a:extLst>
                <a:ext uri="{FF2B5EF4-FFF2-40B4-BE49-F238E27FC236}">
                  <a16:creationId xmlns:a16="http://schemas.microsoft.com/office/drawing/2014/main" id="{57A09A9F-192C-9B4E-AD21-793E9C400E00}"/>
                </a:ext>
              </a:extLst>
            </p:cNvPr>
            <p:cNvSpPr/>
            <p:nvPr/>
          </p:nvSpPr>
          <p:spPr>
            <a:xfrm>
              <a:off x="5933312" y="2109603"/>
              <a:ext cx="115120" cy="52033"/>
            </a:xfrm>
            <a:custGeom>
              <a:avLst/>
              <a:gdLst>
                <a:gd name="connsiteX0" fmla="*/ 115121 w 115120"/>
                <a:gd name="connsiteY0" fmla="*/ 52034 h 52033"/>
                <a:gd name="connsiteX1" fmla="*/ 0 w 115120"/>
                <a:gd name="connsiteY1" fmla="*/ 52034 h 52033"/>
                <a:gd name="connsiteX2" fmla="*/ 0 w 115120"/>
                <a:gd name="connsiteY2" fmla="*/ 0 h 52033"/>
                <a:gd name="connsiteX3" fmla="*/ 115121 w 115120"/>
                <a:gd name="connsiteY3" fmla="*/ 0 h 52033"/>
                <a:gd name="connsiteX4" fmla="*/ 115121 w 115120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20" h="52033">
                  <a:moveTo>
                    <a:pt x="115121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1" y="0"/>
                  </a:lnTo>
                  <a:lnTo>
                    <a:pt x="115121" y="52034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" name="Freihandform: Form 223">
              <a:extLst>
                <a:ext uri="{FF2B5EF4-FFF2-40B4-BE49-F238E27FC236}">
                  <a16:creationId xmlns:a16="http://schemas.microsoft.com/office/drawing/2014/main" id="{2A68142D-7DB3-D44E-B472-661C0E32F636}"/>
                </a:ext>
              </a:extLst>
            </p:cNvPr>
            <p:cNvSpPr/>
            <p:nvPr/>
          </p:nvSpPr>
          <p:spPr>
            <a:xfrm>
              <a:off x="6076636" y="1955336"/>
              <a:ext cx="302078" cy="324184"/>
            </a:xfrm>
            <a:custGeom>
              <a:avLst/>
              <a:gdLst>
                <a:gd name="connsiteX0" fmla="*/ 120647 w 302078"/>
                <a:gd name="connsiteY0" fmla="*/ 0 h 324184"/>
                <a:gd name="connsiteX1" fmla="*/ 181431 w 302078"/>
                <a:gd name="connsiteY1" fmla="*/ 0 h 324184"/>
                <a:gd name="connsiteX2" fmla="*/ 302079 w 302078"/>
                <a:gd name="connsiteY2" fmla="*/ 324185 h 324184"/>
                <a:gd name="connsiteX3" fmla="*/ 238991 w 302078"/>
                <a:gd name="connsiteY3" fmla="*/ 324185 h 324184"/>
                <a:gd name="connsiteX4" fmla="*/ 215503 w 302078"/>
                <a:gd name="connsiteY4" fmla="*/ 255111 h 324184"/>
                <a:gd name="connsiteX5" fmla="*/ 84732 w 302078"/>
                <a:gd name="connsiteY5" fmla="*/ 255111 h 324184"/>
                <a:gd name="connsiteX6" fmla="*/ 61244 w 302078"/>
                <a:gd name="connsiteY6" fmla="*/ 324185 h 324184"/>
                <a:gd name="connsiteX7" fmla="*/ 0 w 302078"/>
                <a:gd name="connsiteY7" fmla="*/ 324185 h 324184"/>
                <a:gd name="connsiteX8" fmla="*/ 120647 w 302078"/>
                <a:gd name="connsiteY8" fmla="*/ 0 h 324184"/>
                <a:gd name="connsiteX9" fmla="*/ 102686 w 302078"/>
                <a:gd name="connsiteY9" fmla="*/ 203538 h 324184"/>
                <a:gd name="connsiteX10" fmla="*/ 197542 w 302078"/>
                <a:gd name="connsiteY10" fmla="*/ 203538 h 324184"/>
                <a:gd name="connsiteX11" fmla="*/ 150575 w 302078"/>
                <a:gd name="connsiteY11" fmla="*/ 65859 h 324184"/>
                <a:gd name="connsiteX12" fmla="*/ 149654 w 302078"/>
                <a:gd name="connsiteY12" fmla="*/ 65859 h 324184"/>
                <a:gd name="connsiteX13" fmla="*/ 102686 w 302078"/>
                <a:gd name="connsiteY13" fmla="*/ 203538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2078" h="324184">
                  <a:moveTo>
                    <a:pt x="120647" y="0"/>
                  </a:moveTo>
                  <a:lnTo>
                    <a:pt x="181431" y="0"/>
                  </a:lnTo>
                  <a:lnTo>
                    <a:pt x="302079" y="324185"/>
                  </a:lnTo>
                  <a:lnTo>
                    <a:pt x="238991" y="324185"/>
                  </a:lnTo>
                  <a:lnTo>
                    <a:pt x="215503" y="255111"/>
                  </a:lnTo>
                  <a:lnTo>
                    <a:pt x="84732" y="255111"/>
                  </a:lnTo>
                  <a:lnTo>
                    <a:pt x="61244" y="324185"/>
                  </a:lnTo>
                  <a:lnTo>
                    <a:pt x="0" y="324185"/>
                  </a:lnTo>
                  <a:lnTo>
                    <a:pt x="120647" y="0"/>
                  </a:lnTo>
                  <a:close/>
                  <a:moveTo>
                    <a:pt x="102686" y="203538"/>
                  </a:moveTo>
                  <a:lnTo>
                    <a:pt x="197542" y="203538"/>
                  </a:lnTo>
                  <a:lnTo>
                    <a:pt x="150575" y="65859"/>
                  </a:lnTo>
                  <a:lnTo>
                    <a:pt x="149654" y="65859"/>
                  </a:lnTo>
                  <a:lnTo>
                    <a:pt x="102686" y="20353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3" name="Freihandform: Form 224">
              <a:extLst>
                <a:ext uri="{FF2B5EF4-FFF2-40B4-BE49-F238E27FC236}">
                  <a16:creationId xmlns:a16="http://schemas.microsoft.com/office/drawing/2014/main" id="{5B3BEB07-2489-4A48-84BB-0236C1FC7F1E}"/>
                </a:ext>
              </a:extLst>
            </p:cNvPr>
            <p:cNvSpPr/>
            <p:nvPr/>
          </p:nvSpPr>
          <p:spPr>
            <a:xfrm>
              <a:off x="6426787" y="1937383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4" name="Freihandform: Form 225">
              <a:extLst>
                <a:ext uri="{FF2B5EF4-FFF2-40B4-BE49-F238E27FC236}">
                  <a16:creationId xmlns:a16="http://schemas.microsoft.com/office/drawing/2014/main" id="{58EFC4A9-A6AE-D94A-9FCA-1E870AF480AC}"/>
                </a:ext>
              </a:extLst>
            </p:cNvPr>
            <p:cNvSpPr/>
            <p:nvPr/>
          </p:nvSpPr>
          <p:spPr>
            <a:xfrm>
              <a:off x="6541003" y="2039148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0 w 214130"/>
                <a:gd name="connsiteY3" fmla="*/ 119266 h 245899"/>
                <a:gd name="connsiteX4" fmla="*/ 213209 w 214130"/>
                <a:gd name="connsiteY4" fmla="*/ 141824 h 245899"/>
                <a:gd name="connsiteX5" fmla="*/ 55726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6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0" y="46968"/>
                    <a:pt x="214130" y="119266"/>
                  </a:cubicBezTo>
                  <a:cubicBezTo>
                    <a:pt x="214130" y="127095"/>
                    <a:pt x="213670" y="135385"/>
                    <a:pt x="213209" y="141824"/>
                  </a:cubicBezTo>
                  <a:lnTo>
                    <a:pt x="55726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31" y="233465"/>
                    <a:pt x="151487" y="245900"/>
                    <a:pt x="116033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72" y="65850"/>
                    <a:pt x="139990" y="45126"/>
                    <a:pt x="109134" y="45126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5" name="Freihandform: Form 226">
              <a:extLst>
                <a:ext uri="{FF2B5EF4-FFF2-40B4-BE49-F238E27FC236}">
                  <a16:creationId xmlns:a16="http://schemas.microsoft.com/office/drawing/2014/main" id="{E48A6423-991D-8746-A1FD-DDA39FD5868D}"/>
                </a:ext>
              </a:extLst>
            </p:cNvPr>
            <p:cNvSpPr/>
            <p:nvPr/>
          </p:nvSpPr>
          <p:spPr>
            <a:xfrm>
              <a:off x="6784224" y="2045127"/>
              <a:ext cx="224245" cy="234394"/>
            </a:xfrm>
            <a:custGeom>
              <a:avLst/>
              <a:gdLst>
                <a:gd name="connsiteX0" fmla="*/ 224245 w 224245"/>
                <a:gd name="connsiteY0" fmla="*/ 234395 h 234394"/>
                <a:gd name="connsiteX1" fmla="*/ 161619 w 224245"/>
                <a:gd name="connsiteY1" fmla="*/ 234395 h 234394"/>
                <a:gd name="connsiteX2" fmla="*/ 111427 w 224245"/>
                <a:gd name="connsiteY2" fmla="*/ 153346 h 234394"/>
                <a:gd name="connsiteX3" fmla="*/ 110515 w 224245"/>
                <a:gd name="connsiteY3" fmla="*/ 153346 h 234394"/>
                <a:gd name="connsiteX4" fmla="*/ 61697 w 224245"/>
                <a:gd name="connsiteY4" fmla="*/ 234395 h 234394"/>
                <a:gd name="connsiteX5" fmla="*/ 0 w 224245"/>
                <a:gd name="connsiteY5" fmla="*/ 234395 h 234394"/>
                <a:gd name="connsiteX6" fmla="*/ 80119 w 224245"/>
                <a:gd name="connsiteY6" fmla="*/ 112826 h 234394"/>
                <a:gd name="connsiteX7" fmla="*/ 5979 w 224245"/>
                <a:gd name="connsiteY7" fmla="*/ 0 h 234394"/>
                <a:gd name="connsiteX8" fmla="*/ 67684 w 224245"/>
                <a:gd name="connsiteY8" fmla="*/ 0 h 234394"/>
                <a:gd name="connsiteX9" fmla="*/ 111888 w 224245"/>
                <a:gd name="connsiteY9" fmla="*/ 71837 h 234394"/>
                <a:gd name="connsiteX10" fmla="*/ 112801 w 224245"/>
                <a:gd name="connsiteY10" fmla="*/ 71837 h 234394"/>
                <a:gd name="connsiteX11" fmla="*/ 156553 w 224245"/>
                <a:gd name="connsiteY11" fmla="*/ 0 h 234394"/>
                <a:gd name="connsiteX12" fmla="*/ 217337 w 224245"/>
                <a:gd name="connsiteY12" fmla="*/ 0 h 234394"/>
                <a:gd name="connsiteX13" fmla="*/ 143657 w 224245"/>
                <a:gd name="connsiteY13" fmla="*/ 111897 h 234394"/>
                <a:gd name="connsiteX14" fmla="*/ 224245 w 224245"/>
                <a:gd name="connsiteY14" fmla="*/ 234395 h 234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4245" h="234394">
                  <a:moveTo>
                    <a:pt x="224245" y="234395"/>
                  </a:moveTo>
                  <a:lnTo>
                    <a:pt x="161619" y="234395"/>
                  </a:lnTo>
                  <a:lnTo>
                    <a:pt x="111427" y="153346"/>
                  </a:lnTo>
                  <a:lnTo>
                    <a:pt x="110515" y="153346"/>
                  </a:lnTo>
                  <a:lnTo>
                    <a:pt x="61697" y="234395"/>
                  </a:lnTo>
                  <a:lnTo>
                    <a:pt x="0" y="234395"/>
                  </a:lnTo>
                  <a:lnTo>
                    <a:pt x="80119" y="112826"/>
                  </a:lnTo>
                  <a:lnTo>
                    <a:pt x="5979" y="0"/>
                  </a:lnTo>
                  <a:lnTo>
                    <a:pt x="67684" y="0"/>
                  </a:lnTo>
                  <a:lnTo>
                    <a:pt x="111888" y="71837"/>
                  </a:lnTo>
                  <a:lnTo>
                    <a:pt x="112801" y="71837"/>
                  </a:lnTo>
                  <a:lnTo>
                    <a:pt x="156553" y="0"/>
                  </a:lnTo>
                  <a:lnTo>
                    <a:pt x="217337" y="0"/>
                  </a:lnTo>
                  <a:lnTo>
                    <a:pt x="143657" y="111897"/>
                  </a:lnTo>
                  <a:lnTo>
                    <a:pt x="224245" y="234395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6" name="Freihandform: Form 227">
              <a:extLst>
                <a:ext uri="{FF2B5EF4-FFF2-40B4-BE49-F238E27FC236}">
                  <a16:creationId xmlns:a16="http://schemas.microsoft.com/office/drawing/2014/main" id="{F59FF282-2547-8149-9273-1F267A013CDA}"/>
                </a:ext>
              </a:extLst>
            </p:cNvPr>
            <p:cNvSpPr/>
            <p:nvPr/>
          </p:nvSpPr>
          <p:spPr>
            <a:xfrm>
              <a:off x="7037149" y="2039148"/>
              <a:ext cx="198924" cy="245899"/>
            </a:xfrm>
            <a:custGeom>
              <a:avLst/>
              <a:gdLst>
                <a:gd name="connsiteX0" fmla="*/ 100835 w 198924"/>
                <a:gd name="connsiteY0" fmla="*/ 94856 h 245899"/>
                <a:gd name="connsiteX1" fmla="*/ 145039 w 198924"/>
                <a:gd name="connsiteY1" fmla="*/ 99922 h 245899"/>
                <a:gd name="connsiteX2" fmla="*/ 145039 w 198924"/>
                <a:gd name="connsiteY2" fmla="*/ 91633 h 245899"/>
                <a:gd name="connsiteX3" fmla="*/ 93466 w 198924"/>
                <a:gd name="connsiteY3" fmla="*/ 46047 h 245899"/>
                <a:gd name="connsiteX4" fmla="*/ 34064 w 198924"/>
                <a:gd name="connsiteY4" fmla="*/ 59402 h 245899"/>
                <a:gd name="connsiteX5" fmla="*/ 22090 w 198924"/>
                <a:gd name="connsiteY5" fmla="*/ 13356 h 245899"/>
                <a:gd name="connsiteX6" fmla="*/ 98993 w 198924"/>
                <a:gd name="connsiteY6" fmla="*/ 0 h 245899"/>
                <a:gd name="connsiteX7" fmla="*/ 198924 w 198924"/>
                <a:gd name="connsiteY7" fmla="*/ 90712 h 245899"/>
                <a:gd name="connsiteX8" fmla="*/ 198924 w 198924"/>
                <a:gd name="connsiteY8" fmla="*/ 240373 h 245899"/>
                <a:gd name="connsiteX9" fmla="*/ 146882 w 198924"/>
                <a:gd name="connsiteY9" fmla="*/ 240373 h 245899"/>
                <a:gd name="connsiteX10" fmla="*/ 146882 w 198924"/>
                <a:gd name="connsiteY10" fmla="*/ 215504 h 245899"/>
                <a:gd name="connsiteX11" fmla="*/ 145969 w 198924"/>
                <a:gd name="connsiteY11" fmla="*/ 215504 h 245899"/>
                <a:gd name="connsiteX12" fmla="*/ 77356 w 198924"/>
                <a:gd name="connsiteY12" fmla="*/ 245900 h 245899"/>
                <a:gd name="connsiteX13" fmla="*/ 0 w 198924"/>
                <a:gd name="connsiteY13" fmla="*/ 171299 h 245899"/>
                <a:gd name="connsiteX14" fmla="*/ 100835 w 198924"/>
                <a:gd name="connsiteY14" fmla="*/ 94856 h 245899"/>
                <a:gd name="connsiteX15" fmla="*/ 91624 w 198924"/>
                <a:gd name="connsiteY15" fmla="*/ 204919 h 245899"/>
                <a:gd name="connsiteX16" fmla="*/ 145039 w 198924"/>
                <a:gd name="connsiteY16" fmla="*/ 176834 h 245899"/>
                <a:gd name="connsiteX17" fmla="*/ 145039 w 198924"/>
                <a:gd name="connsiteY17" fmla="*/ 135845 h 245899"/>
                <a:gd name="connsiteX18" fmla="*/ 106823 w 198924"/>
                <a:gd name="connsiteY18" fmla="*/ 131240 h 245899"/>
                <a:gd name="connsiteX19" fmla="*/ 52486 w 198924"/>
                <a:gd name="connsiteY19" fmla="*/ 169918 h 245899"/>
                <a:gd name="connsiteX20" fmla="*/ 91624 w 198924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4" h="245899">
                  <a:moveTo>
                    <a:pt x="100835" y="94856"/>
                  </a:moveTo>
                  <a:cubicBezTo>
                    <a:pt x="116025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2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46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0" y="204919"/>
                    <a:pt x="129842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9" y="131240"/>
                    <a:pt x="106823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8" y="191563"/>
                    <a:pt x="67684" y="204919"/>
                    <a:pt x="91624" y="204919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7" name="Freihandform: Form 228">
              <a:extLst>
                <a:ext uri="{FF2B5EF4-FFF2-40B4-BE49-F238E27FC236}">
                  <a16:creationId xmlns:a16="http://schemas.microsoft.com/office/drawing/2014/main" id="{816CFEE9-6F46-CF47-9D02-1033E89014F9}"/>
                </a:ext>
              </a:extLst>
            </p:cNvPr>
            <p:cNvSpPr/>
            <p:nvPr/>
          </p:nvSpPr>
          <p:spPr>
            <a:xfrm>
              <a:off x="7305540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0 w 201695"/>
                <a:gd name="connsiteY1" fmla="*/ 240373 h 240373"/>
                <a:gd name="connsiteX2" fmla="*/ 146890 w 201695"/>
                <a:gd name="connsiteY2" fmla="*/ 106370 h 240373"/>
                <a:gd name="connsiteX3" fmla="*/ 103607 w 201695"/>
                <a:gd name="connsiteY3" fmla="*/ 49270 h 240373"/>
                <a:gd name="connsiteX4" fmla="*/ 54797 w 201695"/>
                <a:gd name="connsiteY4" fmla="*/ 105918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0" y="240373"/>
                  </a:lnTo>
                  <a:lnTo>
                    <a:pt x="146890" y="106370"/>
                  </a:lnTo>
                  <a:cubicBezTo>
                    <a:pt x="146890" y="72298"/>
                    <a:pt x="136767" y="49270"/>
                    <a:pt x="103607" y="49270"/>
                  </a:cubicBezTo>
                  <a:cubicBezTo>
                    <a:pt x="65390" y="49270"/>
                    <a:pt x="54797" y="80588"/>
                    <a:pt x="54797" y="105918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7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8" name="Freihandform: Form 229">
              <a:extLst>
                <a:ext uri="{FF2B5EF4-FFF2-40B4-BE49-F238E27FC236}">
                  <a16:creationId xmlns:a16="http://schemas.microsoft.com/office/drawing/2014/main" id="{1E20B96E-EAE3-2746-8BD9-CF10523A0BE5}"/>
                </a:ext>
              </a:extLst>
            </p:cNvPr>
            <p:cNvSpPr/>
            <p:nvPr/>
          </p:nvSpPr>
          <p:spPr>
            <a:xfrm>
              <a:off x="7565198" y="1936931"/>
              <a:ext cx="219195" cy="348116"/>
            </a:xfrm>
            <a:custGeom>
              <a:avLst/>
              <a:gdLst>
                <a:gd name="connsiteX0" fmla="*/ 0 w 219195"/>
                <a:gd name="connsiteY0" fmla="*/ 224706 h 348116"/>
                <a:gd name="connsiteX1" fmla="*/ 95325 w 219195"/>
                <a:gd name="connsiteY1" fmla="*/ 102217 h 348116"/>
                <a:gd name="connsiteX2" fmla="*/ 163478 w 219195"/>
                <a:gd name="connsiteY2" fmla="*/ 133986 h 348116"/>
                <a:gd name="connsiteX3" fmla="*/ 164399 w 219195"/>
                <a:gd name="connsiteY3" fmla="*/ 133986 h 348116"/>
                <a:gd name="connsiteX4" fmla="*/ 164399 w 219195"/>
                <a:gd name="connsiteY4" fmla="*/ 13808 h 348116"/>
                <a:gd name="connsiteX5" fmla="*/ 219196 w 219195"/>
                <a:gd name="connsiteY5" fmla="*/ 0 h 348116"/>
                <a:gd name="connsiteX6" fmla="*/ 219196 w 219195"/>
                <a:gd name="connsiteY6" fmla="*/ 342590 h 348116"/>
                <a:gd name="connsiteX7" fmla="*/ 165781 w 219195"/>
                <a:gd name="connsiteY7" fmla="*/ 342590 h 348116"/>
                <a:gd name="connsiteX8" fmla="*/ 165781 w 219195"/>
                <a:gd name="connsiteY8" fmla="*/ 314957 h 348116"/>
                <a:gd name="connsiteX9" fmla="*/ 164859 w 219195"/>
                <a:gd name="connsiteY9" fmla="*/ 314957 h 348116"/>
                <a:gd name="connsiteX10" fmla="*/ 94404 w 219195"/>
                <a:gd name="connsiteY10" fmla="*/ 348117 h 348116"/>
                <a:gd name="connsiteX11" fmla="*/ 0 w 219195"/>
                <a:gd name="connsiteY11" fmla="*/ 224706 h 348116"/>
                <a:gd name="connsiteX12" fmla="*/ 54336 w 219195"/>
                <a:gd name="connsiteY12" fmla="*/ 224706 h 348116"/>
                <a:gd name="connsiteX13" fmla="*/ 108673 w 219195"/>
                <a:gd name="connsiteY13" fmla="*/ 299767 h 348116"/>
                <a:gd name="connsiteX14" fmla="*/ 164391 w 219195"/>
                <a:gd name="connsiteY14" fmla="*/ 268911 h 348116"/>
                <a:gd name="connsiteX15" fmla="*/ 164391 w 219195"/>
                <a:gd name="connsiteY15" fmla="*/ 183265 h 348116"/>
                <a:gd name="connsiteX16" fmla="*/ 108673 w 219195"/>
                <a:gd name="connsiteY16" fmla="*/ 151956 h 348116"/>
                <a:gd name="connsiteX17" fmla="*/ 54336 w 219195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5" h="348116">
                  <a:moveTo>
                    <a:pt x="0" y="224706"/>
                  </a:moveTo>
                  <a:cubicBezTo>
                    <a:pt x="0" y="149185"/>
                    <a:pt x="38217" y="102217"/>
                    <a:pt x="95325" y="102217"/>
                  </a:cubicBezTo>
                  <a:cubicBezTo>
                    <a:pt x="124800" y="102217"/>
                    <a:pt x="147828" y="114643"/>
                    <a:pt x="163478" y="133986"/>
                  </a:cubicBezTo>
                  <a:lnTo>
                    <a:pt x="164399" y="133986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0"/>
                  </a:lnTo>
                  <a:lnTo>
                    <a:pt x="165781" y="342590"/>
                  </a:lnTo>
                  <a:lnTo>
                    <a:pt x="165781" y="314957"/>
                  </a:lnTo>
                  <a:lnTo>
                    <a:pt x="164859" y="314957"/>
                  </a:lnTo>
                  <a:cubicBezTo>
                    <a:pt x="147828" y="335682"/>
                    <a:pt x="123418" y="348117"/>
                    <a:pt x="94404" y="348117"/>
                  </a:cubicBezTo>
                  <a:cubicBezTo>
                    <a:pt x="38686" y="348117"/>
                    <a:pt x="0" y="300689"/>
                    <a:pt x="0" y="224706"/>
                  </a:cubicBezTo>
                  <a:close/>
                  <a:moveTo>
                    <a:pt x="54336" y="224706"/>
                  </a:moveTo>
                  <a:cubicBezTo>
                    <a:pt x="54336" y="272595"/>
                    <a:pt x="74140" y="299767"/>
                    <a:pt x="108673" y="299767"/>
                  </a:cubicBezTo>
                  <a:cubicBezTo>
                    <a:pt x="129850" y="299767"/>
                    <a:pt x="147351" y="289635"/>
                    <a:pt x="164391" y="268911"/>
                  </a:cubicBezTo>
                  <a:lnTo>
                    <a:pt x="164391" y="183265"/>
                  </a:lnTo>
                  <a:cubicBezTo>
                    <a:pt x="148733" y="162088"/>
                    <a:pt x="130771" y="151956"/>
                    <a:pt x="108673" y="151956"/>
                  </a:cubicBezTo>
                  <a:cubicBezTo>
                    <a:pt x="73219" y="151956"/>
                    <a:pt x="54336" y="177739"/>
                    <a:pt x="54336" y="224706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9" name="Freihandform: Form 230">
              <a:extLst>
                <a:ext uri="{FF2B5EF4-FFF2-40B4-BE49-F238E27FC236}">
                  <a16:creationId xmlns:a16="http://schemas.microsoft.com/office/drawing/2014/main" id="{6696B870-4358-D749-8275-C5A5C43AEF41}"/>
                </a:ext>
              </a:extLst>
            </p:cNvPr>
            <p:cNvSpPr/>
            <p:nvPr/>
          </p:nvSpPr>
          <p:spPr>
            <a:xfrm>
              <a:off x="7843881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89 w 214130"/>
                <a:gd name="connsiteY10" fmla="*/ 101765 h 245899"/>
                <a:gd name="connsiteX11" fmla="*/ 161160 w 214130"/>
                <a:gd name="connsiteY11" fmla="*/ 101765 h 245899"/>
                <a:gd name="connsiteX12" fmla="*/ 109125 w 214130"/>
                <a:gd name="connsiteY12" fmla="*/ 45126 h 245899"/>
                <a:gd name="connsiteX13" fmla="*/ 54789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23" y="233465"/>
                    <a:pt x="151496" y="245900"/>
                    <a:pt x="116034" y="245900"/>
                  </a:cubicBezTo>
                  <a:close/>
                  <a:moveTo>
                    <a:pt x="54789" y="101765"/>
                  </a:moveTo>
                  <a:lnTo>
                    <a:pt x="161160" y="101765"/>
                  </a:lnTo>
                  <a:cubicBezTo>
                    <a:pt x="158857" y="65850"/>
                    <a:pt x="139982" y="45126"/>
                    <a:pt x="109125" y="45126"/>
                  </a:cubicBezTo>
                  <a:cubicBezTo>
                    <a:pt x="78738" y="45134"/>
                    <a:pt x="59394" y="65390"/>
                    <a:pt x="54789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0" name="Freihandform: Form 231">
              <a:extLst>
                <a:ext uri="{FF2B5EF4-FFF2-40B4-BE49-F238E27FC236}">
                  <a16:creationId xmlns:a16="http://schemas.microsoft.com/office/drawing/2014/main" id="{7541E1D4-E2DB-C841-9670-483FB10DF092}"/>
                </a:ext>
              </a:extLst>
            </p:cNvPr>
            <p:cNvSpPr/>
            <p:nvPr/>
          </p:nvSpPr>
          <p:spPr>
            <a:xfrm>
              <a:off x="8117849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86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801" y="56631"/>
                    <a:pt x="114668" y="53868"/>
                    <a:pt x="102686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8" y="35454"/>
                  </a:lnTo>
                  <a:cubicBezTo>
                    <a:pt x="67224" y="13348"/>
                    <a:pt x="89330" y="0"/>
                    <a:pt x="116042" y="0"/>
                  </a:cubicBezTo>
                  <a:cubicBezTo>
                    <a:pt x="123871" y="-8"/>
                    <a:pt x="133534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1" name="Freihandform: Form 232">
              <a:extLst>
                <a:ext uri="{FF2B5EF4-FFF2-40B4-BE49-F238E27FC236}">
                  <a16:creationId xmlns:a16="http://schemas.microsoft.com/office/drawing/2014/main" id="{A5C2F266-9C7E-7146-B6EC-6AC33EF530AC}"/>
                </a:ext>
              </a:extLst>
            </p:cNvPr>
            <p:cNvSpPr/>
            <p:nvPr/>
          </p:nvSpPr>
          <p:spPr>
            <a:xfrm>
              <a:off x="8293771" y="2109603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2" name="Freihandform: Form 233">
              <a:extLst>
                <a:ext uri="{FF2B5EF4-FFF2-40B4-BE49-F238E27FC236}">
                  <a16:creationId xmlns:a16="http://schemas.microsoft.com/office/drawing/2014/main" id="{09ABAA67-7F97-9E42-8A1E-68BDB9FB9267}"/>
                </a:ext>
              </a:extLst>
            </p:cNvPr>
            <p:cNvSpPr/>
            <p:nvPr/>
          </p:nvSpPr>
          <p:spPr>
            <a:xfrm>
              <a:off x="8478811" y="1955336"/>
              <a:ext cx="253268" cy="329711"/>
            </a:xfrm>
            <a:custGeom>
              <a:avLst/>
              <a:gdLst>
                <a:gd name="connsiteX0" fmla="*/ 253268 w 253268"/>
                <a:gd name="connsiteY0" fmla="*/ 195708 h 329711"/>
                <a:gd name="connsiteX1" fmla="*/ 126174 w 253268"/>
                <a:gd name="connsiteY1" fmla="*/ 329712 h 329711"/>
                <a:gd name="connsiteX2" fmla="*/ 0 w 253268"/>
                <a:gd name="connsiteY2" fmla="*/ 195708 h 329711"/>
                <a:gd name="connsiteX3" fmla="*/ 0 w 253268"/>
                <a:gd name="connsiteY3" fmla="*/ 0 h 329711"/>
                <a:gd name="connsiteX4" fmla="*/ 58941 w 253268"/>
                <a:gd name="connsiteY4" fmla="*/ 0 h 329711"/>
                <a:gd name="connsiteX5" fmla="*/ 58941 w 253268"/>
                <a:gd name="connsiteY5" fmla="*/ 192485 h 329711"/>
                <a:gd name="connsiteX6" fmla="*/ 128016 w 253268"/>
                <a:gd name="connsiteY6" fmla="*/ 274446 h 329711"/>
                <a:gd name="connsiteX7" fmla="*/ 194795 w 253268"/>
                <a:gd name="connsiteY7" fmla="*/ 192485 h 329711"/>
                <a:gd name="connsiteX8" fmla="*/ 194795 w 253268"/>
                <a:gd name="connsiteY8" fmla="*/ 0 h 329711"/>
                <a:gd name="connsiteX9" fmla="*/ 253268 w 253268"/>
                <a:gd name="connsiteY9" fmla="*/ 0 h 329711"/>
                <a:gd name="connsiteX10" fmla="*/ 253268 w 253268"/>
                <a:gd name="connsiteY10" fmla="*/ 195708 h 32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268" h="329711">
                  <a:moveTo>
                    <a:pt x="253268" y="195708"/>
                  </a:moveTo>
                  <a:cubicBezTo>
                    <a:pt x="253268" y="273993"/>
                    <a:pt x="213209" y="329712"/>
                    <a:pt x="126174" y="329712"/>
                  </a:cubicBezTo>
                  <a:cubicBezTo>
                    <a:pt x="39599" y="329712"/>
                    <a:pt x="0" y="274446"/>
                    <a:pt x="0" y="195708"/>
                  </a:cubicBezTo>
                  <a:lnTo>
                    <a:pt x="0" y="0"/>
                  </a:lnTo>
                  <a:lnTo>
                    <a:pt x="58941" y="0"/>
                  </a:lnTo>
                  <a:lnTo>
                    <a:pt x="58941" y="192485"/>
                  </a:lnTo>
                  <a:cubicBezTo>
                    <a:pt x="58941" y="241294"/>
                    <a:pt x="80127" y="274446"/>
                    <a:pt x="128016" y="274446"/>
                  </a:cubicBezTo>
                  <a:cubicBezTo>
                    <a:pt x="175913" y="274446"/>
                    <a:pt x="194795" y="241755"/>
                    <a:pt x="194795" y="192485"/>
                  </a:cubicBezTo>
                  <a:lnTo>
                    <a:pt x="194795" y="0"/>
                  </a:lnTo>
                  <a:lnTo>
                    <a:pt x="253268" y="0"/>
                  </a:lnTo>
                  <a:lnTo>
                    <a:pt x="253268" y="19570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3" name="Freihandform: Form 234">
              <a:extLst>
                <a:ext uri="{FF2B5EF4-FFF2-40B4-BE49-F238E27FC236}">
                  <a16:creationId xmlns:a16="http://schemas.microsoft.com/office/drawing/2014/main" id="{0C20E9EC-874F-6A47-AF56-614A57812384}"/>
                </a:ext>
              </a:extLst>
            </p:cNvPr>
            <p:cNvSpPr/>
            <p:nvPr/>
          </p:nvSpPr>
          <p:spPr>
            <a:xfrm>
              <a:off x="8804838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8 w 201695"/>
                <a:gd name="connsiteY1" fmla="*/ 240373 h 240373"/>
                <a:gd name="connsiteX2" fmla="*/ 146898 w 201695"/>
                <a:gd name="connsiteY2" fmla="*/ 106370 h 240373"/>
                <a:gd name="connsiteX3" fmla="*/ 103607 w 201695"/>
                <a:gd name="connsiteY3" fmla="*/ 49270 h 240373"/>
                <a:gd name="connsiteX4" fmla="*/ 54798 w 201695"/>
                <a:gd name="connsiteY4" fmla="*/ 105918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8" y="240373"/>
                  </a:lnTo>
                  <a:lnTo>
                    <a:pt x="146898" y="106370"/>
                  </a:lnTo>
                  <a:cubicBezTo>
                    <a:pt x="146898" y="72298"/>
                    <a:pt x="136767" y="49270"/>
                    <a:pt x="103607" y="49270"/>
                  </a:cubicBezTo>
                  <a:cubicBezTo>
                    <a:pt x="65390" y="49270"/>
                    <a:pt x="54798" y="80588"/>
                    <a:pt x="54798" y="105918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7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4" name="Freihandform: Form 235">
              <a:extLst>
                <a:ext uri="{FF2B5EF4-FFF2-40B4-BE49-F238E27FC236}">
                  <a16:creationId xmlns:a16="http://schemas.microsoft.com/office/drawing/2014/main" id="{517AD172-0C5D-074C-80DC-4928DDC7DAEE}"/>
                </a:ext>
              </a:extLst>
            </p:cNvPr>
            <p:cNvSpPr/>
            <p:nvPr/>
          </p:nvSpPr>
          <p:spPr>
            <a:xfrm>
              <a:off x="9068273" y="1941059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2 w 69534"/>
                <a:gd name="connsiteY1" fmla="*/ 66311 h 338461"/>
                <a:gd name="connsiteX2" fmla="*/ 0 w 69534"/>
                <a:gd name="connsiteY2" fmla="*/ 33160 h 338461"/>
                <a:gd name="connsiteX3" fmla="*/ 34532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2" y="66311"/>
                  </a:cubicBezTo>
                  <a:cubicBezTo>
                    <a:pt x="15649" y="66311"/>
                    <a:pt x="0" y="52503"/>
                    <a:pt x="0" y="33160"/>
                  </a:cubicBezTo>
                  <a:cubicBezTo>
                    <a:pt x="0" y="14277"/>
                    <a:pt x="15649" y="0"/>
                    <a:pt x="34532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5" name="Freihandform: Form 236">
              <a:extLst>
                <a:ext uri="{FF2B5EF4-FFF2-40B4-BE49-F238E27FC236}">
                  <a16:creationId xmlns:a16="http://schemas.microsoft.com/office/drawing/2014/main" id="{F83B4445-BA44-524F-8A90-7C87FA14F917}"/>
                </a:ext>
              </a:extLst>
            </p:cNvPr>
            <p:cNvSpPr/>
            <p:nvPr/>
          </p:nvSpPr>
          <p:spPr>
            <a:xfrm>
              <a:off x="9176921" y="2045135"/>
              <a:ext cx="227478" cy="234386"/>
            </a:xfrm>
            <a:custGeom>
              <a:avLst/>
              <a:gdLst>
                <a:gd name="connsiteX0" fmla="*/ 227478 w 227478"/>
                <a:gd name="connsiteY0" fmla="*/ 0 h 234386"/>
                <a:gd name="connsiteX1" fmla="*/ 142284 w 227478"/>
                <a:gd name="connsiteY1" fmla="*/ 234386 h 234386"/>
                <a:gd name="connsiteX2" fmla="*/ 85185 w 227478"/>
                <a:gd name="connsiteY2" fmla="*/ 234386 h 234386"/>
                <a:gd name="connsiteX3" fmla="*/ 0 w 227478"/>
                <a:gd name="connsiteY3" fmla="*/ 0 h 234386"/>
                <a:gd name="connsiteX4" fmla="*/ 60323 w 227478"/>
                <a:gd name="connsiteY4" fmla="*/ 0 h 234386"/>
                <a:gd name="connsiteX5" fmla="*/ 114199 w 227478"/>
                <a:gd name="connsiteY5" fmla="*/ 170387 h 234386"/>
                <a:gd name="connsiteX6" fmla="*/ 115120 w 227478"/>
                <a:gd name="connsiteY6" fmla="*/ 170387 h 234386"/>
                <a:gd name="connsiteX7" fmla="*/ 168997 w 227478"/>
                <a:gd name="connsiteY7" fmla="*/ 0 h 234386"/>
                <a:gd name="connsiteX8" fmla="*/ 227478 w 227478"/>
                <a:gd name="connsiteY8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478" h="234386">
                  <a:moveTo>
                    <a:pt x="227478" y="0"/>
                  </a:moveTo>
                  <a:lnTo>
                    <a:pt x="142284" y="234386"/>
                  </a:lnTo>
                  <a:lnTo>
                    <a:pt x="85185" y="234386"/>
                  </a:lnTo>
                  <a:lnTo>
                    <a:pt x="0" y="0"/>
                  </a:lnTo>
                  <a:lnTo>
                    <a:pt x="60323" y="0"/>
                  </a:lnTo>
                  <a:lnTo>
                    <a:pt x="114199" y="170387"/>
                  </a:lnTo>
                  <a:lnTo>
                    <a:pt x="115120" y="170387"/>
                  </a:lnTo>
                  <a:lnTo>
                    <a:pt x="168997" y="0"/>
                  </a:lnTo>
                  <a:lnTo>
                    <a:pt x="227478" y="0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6" name="Freihandform: Form 237">
              <a:extLst>
                <a:ext uri="{FF2B5EF4-FFF2-40B4-BE49-F238E27FC236}">
                  <a16:creationId xmlns:a16="http://schemas.microsoft.com/office/drawing/2014/main" id="{856184B0-C1E3-5C4B-84B8-12C7F0316EEF}"/>
                </a:ext>
              </a:extLst>
            </p:cNvPr>
            <p:cNvSpPr/>
            <p:nvPr/>
          </p:nvSpPr>
          <p:spPr>
            <a:xfrm>
              <a:off x="9429904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27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8 w 214130"/>
                <a:gd name="connsiteY10" fmla="*/ 101765 h 245899"/>
                <a:gd name="connsiteX11" fmla="*/ 161168 w 214130"/>
                <a:gd name="connsiteY11" fmla="*/ 101765 h 245899"/>
                <a:gd name="connsiteX12" fmla="*/ 109134 w 214130"/>
                <a:gd name="connsiteY12" fmla="*/ 45126 h 245899"/>
                <a:gd name="connsiteX13" fmla="*/ 5479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500" y="245900"/>
                    <a:pt x="0" y="196621"/>
                    <a:pt x="0" y="122489"/>
                  </a:cubicBezTo>
                  <a:cubicBezTo>
                    <a:pt x="0" y="49739"/>
                    <a:pt x="44666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27" y="141824"/>
                  </a:lnTo>
                  <a:cubicBezTo>
                    <a:pt x="61714" y="178208"/>
                    <a:pt x="83352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31" y="233465"/>
                    <a:pt x="151488" y="245900"/>
                    <a:pt x="116034" y="245900"/>
                  </a:cubicBezTo>
                  <a:close/>
                  <a:moveTo>
                    <a:pt x="54798" y="101765"/>
                  </a:moveTo>
                  <a:lnTo>
                    <a:pt x="161168" y="101765"/>
                  </a:lnTo>
                  <a:cubicBezTo>
                    <a:pt x="158873" y="65850"/>
                    <a:pt x="139990" y="45126"/>
                    <a:pt x="109134" y="45126"/>
                  </a:cubicBezTo>
                  <a:cubicBezTo>
                    <a:pt x="78738" y="45134"/>
                    <a:pt x="59394" y="65390"/>
                    <a:pt x="54798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7" name="Freihandform: Form 238">
              <a:extLst>
                <a:ext uri="{FF2B5EF4-FFF2-40B4-BE49-F238E27FC236}">
                  <a16:creationId xmlns:a16="http://schemas.microsoft.com/office/drawing/2014/main" id="{8326E962-E744-2F46-9DD7-5963CAA651CD}"/>
                </a:ext>
              </a:extLst>
            </p:cNvPr>
            <p:cNvSpPr/>
            <p:nvPr/>
          </p:nvSpPr>
          <p:spPr>
            <a:xfrm>
              <a:off x="9703872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94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7 w 141832"/>
                <a:gd name="connsiteY7" fmla="*/ 5979 h 240364"/>
                <a:gd name="connsiteX8" fmla="*/ 53877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793" y="56631"/>
                    <a:pt x="114669" y="53868"/>
                    <a:pt x="102694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7" y="5979"/>
                  </a:lnTo>
                  <a:lnTo>
                    <a:pt x="53877" y="35454"/>
                  </a:lnTo>
                  <a:lnTo>
                    <a:pt x="54798" y="35454"/>
                  </a:lnTo>
                  <a:cubicBezTo>
                    <a:pt x="67224" y="13348"/>
                    <a:pt x="89331" y="0"/>
                    <a:pt x="116042" y="0"/>
                  </a:cubicBezTo>
                  <a:cubicBezTo>
                    <a:pt x="123872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8" name="Freihandform: Form 239">
              <a:extLst>
                <a:ext uri="{FF2B5EF4-FFF2-40B4-BE49-F238E27FC236}">
                  <a16:creationId xmlns:a16="http://schemas.microsoft.com/office/drawing/2014/main" id="{DCB92FD4-2389-9140-A8F7-92248E9D6DF0}"/>
                </a:ext>
              </a:extLst>
            </p:cNvPr>
            <p:cNvSpPr/>
            <p:nvPr/>
          </p:nvSpPr>
          <p:spPr>
            <a:xfrm>
              <a:off x="9871287" y="2039148"/>
              <a:ext cx="180510" cy="245891"/>
            </a:xfrm>
            <a:custGeom>
              <a:avLst/>
              <a:gdLst>
                <a:gd name="connsiteX0" fmla="*/ 26234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2 h 245891"/>
                <a:gd name="connsiteX11" fmla="*/ 0 w 180510"/>
                <a:gd name="connsiteY11" fmla="*/ 217337 h 245891"/>
                <a:gd name="connsiteX12" fmla="*/ 26234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4" y="174063"/>
                  </a:moveTo>
                  <a:cubicBezTo>
                    <a:pt x="49261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82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2"/>
                    <a:pt x="90251" y="245892"/>
                  </a:cubicBezTo>
                  <a:cubicBezTo>
                    <a:pt x="58941" y="245892"/>
                    <a:pt x="27172" y="236220"/>
                    <a:pt x="0" y="217337"/>
                  </a:cubicBezTo>
                  <a:lnTo>
                    <a:pt x="26234" y="17406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9" name="Freihandform: Form 240">
              <a:extLst>
                <a:ext uri="{FF2B5EF4-FFF2-40B4-BE49-F238E27FC236}">
                  <a16:creationId xmlns:a16="http://schemas.microsoft.com/office/drawing/2014/main" id="{4171F757-5F70-944A-8817-6E94347704FF}"/>
                </a:ext>
              </a:extLst>
            </p:cNvPr>
            <p:cNvSpPr/>
            <p:nvPr/>
          </p:nvSpPr>
          <p:spPr>
            <a:xfrm>
              <a:off x="10103018" y="1941059"/>
              <a:ext cx="69535" cy="338461"/>
            </a:xfrm>
            <a:custGeom>
              <a:avLst/>
              <a:gdLst>
                <a:gd name="connsiteX0" fmla="*/ 69535 w 69535"/>
                <a:gd name="connsiteY0" fmla="*/ 33160 h 338461"/>
                <a:gd name="connsiteX1" fmla="*/ 34533 w 69535"/>
                <a:gd name="connsiteY1" fmla="*/ 66311 h 338461"/>
                <a:gd name="connsiteX2" fmla="*/ 0 w 69535"/>
                <a:gd name="connsiteY2" fmla="*/ 33160 h 338461"/>
                <a:gd name="connsiteX3" fmla="*/ 34533 w 69535"/>
                <a:gd name="connsiteY3" fmla="*/ 0 h 338461"/>
                <a:gd name="connsiteX4" fmla="*/ 69535 w 69535"/>
                <a:gd name="connsiteY4" fmla="*/ 33160 h 338461"/>
                <a:gd name="connsiteX5" fmla="*/ 62166 w 69535"/>
                <a:gd name="connsiteY5" fmla="*/ 338462 h 338461"/>
                <a:gd name="connsiteX6" fmla="*/ 7369 w 69535"/>
                <a:gd name="connsiteY6" fmla="*/ 338462 h 338461"/>
                <a:gd name="connsiteX7" fmla="*/ 7369 w 69535"/>
                <a:gd name="connsiteY7" fmla="*/ 104076 h 338461"/>
                <a:gd name="connsiteX8" fmla="*/ 62166 w 69535"/>
                <a:gd name="connsiteY8" fmla="*/ 104076 h 338461"/>
                <a:gd name="connsiteX9" fmla="*/ 62166 w 69535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5" h="338461">
                  <a:moveTo>
                    <a:pt x="69535" y="33160"/>
                  </a:moveTo>
                  <a:cubicBezTo>
                    <a:pt x="69535" y="52503"/>
                    <a:pt x="53877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7" y="0"/>
                    <a:pt x="69535" y="14277"/>
                    <a:pt x="69535" y="33160"/>
                  </a:cubicBezTo>
                  <a:close/>
                  <a:moveTo>
                    <a:pt x="62166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6" y="104076"/>
                  </a:lnTo>
                  <a:lnTo>
                    <a:pt x="62166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0" name="Freihandform: Form 241">
              <a:extLst>
                <a:ext uri="{FF2B5EF4-FFF2-40B4-BE49-F238E27FC236}">
                  <a16:creationId xmlns:a16="http://schemas.microsoft.com/office/drawing/2014/main" id="{6257016F-8F9D-2E46-B394-E8FE7C9683F4}"/>
                </a:ext>
              </a:extLst>
            </p:cNvPr>
            <p:cNvSpPr/>
            <p:nvPr/>
          </p:nvSpPr>
          <p:spPr>
            <a:xfrm>
              <a:off x="10211675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1" name="Freihandform: Form 242">
              <a:extLst>
                <a:ext uri="{FF2B5EF4-FFF2-40B4-BE49-F238E27FC236}">
                  <a16:creationId xmlns:a16="http://schemas.microsoft.com/office/drawing/2014/main" id="{2BF30C56-C1B7-7544-B1CF-EBBC924BE172}"/>
                </a:ext>
              </a:extLst>
            </p:cNvPr>
            <p:cNvSpPr/>
            <p:nvPr/>
          </p:nvSpPr>
          <p:spPr>
            <a:xfrm>
              <a:off x="10400449" y="1944744"/>
              <a:ext cx="198923" cy="340304"/>
            </a:xfrm>
            <a:custGeom>
              <a:avLst/>
              <a:gdLst>
                <a:gd name="connsiteX0" fmla="*/ 100835 w 198923"/>
                <a:gd name="connsiteY0" fmla="*/ 189261 h 340304"/>
                <a:gd name="connsiteX1" fmla="*/ 145040 w 198923"/>
                <a:gd name="connsiteY1" fmla="*/ 194327 h 340304"/>
                <a:gd name="connsiteX2" fmla="*/ 145040 w 198923"/>
                <a:gd name="connsiteY2" fmla="*/ 186037 h 340304"/>
                <a:gd name="connsiteX3" fmla="*/ 93466 w 198923"/>
                <a:gd name="connsiteY3" fmla="*/ 140451 h 340304"/>
                <a:gd name="connsiteX4" fmla="*/ 34064 w 198923"/>
                <a:gd name="connsiteY4" fmla="*/ 153807 h 340304"/>
                <a:gd name="connsiteX5" fmla="*/ 22090 w 198923"/>
                <a:gd name="connsiteY5" fmla="*/ 107760 h 340304"/>
                <a:gd name="connsiteX6" fmla="*/ 98993 w 198923"/>
                <a:gd name="connsiteY6" fmla="*/ 94404 h 340304"/>
                <a:gd name="connsiteX7" fmla="*/ 198924 w 198923"/>
                <a:gd name="connsiteY7" fmla="*/ 185116 h 340304"/>
                <a:gd name="connsiteX8" fmla="*/ 198924 w 198923"/>
                <a:gd name="connsiteY8" fmla="*/ 334778 h 340304"/>
                <a:gd name="connsiteX9" fmla="*/ 146882 w 198923"/>
                <a:gd name="connsiteY9" fmla="*/ 334778 h 340304"/>
                <a:gd name="connsiteX10" fmla="*/ 146882 w 198923"/>
                <a:gd name="connsiteY10" fmla="*/ 309908 h 340304"/>
                <a:gd name="connsiteX11" fmla="*/ 145969 w 198923"/>
                <a:gd name="connsiteY11" fmla="*/ 309908 h 340304"/>
                <a:gd name="connsiteX12" fmla="*/ 77356 w 198923"/>
                <a:gd name="connsiteY12" fmla="*/ 340304 h 340304"/>
                <a:gd name="connsiteX13" fmla="*/ 0 w 198923"/>
                <a:gd name="connsiteY13" fmla="*/ 265703 h 340304"/>
                <a:gd name="connsiteX14" fmla="*/ 100835 w 198923"/>
                <a:gd name="connsiteY14" fmla="*/ 189261 h 340304"/>
                <a:gd name="connsiteX15" fmla="*/ 56170 w 198923"/>
                <a:gd name="connsiteY15" fmla="*/ 64008 h 340304"/>
                <a:gd name="connsiteX16" fmla="*/ 23480 w 198923"/>
                <a:gd name="connsiteY16" fmla="*/ 32238 h 340304"/>
                <a:gd name="connsiteX17" fmla="*/ 56170 w 198923"/>
                <a:gd name="connsiteY17" fmla="*/ 0 h 340304"/>
                <a:gd name="connsiteX18" fmla="*/ 88861 w 198923"/>
                <a:gd name="connsiteY18" fmla="*/ 32238 h 340304"/>
                <a:gd name="connsiteX19" fmla="*/ 56170 w 198923"/>
                <a:gd name="connsiteY19" fmla="*/ 64008 h 340304"/>
                <a:gd name="connsiteX20" fmla="*/ 91624 w 198923"/>
                <a:gd name="connsiteY20" fmla="*/ 299324 h 340304"/>
                <a:gd name="connsiteX21" fmla="*/ 145040 w 198923"/>
                <a:gd name="connsiteY21" fmla="*/ 271238 h 340304"/>
                <a:gd name="connsiteX22" fmla="*/ 145040 w 198923"/>
                <a:gd name="connsiteY22" fmla="*/ 230250 h 340304"/>
                <a:gd name="connsiteX23" fmla="*/ 106823 w 198923"/>
                <a:gd name="connsiteY23" fmla="*/ 225644 h 340304"/>
                <a:gd name="connsiteX24" fmla="*/ 52486 w 198923"/>
                <a:gd name="connsiteY24" fmla="*/ 264322 h 340304"/>
                <a:gd name="connsiteX25" fmla="*/ 91624 w 198923"/>
                <a:gd name="connsiteY25" fmla="*/ 299324 h 340304"/>
                <a:gd name="connsiteX26" fmla="*/ 151948 w 198923"/>
                <a:gd name="connsiteY26" fmla="*/ 64008 h 340304"/>
                <a:gd name="connsiteX27" fmla="*/ 119258 w 198923"/>
                <a:gd name="connsiteY27" fmla="*/ 32238 h 340304"/>
                <a:gd name="connsiteX28" fmla="*/ 151948 w 198923"/>
                <a:gd name="connsiteY28" fmla="*/ 0 h 340304"/>
                <a:gd name="connsiteX29" fmla="*/ 184639 w 198923"/>
                <a:gd name="connsiteY29" fmla="*/ 32238 h 340304"/>
                <a:gd name="connsiteX30" fmla="*/ 151948 w 198923"/>
                <a:gd name="connsiteY30" fmla="*/ 64008 h 3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923" h="340304">
                  <a:moveTo>
                    <a:pt x="100835" y="189261"/>
                  </a:moveTo>
                  <a:cubicBezTo>
                    <a:pt x="116026" y="189261"/>
                    <a:pt x="129851" y="190182"/>
                    <a:pt x="145040" y="194327"/>
                  </a:cubicBezTo>
                  <a:lnTo>
                    <a:pt x="145040" y="186037"/>
                  </a:lnTo>
                  <a:cubicBezTo>
                    <a:pt x="145040" y="156109"/>
                    <a:pt x="127539" y="140451"/>
                    <a:pt x="93466" y="140451"/>
                  </a:cubicBezTo>
                  <a:cubicBezTo>
                    <a:pt x="74584" y="140451"/>
                    <a:pt x="53407" y="145056"/>
                    <a:pt x="34064" y="153807"/>
                  </a:cubicBezTo>
                  <a:lnTo>
                    <a:pt x="22090" y="107760"/>
                  </a:lnTo>
                  <a:cubicBezTo>
                    <a:pt x="43727" y="99470"/>
                    <a:pt x="72282" y="94404"/>
                    <a:pt x="98993" y="94404"/>
                  </a:cubicBezTo>
                  <a:cubicBezTo>
                    <a:pt x="164844" y="94404"/>
                    <a:pt x="198924" y="125261"/>
                    <a:pt x="198924" y="185116"/>
                  </a:cubicBezTo>
                  <a:lnTo>
                    <a:pt x="198924" y="334778"/>
                  </a:lnTo>
                  <a:lnTo>
                    <a:pt x="146882" y="334778"/>
                  </a:lnTo>
                  <a:lnTo>
                    <a:pt x="146882" y="309908"/>
                  </a:lnTo>
                  <a:lnTo>
                    <a:pt x="145969" y="309908"/>
                  </a:lnTo>
                  <a:cubicBezTo>
                    <a:pt x="125705" y="330633"/>
                    <a:pt x="104528" y="340304"/>
                    <a:pt x="77356" y="340304"/>
                  </a:cubicBezTo>
                  <a:cubicBezTo>
                    <a:pt x="30388" y="340304"/>
                    <a:pt x="0" y="311290"/>
                    <a:pt x="0" y="265703"/>
                  </a:cubicBezTo>
                  <a:cubicBezTo>
                    <a:pt x="-8" y="215973"/>
                    <a:pt x="35446" y="189261"/>
                    <a:pt x="100835" y="189261"/>
                  </a:cubicBezTo>
                  <a:close/>
                  <a:moveTo>
                    <a:pt x="56170" y="64008"/>
                  </a:moveTo>
                  <a:cubicBezTo>
                    <a:pt x="38670" y="64008"/>
                    <a:pt x="23480" y="49270"/>
                    <a:pt x="23480" y="32238"/>
                  </a:cubicBezTo>
                  <a:cubicBezTo>
                    <a:pt x="23480" y="15198"/>
                    <a:pt x="38670" y="0"/>
                    <a:pt x="56170" y="0"/>
                  </a:cubicBezTo>
                  <a:cubicBezTo>
                    <a:pt x="73671" y="0"/>
                    <a:pt x="88861" y="15190"/>
                    <a:pt x="88861" y="32238"/>
                  </a:cubicBezTo>
                  <a:cubicBezTo>
                    <a:pt x="88861" y="49270"/>
                    <a:pt x="73671" y="64008"/>
                    <a:pt x="56170" y="64008"/>
                  </a:cubicBezTo>
                  <a:close/>
                  <a:moveTo>
                    <a:pt x="91624" y="299324"/>
                  </a:moveTo>
                  <a:cubicBezTo>
                    <a:pt x="111420" y="299324"/>
                    <a:pt x="129841" y="289652"/>
                    <a:pt x="145040" y="271238"/>
                  </a:cubicBezTo>
                  <a:lnTo>
                    <a:pt x="145040" y="230250"/>
                  </a:lnTo>
                  <a:cubicBezTo>
                    <a:pt x="132144" y="227026"/>
                    <a:pt x="118789" y="225644"/>
                    <a:pt x="106823" y="225644"/>
                  </a:cubicBezTo>
                  <a:cubicBezTo>
                    <a:pt x="72290" y="225644"/>
                    <a:pt x="52486" y="239452"/>
                    <a:pt x="52486" y="264322"/>
                  </a:cubicBezTo>
                  <a:cubicBezTo>
                    <a:pt x="52477" y="285968"/>
                    <a:pt x="67684" y="299324"/>
                    <a:pt x="91624" y="299324"/>
                  </a:cubicBezTo>
                  <a:close/>
                  <a:moveTo>
                    <a:pt x="151948" y="64008"/>
                  </a:moveTo>
                  <a:cubicBezTo>
                    <a:pt x="134447" y="64008"/>
                    <a:pt x="119258" y="49270"/>
                    <a:pt x="119258" y="32238"/>
                  </a:cubicBezTo>
                  <a:cubicBezTo>
                    <a:pt x="119258" y="15198"/>
                    <a:pt x="134447" y="0"/>
                    <a:pt x="151948" y="0"/>
                  </a:cubicBezTo>
                  <a:cubicBezTo>
                    <a:pt x="169448" y="0"/>
                    <a:pt x="184639" y="15190"/>
                    <a:pt x="184639" y="32238"/>
                  </a:cubicBezTo>
                  <a:cubicBezTo>
                    <a:pt x="184647" y="49270"/>
                    <a:pt x="169448" y="64008"/>
                    <a:pt x="151948" y="6400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2" name="Freihandform: Form 243">
              <a:extLst>
                <a:ext uri="{FF2B5EF4-FFF2-40B4-BE49-F238E27FC236}">
                  <a16:creationId xmlns:a16="http://schemas.microsoft.com/office/drawing/2014/main" id="{F7CD9617-8F30-4B49-A7E4-3EAC509775B5}"/>
                </a:ext>
              </a:extLst>
            </p:cNvPr>
            <p:cNvSpPr/>
            <p:nvPr/>
          </p:nvSpPr>
          <p:spPr>
            <a:xfrm>
              <a:off x="10641954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67" y="264791"/>
                    <a:pt x="145977" y="26018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3" name="Freihandform: Form 244">
              <a:extLst>
                <a:ext uri="{FF2B5EF4-FFF2-40B4-BE49-F238E27FC236}">
                  <a16:creationId xmlns:a16="http://schemas.microsoft.com/office/drawing/2014/main" id="{BAB093E7-3685-6340-B9B5-88D38A8D5923}"/>
                </a:ext>
              </a:extLst>
            </p:cNvPr>
            <p:cNvSpPr/>
            <p:nvPr/>
          </p:nvSpPr>
          <p:spPr>
            <a:xfrm>
              <a:off x="4034676" y="2461949"/>
              <a:ext cx="203537" cy="324184"/>
            </a:xfrm>
            <a:custGeom>
              <a:avLst/>
              <a:gdLst>
                <a:gd name="connsiteX0" fmla="*/ 203538 w 203537"/>
                <a:gd name="connsiteY0" fmla="*/ 52955 h 324184"/>
                <a:gd name="connsiteX1" fmla="*/ 57561 w 203537"/>
                <a:gd name="connsiteY1" fmla="*/ 52955 h 324184"/>
                <a:gd name="connsiteX2" fmla="*/ 57561 w 203537"/>
                <a:gd name="connsiteY2" fmla="*/ 133543 h 324184"/>
                <a:gd name="connsiteX3" fmla="*/ 166694 w 203537"/>
                <a:gd name="connsiteY3" fmla="*/ 133543 h 324184"/>
                <a:gd name="connsiteX4" fmla="*/ 166694 w 203537"/>
                <a:gd name="connsiteY4" fmla="*/ 186037 h 324184"/>
                <a:gd name="connsiteX5" fmla="*/ 57561 w 203537"/>
                <a:gd name="connsiteY5" fmla="*/ 186037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55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55"/>
                  </a:moveTo>
                  <a:lnTo>
                    <a:pt x="57561" y="52955"/>
                  </a:lnTo>
                  <a:lnTo>
                    <a:pt x="57561" y="133543"/>
                  </a:lnTo>
                  <a:lnTo>
                    <a:pt x="166694" y="133543"/>
                  </a:lnTo>
                  <a:lnTo>
                    <a:pt x="166694" y="186037"/>
                  </a:lnTo>
                  <a:lnTo>
                    <a:pt x="57561" y="186037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5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4" name="Freihandform: Form 245">
              <a:extLst>
                <a:ext uri="{FF2B5EF4-FFF2-40B4-BE49-F238E27FC236}">
                  <a16:creationId xmlns:a16="http://schemas.microsoft.com/office/drawing/2014/main" id="{0051B84B-023D-E74F-8E3A-F94E4A88C194}"/>
                </a:ext>
              </a:extLst>
            </p:cNvPr>
            <p:cNvSpPr/>
            <p:nvPr/>
          </p:nvSpPr>
          <p:spPr>
            <a:xfrm>
              <a:off x="4248564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94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5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7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52" y="132621"/>
                    <a:pt x="118796" y="131240"/>
                    <a:pt x="106822" y="131240"/>
                  </a:cubicBezTo>
                  <a:cubicBezTo>
                    <a:pt x="72289" y="131240"/>
                    <a:pt x="52494" y="145048"/>
                    <a:pt x="52494" y="169918"/>
                  </a:cubicBezTo>
                  <a:cubicBezTo>
                    <a:pt x="52494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5" name="Freihandform: Form 246">
              <a:extLst>
                <a:ext uri="{FF2B5EF4-FFF2-40B4-BE49-F238E27FC236}">
                  <a16:creationId xmlns:a16="http://schemas.microsoft.com/office/drawing/2014/main" id="{4BAFB966-823E-4F41-89AB-EA370343F181}"/>
                </a:ext>
              </a:extLst>
            </p:cNvPr>
            <p:cNvSpPr/>
            <p:nvPr/>
          </p:nvSpPr>
          <p:spPr>
            <a:xfrm>
              <a:off x="4504663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1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09" y="50191"/>
                  </a:cubicBezTo>
                  <a:cubicBezTo>
                    <a:pt x="78276" y="50191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71" y="196161"/>
                    <a:pt x="145509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6" name="Freihandform: Form 247">
              <a:extLst>
                <a:ext uri="{FF2B5EF4-FFF2-40B4-BE49-F238E27FC236}">
                  <a16:creationId xmlns:a16="http://schemas.microsoft.com/office/drawing/2014/main" id="{AF1CCB16-C922-9E43-86CB-2B2B1C376275}"/>
                </a:ext>
              </a:extLst>
            </p:cNvPr>
            <p:cNvSpPr/>
            <p:nvPr/>
          </p:nvSpPr>
          <p:spPr>
            <a:xfrm>
              <a:off x="4749206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8 w 201695"/>
                <a:gd name="connsiteY10" fmla="*/ 136298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298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7" name="Freihandform: Form 248">
              <a:extLst>
                <a:ext uri="{FF2B5EF4-FFF2-40B4-BE49-F238E27FC236}">
                  <a16:creationId xmlns:a16="http://schemas.microsoft.com/office/drawing/2014/main" id="{A5B8446F-9D49-F741-8DDA-4EF3B3428618}"/>
                </a:ext>
              </a:extLst>
            </p:cNvPr>
            <p:cNvSpPr/>
            <p:nvPr/>
          </p:nvSpPr>
          <p:spPr>
            <a:xfrm>
              <a:off x="5020788" y="2443535"/>
              <a:ext cx="218735" cy="348125"/>
            </a:xfrm>
            <a:custGeom>
              <a:avLst/>
              <a:gdLst>
                <a:gd name="connsiteX0" fmla="*/ 218736 w 218735"/>
                <a:gd name="connsiteY0" fmla="*/ 223785 h 348125"/>
                <a:gd name="connsiteX1" fmla="*/ 122959 w 218735"/>
                <a:gd name="connsiteY1" fmla="*/ 348125 h 348125"/>
                <a:gd name="connsiteX2" fmla="*/ 53424 w 218735"/>
                <a:gd name="connsiteY2" fmla="*/ 315434 h 348125"/>
                <a:gd name="connsiteX3" fmla="*/ 52503 w 218735"/>
                <a:gd name="connsiteY3" fmla="*/ 315434 h 348125"/>
                <a:gd name="connsiteX4" fmla="*/ 52503 w 218735"/>
                <a:gd name="connsiteY4" fmla="*/ 342599 h 348125"/>
                <a:gd name="connsiteX5" fmla="*/ 0 w 218735"/>
                <a:gd name="connsiteY5" fmla="*/ 342599 h 348125"/>
                <a:gd name="connsiteX6" fmla="*/ 0 w 218735"/>
                <a:gd name="connsiteY6" fmla="*/ 13808 h 348125"/>
                <a:gd name="connsiteX7" fmla="*/ 54806 w 218735"/>
                <a:gd name="connsiteY7" fmla="*/ 0 h 348125"/>
                <a:gd name="connsiteX8" fmla="*/ 54806 w 218735"/>
                <a:gd name="connsiteY8" fmla="*/ 135376 h 348125"/>
                <a:gd name="connsiteX9" fmla="*/ 55719 w 218735"/>
                <a:gd name="connsiteY9" fmla="*/ 135376 h 348125"/>
                <a:gd name="connsiteX10" fmla="*/ 124332 w 218735"/>
                <a:gd name="connsiteY10" fmla="*/ 102225 h 348125"/>
                <a:gd name="connsiteX11" fmla="*/ 218736 w 218735"/>
                <a:gd name="connsiteY11" fmla="*/ 223785 h 348125"/>
                <a:gd name="connsiteX12" fmla="*/ 164852 w 218735"/>
                <a:gd name="connsiteY12" fmla="*/ 225167 h 348125"/>
                <a:gd name="connsiteX13" fmla="*/ 110055 w 218735"/>
                <a:gd name="connsiteY13" fmla="*/ 151487 h 348125"/>
                <a:gd name="connsiteX14" fmla="*/ 54797 w 218735"/>
                <a:gd name="connsiteY14" fmla="*/ 181883 h 348125"/>
                <a:gd name="connsiteX15" fmla="*/ 54797 w 218735"/>
                <a:gd name="connsiteY15" fmla="*/ 267537 h 348125"/>
                <a:gd name="connsiteX16" fmla="*/ 110507 w 218735"/>
                <a:gd name="connsiteY16" fmla="*/ 299315 h 348125"/>
                <a:gd name="connsiteX17" fmla="*/ 164852 w 218735"/>
                <a:gd name="connsiteY17" fmla="*/ 225167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8735" h="348125">
                  <a:moveTo>
                    <a:pt x="218736" y="223785"/>
                  </a:moveTo>
                  <a:cubicBezTo>
                    <a:pt x="218736" y="299315"/>
                    <a:pt x="180519" y="348125"/>
                    <a:pt x="122959" y="348125"/>
                  </a:cubicBezTo>
                  <a:cubicBezTo>
                    <a:pt x="93483" y="348125"/>
                    <a:pt x="69074" y="335690"/>
                    <a:pt x="53424" y="315434"/>
                  </a:cubicBezTo>
                  <a:lnTo>
                    <a:pt x="52503" y="315434"/>
                  </a:lnTo>
                  <a:lnTo>
                    <a:pt x="52503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806" y="0"/>
                  </a:lnTo>
                  <a:lnTo>
                    <a:pt x="54806" y="135376"/>
                  </a:lnTo>
                  <a:lnTo>
                    <a:pt x="55719" y="135376"/>
                  </a:lnTo>
                  <a:cubicBezTo>
                    <a:pt x="71377" y="114652"/>
                    <a:pt x="95317" y="102225"/>
                    <a:pt x="124332" y="102225"/>
                  </a:cubicBezTo>
                  <a:cubicBezTo>
                    <a:pt x="180510" y="102217"/>
                    <a:pt x="218736" y="147803"/>
                    <a:pt x="218736" y="223785"/>
                  </a:cubicBezTo>
                  <a:close/>
                  <a:moveTo>
                    <a:pt x="164852" y="225167"/>
                  </a:moveTo>
                  <a:cubicBezTo>
                    <a:pt x="164852" y="176826"/>
                    <a:pt x="145056" y="151487"/>
                    <a:pt x="110055" y="151487"/>
                  </a:cubicBezTo>
                  <a:cubicBezTo>
                    <a:pt x="88878" y="151487"/>
                    <a:pt x="71838" y="160707"/>
                    <a:pt x="54797" y="181883"/>
                  </a:cubicBezTo>
                  <a:lnTo>
                    <a:pt x="54797" y="267537"/>
                  </a:lnTo>
                  <a:cubicBezTo>
                    <a:pt x="70448" y="288262"/>
                    <a:pt x="87949" y="299315"/>
                    <a:pt x="110507" y="299315"/>
                  </a:cubicBezTo>
                  <a:cubicBezTo>
                    <a:pt x="145969" y="299307"/>
                    <a:pt x="164852" y="272134"/>
                    <a:pt x="164852" y="225167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8" name="Freihandform: Form 249">
              <a:extLst>
                <a:ext uri="{FF2B5EF4-FFF2-40B4-BE49-F238E27FC236}">
                  <a16:creationId xmlns:a16="http://schemas.microsoft.com/office/drawing/2014/main" id="{870A3657-DD27-0445-8C25-C01E47072770}"/>
                </a:ext>
              </a:extLst>
            </p:cNvPr>
            <p:cNvSpPr/>
            <p:nvPr/>
          </p:nvSpPr>
          <p:spPr>
            <a:xfrm>
              <a:off x="5287630" y="2545752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806 w 214138"/>
                <a:gd name="connsiteY10" fmla="*/ 101765 h 245899"/>
                <a:gd name="connsiteX11" fmla="*/ 161176 w 214138"/>
                <a:gd name="connsiteY11" fmla="*/ 101765 h 245899"/>
                <a:gd name="connsiteX12" fmla="*/ 109134 w 214138"/>
                <a:gd name="connsiteY12" fmla="*/ 45125 h 245899"/>
                <a:gd name="connsiteX13" fmla="*/ 54806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7" y="198924"/>
                    <a:pt x="155658" y="190634"/>
                    <a:pt x="174079" y="171291"/>
                  </a:cubicBezTo>
                  <a:lnTo>
                    <a:pt x="208152" y="207214"/>
                  </a:lnTo>
                  <a:cubicBezTo>
                    <a:pt x="181440" y="233465"/>
                    <a:pt x="151504" y="245900"/>
                    <a:pt x="116042" y="245900"/>
                  </a:cubicBezTo>
                  <a:close/>
                  <a:moveTo>
                    <a:pt x="54806" y="101765"/>
                  </a:moveTo>
                  <a:lnTo>
                    <a:pt x="161176" y="101765"/>
                  </a:lnTo>
                  <a:cubicBezTo>
                    <a:pt x="158873" y="65850"/>
                    <a:pt x="139990" y="45125"/>
                    <a:pt x="109134" y="45125"/>
                  </a:cubicBezTo>
                  <a:cubicBezTo>
                    <a:pt x="78746" y="45134"/>
                    <a:pt x="59411" y="65390"/>
                    <a:pt x="54806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9" name="Freihandform: Form 250">
              <a:extLst>
                <a:ext uri="{FF2B5EF4-FFF2-40B4-BE49-F238E27FC236}">
                  <a16:creationId xmlns:a16="http://schemas.microsoft.com/office/drawing/2014/main" id="{C4124434-9F18-8749-8CBA-7FFE97BD73C2}"/>
                </a:ext>
              </a:extLst>
            </p:cNvPr>
            <p:cNvSpPr/>
            <p:nvPr/>
          </p:nvSpPr>
          <p:spPr>
            <a:xfrm>
              <a:off x="5561607" y="2545769"/>
              <a:ext cx="141832" cy="240365"/>
            </a:xfrm>
            <a:custGeom>
              <a:avLst/>
              <a:gdLst>
                <a:gd name="connsiteX0" fmla="*/ 141833 w 141832"/>
                <a:gd name="connsiteY0" fmla="*/ 5049 h 240365"/>
                <a:gd name="connsiteX1" fmla="*/ 133082 w 141832"/>
                <a:gd name="connsiteY1" fmla="*/ 61228 h 240365"/>
                <a:gd name="connsiteX2" fmla="*/ 102686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34 w 141832"/>
                <a:gd name="connsiteY10" fmla="*/ 0 h 240365"/>
                <a:gd name="connsiteX11" fmla="*/ 141833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3" y="5049"/>
                  </a:moveTo>
                  <a:lnTo>
                    <a:pt x="133082" y="61228"/>
                  </a:lnTo>
                  <a:cubicBezTo>
                    <a:pt x="124792" y="56623"/>
                    <a:pt x="114661" y="53859"/>
                    <a:pt x="102686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4" y="0"/>
                  </a:cubicBezTo>
                  <a:cubicBezTo>
                    <a:pt x="123879" y="-17"/>
                    <a:pt x="133543" y="1365"/>
                    <a:pt x="141833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0" name="Freihandform: Form 251">
              <a:extLst>
                <a:ext uri="{FF2B5EF4-FFF2-40B4-BE49-F238E27FC236}">
                  <a16:creationId xmlns:a16="http://schemas.microsoft.com/office/drawing/2014/main" id="{BE4F02D9-2693-4646-9E53-DF918A0EB149}"/>
                </a:ext>
              </a:extLst>
            </p:cNvPr>
            <p:cNvSpPr/>
            <p:nvPr/>
          </p:nvSpPr>
          <p:spPr>
            <a:xfrm>
              <a:off x="5733668" y="2545752"/>
              <a:ext cx="214138" cy="245899"/>
            </a:xfrm>
            <a:custGeom>
              <a:avLst/>
              <a:gdLst>
                <a:gd name="connsiteX0" fmla="*/ 116041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6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1 w 214138"/>
                <a:gd name="connsiteY8" fmla="*/ 207214 h 245899"/>
                <a:gd name="connsiteX9" fmla="*/ 116041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5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1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6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6" y="198924"/>
                    <a:pt x="155657" y="190634"/>
                    <a:pt x="174079" y="171291"/>
                  </a:cubicBezTo>
                  <a:lnTo>
                    <a:pt x="208151" y="207214"/>
                  </a:lnTo>
                  <a:cubicBezTo>
                    <a:pt x="181431" y="233465"/>
                    <a:pt x="151495" y="245900"/>
                    <a:pt x="116041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5"/>
                    <a:pt x="109125" y="45125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1" name="Freihandform: Form 252">
              <a:extLst>
                <a:ext uri="{FF2B5EF4-FFF2-40B4-BE49-F238E27FC236}">
                  <a16:creationId xmlns:a16="http://schemas.microsoft.com/office/drawing/2014/main" id="{638B3A4F-4611-5942-8784-73DFF4DB7DD6}"/>
                </a:ext>
              </a:extLst>
            </p:cNvPr>
            <p:cNvSpPr/>
            <p:nvPr/>
          </p:nvSpPr>
          <p:spPr>
            <a:xfrm>
              <a:off x="5999489" y="2447663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2" name="Freihandform: Form 253">
              <a:extLst>
                <a:ext uri="{FF2B5EF4-FFF2-40B4-BE49-F238E27FC236}">
                  <a16:creationId xmlns:a16="http://schemas.microsoft.com/office/drawing/2014/main" id="{8DEBDADB-4DAD-BA4E-949D-ECADBE6E57A8}"/>
                </a:ext>
              </a:extLst>
            </p:cNvPr>
            <p:cNvSpPr/>
            <p:nvPr/>
          </p:nvSpPr>
          <p:spPr>
            <a:xfrm>
              <a:off x="6120438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8 w 197542"/>
                <a:gd name="connsiteY5" fmla="*/ 75974 h 245899"/>
                <a:gd name="connsiteX6" fmla="*/ 112810 w 197542"/>
                <a:gd name="connsiteY6" fmla="*/ 50191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8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63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3" name="Freihandform: Form 254">
              <a:extLst>
                <a:ext uri="{FF2B5EF4-FFF2-40B4-BE49-F238E27FC236}">
                  <a16:creationId xmlns:a16="http://schemas.microsoft.com/office/drawing/2014/main" id="{D63D2EBA-E6BE-EE40-A4F9-901ABAE18641}"/>
                </a:ext>
              </a:extLst>
            </p:cNvPr>
            <p:cNvSpPr/>
            <p:nvPr/>
          </p:nvSpPr>
          <p:spPr>
            <a:xfrm>
              <a:off x="6364973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9 w 201695"/>
                <a:gd name="connsiteY10" fmla="*/ 136298 h 342598"/>
                <a:gd name="connsiteX11" fmla="*/ 124324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9" y="136298"/>
                  </a:lnTo>
                  <a:cubicBezTo>
                    <a:pt x="69074" y="115573"/>
                    <a:pt x="93483" y="102225"/>
                    <a:pt x="124324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4" name="Freihandform: Form 255">
              <a:extLst>
                <a:ext uri="{FF2B5EF4-FFF2-40B4-BE49-F238E27FC236}">
                  <a16:creationId xmlns:a16="http://schemas.microsoft.com/office/drawing/2014/main" id="{5D21E38F-0C44-C245-B0AA-44A8F5144D50}"/>
                </a:ext>
              </a:extLst>
            </p:cNvPr>
            <p:cNvSpPr/>
            <p:nvPr/>
          </p:nvSpPr>
          <p:spPr>
            <a:xfrm>
              <a:off x="6751826" y="2461940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9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2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9 w 398768"/>
                <a:gd name="connsiteY9" fmla="*/ 0 h 324184"/>
                <a:gd name="connsiteX10" fmla="*/ 317260 w 398768"/>
                <a:gd name="connsiteY10" fmla="*/ 324185 h 324184"/>
                <a:gd name="connsiteX11" fmla="*/ 257858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9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2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9" y="0"/>
                  </a:lnTo>
                  <a:lnTo>
                    <a:pt x="317260" y="324185"/>
                  </a:lnTo>
                  <a:lnTo>
                    <a:pt x="257858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5" name="Freihandform: Form 256">
              <a:extLst>
                <a:ext uri="{FF2B5EF4-FFF2-40B4-BE49-F238E27FC236}">
                  <a16:creationId xmlns:a16="http://schemas.microsoft.com/office/drawing/2014/main" id="{3CC6A7CB-3E31-8541-8006-B5984A15B9ED}"/>
                </a:ext>
              </a:extLst>
            </p:cNvPr>
            <p:cNvSpPr/>
            <p:nvPr/>
          </p:nvSpPr>
          <p:spPr>
            <a:xfrm>
              <a:off x="7196759" y="2447663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6" name="Freihandform: Form 257">
              <a:extLst>
                <a:ext uri="{FF2B5EF4-FFF2-40B4-BE49-F238E27FC236}">
                  <a16:creationId xmlns:a16="http://schemas.microsoft.com/office/drawing/2014/main" id="{E74133E8-6F5E-5643-A6FC-F8D6234A9F2A}"/>
                </a:ext>
              </a:extLst>
            </p:cNvPr>
            <p:cNvSpPr/>
            <p:nvPr/>
          </p:nvSpPr>
          <p:spPr>
            <a:xfrm>
              <a:off x="7330586" y="2545769"/>
              <a:ext cx="141832" cy="240365"/>
            </a:xfrm>
            <a:custGeom>
              <a:avLst/>
              <a:gdLst>
                <a:gd name="connsiteX0" fmla="*/ 141832 w 141832"/>
                <a:gd name="connsiteY0" fmla="*/ 5049 h 240365"/>
                <a:gd name="connsiteX1" fmla="*/ 133082 w 141832"/>
                <a:gd name="connsiteY1" fmla="*/ 61228 h 240365"/>
                <a:gd name="connsiteX2" fmla="*/ 102694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41 w 141832"/>
                <a:gd name="connsiteY10" fmla="*/ 0 h 240365"/>
                <a:gd name="connsiteX11" fmla="*/ 141832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2" y="5049"/>
                  </a:moveTo>
                  <a:lnTo>
                    <a:pt x="133082" y="61228"/>
                  </a:lnTo>
                  <a:cubicBezTo>
                    <a:pt x="124792" y="56623"/>
                    <a:pt x="114668" y="53859"/>
                    <a:pt x="102694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3" y="13348"/>
                    <a:pt x="89330" y="0"/>
                    <a:pt x="116041" y="0"/>
                  </a:cubicBezTo>
                  <a:cubicBezTo>
                    <a:pt x="123871" y="-17"/>
                    <a:pt x="133543" y="1365"/>
                    <a:pt x="141832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7" name="Freihandform: Form 258">
              <a:extLst>
                <a:ext uri="{FF2B5EF4-FFF2-40B4-BE49-F238E27FC236}">
                  <a16:creationId xmlns:a16="http://schemas.microsoft.com/office/drawing/2014/main" id="{75BE20D8-3438-9645-9840-F163373B96DD}"/>
                </a:ext>
              </a:extLst>
            </p:cNvPr>
            <p:cNvSpPr/>
            <p:nvPr/>
          </p:nvSpPr>
          <p:spPr>
            <a:xfrm>
              <a:off x="7506323" y="2475749"/>
              <a:ext cx="145977" cy="315903"/>
            </a:xfrm>
            <a:custGeom>
              <a:avLst/>
              <a:gdLst>
                <a:gd name="connsiteX0" fmla="*/ 145978 w 145977"/>
                <a:gd name="connsiteY0" fmla="*/ 260185 h 315903"/>
                <a:gd name="connsiteX1" fmla="*/ 145978 w 145977"/>
                <a:gd name="connsiteY1" fmla="*/ 307153 h 315903"/>
                <a:gd name="connsiteX2" fmla="*/ 99923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2 w 145977"/>
                <a:gd name="connsiteY15" fmla="*/ 268006 h 315903"/>
                <a:gd name="connsiteX16" fmla="*/ 145978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3" y="312680"/>
                    <a:pt x="116041" y="315903"/>
                    <a:pt x="99923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20" y="268006"/>
                    <a:pt x="115572" y="268006"/>
                  </a:cubicBezTo>
                  <a:cubicBezTo>
                    <a:pt x="125721" y="268015"/>
                    <a:pt x="136766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8" name="Freihandform: Form 259">
              <a:extLst>
                <a:ext uri="{FF2B5EF4-FFF2-40B4-BE49-F238E27FC236}">
                  <a16:creationId xmlns:a16="http://schemas.microsoft.com/office/drawing/2014/main" id="{518DD1CA-CA79-404C-AB78-4A6A4817AC4F}"/>
                </a:ext>
              </a:extLst>
            </p:cNvPr>
            <p:cNvSpPr/>
            <p:nvPr/>
          </p:nvSpPr>
          <p:spPr>
            <a:xfrm>
              <a:off x="7691154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3" y="53415"/>
                    <a:pt x="115121" y="46499"/>
                    <a:pt x="97159" y="46499"/>
                  </a:cubicBezTo>
                  <a:cubicBezTo>
                    <a:pt x="76896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9" name="Freihandform: Form 260">
              <a:extLst>
                <a:ext uri="{FF2B5EF4-FFF2-40B4-BE49-F238E27FC236}">
                  <a16:creationId xmlns:a16="http://schemas.microsoft.com/office/drawing/2014/main" id="{DC219028-8534-0E49-9417-0E8110EEF41C}"/>
                </a:ext>
              </a:extLst>
            </p:cNvPr>
            <p:cNvSpPr/>
            <p:nvPr/>
          </p:nvSpPr>
          <p:spPr>
            <a:xfrm>
              <a:off x="7916480" y="2545760"/>
              <a:ext cx="197541" cy="245899"/>
            </a:xfrm>
            <a:custGeom>
              <a:avLst/>
              <a:gdLst>
                <a:gd name="connsiteX0" fmla="*/ 196169 w 197541"/>
                <a:gd name="connsiteY0" fmla="*/ 208135 h 245899"/>
                <a:gd name="connsiteX1" fmla="*/ 112357 w 197541"/>
                <a:gd name="connsiteY1" fmla="*/ 245900 h 245899"/>
                <a:gd name="connsiteX2" fmla="*/ 0 w 197541"/>
                <a:gd name="connsiteY2" fmla="*/ 123871 h 245899"/>
                <a:gd name="connsiteX3" fmla="*/ 113278 w 197541"/>
                <a:gd name="connsiteY3" fmla="*/ 0 h 245899"/>
                <a:gd name="connsiteX4" fmla="*/ 197542 w 197541"/>
                <a:gd name="connsiteY4" fmla="*/ 40059 h 245899"/>
                <a:gd name="connsiteX5" fmla="*/ 159777 w 197541"/>
                <a:gd name="connsiteY5" fmla="*/ 75974 h 245899"/>
                <a:gd name="connsiteX6" fmla="*/ 112810 w 197541"/>
                <a:gd name="connsiteY6" fmla="*/ 50191 h 245899"/>
                <a:gd name="connsiteX7" fmla="*/ 54788 w 197541"/>
                <a:gd name="connsiteY7" fmla="*/ 122942 h 245899"/>
                <a:gd name="connsiteX8" fmla="*/ 112349 w 197541"/>
                <a:gd name="connsiteY8" fmla="*/ 196161 h 245899"/>
                <a:gd name="connsiteX9" fmla="*/ 160699 w 197541"/>
                <a:gd name="connsiteY9" fmla="*/ 170370 h 245899"/>
                <a:gd name="connsiteX10" fmla="*/ 196169 w 197541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1" h="245899">
                  <a:moveTo>
                    <a:pt x="196169" y="208135"/>
                  </a:moveTo>
                  <a:cubicBezTo>
                    <a:pt x="172680" y="233926"/>
                    <a:pt x="145977" y="245900"/>
                    <a:pt x="112357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8" y="78737"/>
                    <a:pt x="54788" y="122942"/>
                  </a:cubicBezTo>
                  <a:cubicBezTo>
                    <a:pt x="54788" y="166694"/>
                    <a:pt x="78277" y="196161"/>
                    <a:pt x="112349" y="196161"/>
                  </a:cubicBezTo>
                  <a:cubicBezTo>
                    <a:pt x="130762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0" name="Freihandform: Form 261">
              <a:extLst>
                <a:ext uri="{FF2B5EF4-FFF2-40B4-BE49-F238E27FC236}">
                  <a16:creationId xmlns:a16="http://schemas.microsoft.com/office/drawing/2014/main" id="{690220AA-50CC-EE47-9E9C-AFBF9DBE8C87}"/>
                </a:ext>
              </a:extLst>
            </p:cNvPr>
            <p:cNvSpPr/>
            <p:nvPr/>
          </p:nvSpPr>
          <p:spPr>
            <a:xfrm>
              <a:off x="8161024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8 w 201695"/>
                <a:gd name="connsiteY1" fmla="*/ 342590 h 342598"/>
                <a:gd name="connsiteX2" fmla="*/ 146898 w 201695"/>
                <a:gd name="connsiteY2" fmla="*/ 208587 h 342598"/>
                <a:gd name="connsiteX3" fmla="*/ 103607 w 201695"/>
                <a:gd name="connsiteY3" fmla="*/ 151487 h 342598"/>
                <a:gd name="connsiteX4" fmla="*/ 54798 w 201695"/>
                <a:gd name="connsiteY4" fmla="*/ 208135 h 342598"/>
                <a:gd name="connsiteX5" fmla="*/ 54798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8 w 201695"/>
                <a:gd name="connsiteY8" fmla="*/ 0 h 342598"/>
                <a:gd name="connsiteX9" fmla="*/ 54798 w 201695"/>
                <a:gd name="connsiteY9" fmla="*/ 136298 h 342598"/>
                <a:gd name="connsiteX10" fmla="*/ 55719 w 201695"/>
                <a:gd name="connsiteY10" fmla="*/ 136298 h 342598"/>
                <a:gd name="connsiteX11" fmla="*/ 124332 w 201695"/>
                <a:gd name="connsiteY11" fmla="*/ 102225 h 342598"/>
                <a:gd name="connsiteX12" fmla="*/ 201688 w 201695"/>
                <a:gd name="connsiteY12" fmla="*/ 197082 h 342598"/>
                <a:gd name="connsiteX13" fmla="*/ 201688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306" y="151487"/>
                    <a:pt x="103607" y="151487"/>
                  </a:cubicBezTo>
                  <a:cubicBezTo>
                    <a:pt x="65850" y="151487"/>
                    <a:pt x="54798" y="181423"/>
                    <a:pt x="54798" y="208135"/>
                  </a:cubicBezTo>
                  <a:lnTo>
                    <a:pt x="54798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8" y="0"/>
                  </a:lnTo>
                  <a:lnTo>
                    <a:pt x="54798" y="136298"/>
                  </a:lnTo>
                  <a:lnTo>
                    <a:pt x="55719" y="136298"/>
                  </a:lnTo>
                  <a:cubicBezTo>
                    <a:pt x="69074" y="115573"/>
                    <a:pt x="93484" y="102225"/>
                    <a:pt x="124332" y="102225"/>
                  </a:cubicBezTo>
                  <a:cubicBezTo>
                    <a:pt x="178660" y="102225"/>
                    <a:pt x="201688" y="142745"/>
                    <a:pt x="201688" y="197082"/>
                  </a:cubicBezTo>
                  <a:lnTo>
                    <a:pt x="201688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1" name="Freihandform: Form 262">
              <a:extLst>
                <a:ext uri="{FF2B5EF4-FFF2-40B4-BE49-F238E27FC236}">
                  <a16:creationId xmlns:a16="http://schemas.microsoft.com/office/drawing/2014/main" id="{5B4587E6-C227-384B-BF2A-E223D42EECED}"/>
                </a:ext>
              </a:extLst>
            </p:cNvPr>
            <p:cNvSpPr/>
            <p:nvPr/>
          </p:nvSpPr>
          <p:spPr>
            <a:xfrm>
              <a:off x="8416729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40 w 198923"/>
                <a:gd name="connsiteY1" fmla="*/ 99922 h 245899"/>
                <a:gd name="connsiteX2" fmla="*/ 145040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6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495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26" y="94856"/>
                    <a:pt x="129851" y="95778"/>
                    <a:pt x="145040" y="99922"/>
                  </a:cubicBezTo>
                  <a:lnTo>
                    <a:pt x="145040" y="91633"/>
                  </a:lnTo>
                  <a:cubicBezTo>
                    <a:pt x="145040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2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28" y="204919"/>
                    <a:pt x="129851" y="195248"/>
                    <a:pt x="145048" y="176834"/>
                  </a:cubicBezTo>
                  <a:lnTo>
                    <a:pt x="145048" y="135845"/>
                  </a:lnTo>
                  <a:cubicBezTo>
                    <a:pt x="132152" y="132621"/>
                    <a:pt x="118797" y="131240"/>
                    <a:pt x="106831" y="131240"/>
                  </a:cubicBezTo>
                  <a:cubicBezTo>
                    <a:pt x="72298" y="131240"/>
                    <a:pt x="52495" y="145048"/>
                    <a:pt x="52495" y="169918"/>
                  </a:cubicBezTo>
                  <a:cubicBezTo>
                    <a:pt x="52486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2" name="Freihandform: Form 263">
              <a:extLst>
                <a:ext uri="{FF2B5EF4-FFF2-40B4-BE49-F238E27FC236}">
                  <a16:creationId xmlns:a16="http://schemas.microsoft.com/office/drawing/2014/main" id="{5A99EA64-59E1-5247-B600-CE9508363E75}"/>
                </a:ext>
              </a:extLst>
            </p:cNvPr>
            <p:cNvSpPr/>
            <p:nvPr/>
          </p:nvSpPr>
          <p:spPr>
            <a:xfrm>
              <a:off x="8659530" y="2440295"/>
              <a:ext cx="143667" cy="345830"/>
            </a:xfrm>
            <a:custGeom>
              <a:avLst/>
              <a:gdLst>
                <a:gd name="connsiteX0" fmla="*/ 143667 w 143667"/>
                <a:gd name="connsiteY0" fmla="*/ 51582 h 345830"/>
                <a:gd name="connsiteX1" fmla="*/ 119727 w 143667"/>
                <a:gd name="connsiteY1" fmla="*/ 46976 h 345830"/>
                <a:gd name="connsiteX2" fmla="*/ 90712 w 143667"/>
                <a:gd name="connsiteY2" fmla="*/ 79667 h 345830"/>
                <a:gd name="connsiteX3" fmla="*/ 90712 w 143667"/>
                <a:gd name="connsiteY3" fmla="*/ 111445 h 345830"/>
                <a:gd name="connsiteX4" fmla="*/ 137228 w 143667"/>
                <a:gd name="connsiteY4" fmla="*/ 111445 h 345830"/>
                <a:gd name="connsiteX5" fmla="*/ 137228 w 143667"/>
                <a:gd name="connsiteY5" fmla="*/ 157031 h 345830"/>
                <a:gd name="connsiteX6" fmla="*/ 91173 w 143667"/>
                <a:gd name="connsiteY6" fmla="*/ 157031 h 345830"/>
                <a:gd name="connsiteX7" fmla="*/ 91173 w 143667"/>
                <a:gd name="connsiteY7" fmla="*/ 345831 h 345830"/>
                <a:gd name="connsiteX8" fmla="*/ 36375 w 143667"/>
                <a:gd name="connsiteY8" fmla="*/ 345831 h 345830"/>
                <a:gd name="connsiteX9" fmla="*/ 36375 w 143667"/>
                <a:gd name="connsiteY9" fmla="*/ 157031 h 345830"/>
                <a:gd name="connsiteX10" fmla="*/ 0 w 143667"/>
                <a:gd name="connsiteY10" fmla="*/ 157031 h 345830"/>
                <a:gd name="connsiteX11" fmla="*/ 0 w 143667"/>
                <a:gd name="connsiteY11" fmla="*/ 111445 h 345830"/>
                <a:gd name="connsiteX12" fmla="*/ 36375 w 143667"/>
                <a:gd name="connsiteY12" fmla="*/ 111445 h 345830"/>
                <a:gd name="connsiteX13" fmla="*/ 36375 w 143667"/>
                <a:gd name="connsiteY13" fmla="*/ 77824 h 345830"/>
                <a:gd name="connsiteX14" fmla="*/ 110976 w 143667"/>
                <a:gd name="connsiteY14" fmla="*/ 0 h 345830"/>
                <a:gd name="connsiteX15" fmla="*/ 143667 w 143667"/>
                <a:gd name="connsiteY15" fmla="*/ 5066 h 345830"/>
                <a:gd name="connsiteX16" fmla="*/ 143667 w 143667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67" h="345830">
                  <a:moveTo>
                    <a:pt x="143667" y="51582"/>
                  </a:moveTo>
                  <a:cubicBezTo>
                    <a:pt x="136298" y="48358"/>
                    <a:pt x="127548" y="46976"/>
                    <a:pt x="119727" y="46976"/>
                  </a:cubicBezTo>
                  <a:cubicBezTo>
                    <a:pt x="99001" y="46976"/>
                    <a:pt x="90712" y="57569"/>
                    <a:pt x="90712" y="79667"/>
                  </a:cubicBezTo>
                  <a:lnTo>
                    <a:pt x="90712" y="111445"/>
                  </a:lnTo>
                  <a:lnTo>
                    <a:pt x="137228" y="111445"/>
                  </a:lnTo>
                  <a:lnTo>
                    <a:pt x="137228" y="157031"/>
                  </a:lnTo>
                  <a:lnTo>
                    <a:pt x="91173" y="157031"/>
                  </a:lnTo>
                  <a:lnTo>
                    <a:pt x="91173" y="345831"/>
                  </a:lnTo>
                  <a:lnTo>
                    <a:pt x="36375" y="345831"/>
                  </a:lnTo>
                  <a:lnTo>
                    <a:pt x="36375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75" y="111445"/>
                  </a:lnTo>
                  <a:lnTo>
                    <a:pt x="36375" y="77824"/>
                  </a:lnTo>
                  <a:cubicBezTo>
                    <a:pt x="36375" y="29015"/>
                    <a:pt x="58481" y="0"/>
                    <a:pt x="110976" y="0"/>
                  </a:cubicBezTo>
                  <a:cubicBezTo>
                    <a:pt x="122951" y="0"/>
                    <a:pt x="134465" y="1382"/>
                    <a:pt x="143667" y="5066"/>
                  </a:cubicBezTo>
                  <a:lnTo>
                    <a:pt x="143667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3" name="Freihandform: Form 264">
              <a:extLst>
                <a:ext uri="{FF2B5EF4-FFF2-40B4-BE49-F238E27FC236}">
                  <a16:creationId xmlns:a16="http://schemas.microsoft.com/office/drawing/2014/main" id="{8C9FD534-6D70-E348-8C70-36FB5785AEF5}"/>
                </a:ext>
              </a:extLst>
            </p:cNvPr>
            <p:cNvSpPr/>
            <p:nvPr/>
          </p:nvSpPr>
          <p:spPr>
            <a:xfrm>
              <a:off x="8832370" y="2475749"/>
              <a:ext cx="145978" cy="315903"/>
            </a:xfrm>
            <a:custGeom>
              <a:avLst/>
              <a:gdLst>
                <a:gd name="connsiteX0" fmla="*/ 145978 w 145978"/>
                <a:gd name="connsiteY0" fmla="*/ 260185 h 315903"/>
                <a:gd name="connsiteX1" fmla="*/ 145978 w 145978"/>
                <a:gd name="connsiteY1" fmla="*/ 307153 h 315903"/>
                <a:gd name="connsiteX2" fmla="*/ 99923 w 145978"/>
                <a:gd name="connsiteY2" fmla="*/ 315903 h 315903"/>
                <a:gd name="connsiteX3" fmla="*/ 35915 w 145978"/>
                <a:gd name="connsiteY3" fmla="*/ 250053 h 315903"/>
                <a:gd name="connsiteX4" fmla="*/ 35915 w 145978"/>
                <a:gd name="connsiteY4" fmla="*/ 121577 h 315903"/>
                <a:gd name="connsiteX5" fmla="*/ 0 w 145978"/>
                <a:gd name="connsiteY5" fmla="*/ 121577 h 315903"/>
                <a:gd name="connsiteX6" fmla="*/ 0 w 145978"/>
                <a:gd name="connsiteY6" fmla="*/ 75991 h 315903"/>
                <a:gd name="connsiteX7" fmla="*/ 35454 w 145978"/>
                <a:gd name="connsiteY7" fmla="*/ 75991 h 315903"/>
                <a:gd name="connsiteX8" fmla="*/ 35454 w 145978"/>
                <a:gd name="connsiteY8" fmla="*/ 11983 h 315903"/>
                <a:gd name="connsiteX9" fmla="*/ 90252 w 145978"/>
                <a:gd name="connsiteY9" fmla="*/ 0 h 315903"/>
                <a:gd name="connsiteX10" fmla="*/ 90252 w 145978"/>
                <a:gd name="connsiteY10" fmla="*/ 75982 h 315903"/>
                <a:gd name="connsiteX11" fmla="*/ 145969 w 145978"/>
                <a:gd name="connsiteY11" fmla="*/ 75982 h 315903"/>
                <a:gd name="connsiteX12" fmla="*/ 145969 w 145978"/>
                <a:gd name="connsiteY12" fmla="*/ 121568 h 315903"/>
                <a:gd name="connsiteX13" fmla="*/ 90252 w 145978"/>
                <a:gd name="connsiteY13" fmla="*/ 121568 h 315903"/>
                <a:gd name="connsiteX14" fmla="*/ 90252 w 145978"/>
                <a:gd name="connsiteY14" fmla="*/ 237149 h 315903"/>
                <a:gd name="connsiteX15" fmla="*/ 115573 w 145978"/>
                <a:gd name="connsiteY15" fmla="*/ 268006 h 315903"/>
                <a:gd name="connsiteX16" fmla="*/ 145978 w 145978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8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4" y="312680"/>
                    <a:pt x="116042" y="315903"/>
                    <a:pt x="99923" y="315903"/>
                  </a:cubicBezTo>
                  <a:cubicBezTo>
                    <a:pt x="58481" y="315903"/>
                    <a:pt x="35915" y="292876"/>
                    <a:pt x="35915" y="250053"/>
                  </a:cubicBezTo>
                  <a:lnTo>
                    <a:pt x="35915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2" y="0"/>
                  </a:lnTo>
                  <a:lnTo>
                    <a:pt x="90252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2" y="121568"/>
                  </a:lnTo>
                  <a:lnTo>
                    <a:pt x="90252" y="237149"/>
                  </a:lnTo>
                  <a:cubicBezTo>
                    <a:pt x="90252" y="258795"/>
                    <a:pt x="97620" y="268006"/>
                    <a:pt x="115573" y="268006"/>
                  </a:cubicBezTo>
                  <a:cubicBezTo>
                    <a:pt x="125714" y="268015"/>
                    <a:pt x="136758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4" name="Freihandform: Form 265">
              <a:extLst>
                <a:ext uri="{FF2B5EF4-FFF2-40B4-BE49-F238E27FC236}">
                  <a16:creationId xmlns:a16="http://schemas.microsoft.com/office/drawing/2014/main" id="{CDEE3AA0-0CEC-CA45-A9E9-89B2B40BF9CE}"/>
                </a:ext>
              </a:extLst>
            </p:cNvPr>
            <p:cNvSpPr/>
            <p:nvPr/>
          </p:nvSpPr>
          <p:spPr>
            <a:xfrm>
              <a:off x="9017185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5" name="Freihandform: Form 266">
              <a:extLst>
                <a:ext uri="{FF2B5EF4-FFF2-40B4-BE49-F238E27FC236}">
                  <a16:creationId xmlns:a16="http://schemas.microsoft.com/office/drawing/2014/main" id="{9486445D-CB4F-7E4F-A962-6079F23EA814}"/>
                </a:ext>
              </a:extLst>
            </p:cNvPr>
            <p:cNvSpPr/>
            <p:nvPr/>
          </p:nvSpPr>
          <p:spPr>
            <a:xfrm>
              <a:off x="9240728" y="2616208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6" name="Freihandform: Form 267">
              <a:extLst>
                <a:ext uri="{FF2B5EF4-FFF2-40B4-BE49-F238E27FC236}">
                  <a16:creationId xmlns:a16="http://schemas.microsoft.com/office/drawing/2014/main" id="{48012C14-3FD3-CF46-9A18-464E4A945BC2}"/>
                </a:ext>
              </a:extLst>
            </p:cNvPr>
            <p:cNvSpPr/>
            <p:nvPr/>
          </p:nvSpPr>
          <p:spPr>
            <a:xfrm>
              <a:off x="9550208" y="2551739"/>
              <a:ext cx="201686" cy="239921"/>
            </a:xfrm>
            <a:custGeom>
              <a:avLst/>
              <a:gdLst>
                <a:gd name="connsiteX0" fmla="*/ 54797 w 201686"/>
                <a:gd name="connsiteY0" fmla="*/ 140911 h 239921"/>
                <a:gd name="connsiteX1" fmla="*/ 101304 w 201686"/>
                <a:gd name="connsiteY1" fmla="*/ 190182 h 239921"/>
                <a:gd name="connsiteX2" fmla="*/ 146890 w 201686"/>
                <a:gd name="connsiteY2" fmla="*/ 140451 h 239921"/>
                <a:gd name="connsiteX3" fmla="*/ 146890 w 201686"/>
                <a:gd name="connsiteY3" fmla="*/ 8 h 239921"/>
                <a:gd name="connsiteX4" fmla="*/ 201687 w 201686"/>
                <a:gd name="connsiteY4" fmla="*/ 8 h 239921"/>
                <a:gd name="connsiteX5" fmla="*/ 201687 w 201686"/>
                <a:gd name="connsiteY5" fmla="*/ 142301 h 239921"/>
                <a:gd name="connsiteX6" fmla="*/ 102685 w 201686"/>
                <a:gd name="connsiteY6" fmla="*/ 239921 h 239921"/>
                <a:gd name="connsiteX7" fmla="*/ 0 w 201686"/>
                <a:gd name="connsiteY7" fmla="*/ 142754 h 239921"/>
                <a:gd name="connsiteX8" fmla="*/ 0 w 201686"/>
                <a:gd name="connsiteY8" fmla="*/ 0 h 239921"/>
                <a:gd name="connsiteX9" fmla="*/ 54797 w 201686"/>
                <a:gd name="connsiteY9" fmla="*/ 0 h 239921"/>
                <a:gd name="connsiteX10" fmla="*/ 54797 w 201686"/>
                <a:gd name="connsiteY10" fmla="*/ 140911 h 23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1686" h="239921">
                  <a:moveTo>
                    <a:pt x="54797" y="140911"/>
                  </a:moveTo>
                  <a:cubicBezTo>
                    <a:pt x="54797" y="173141"/>
                    <a:pt x="70916" y="190182"/>
                    <a:pt x="101304" y="190182"/>
                  </a:cubicBezTo>
                  <a:cubicBezTo>
                    <a:pt x="131240" y="190182"/>
                    <a:pt x="146890" y="173610"/>
                    <a:pt x="146890" y="140451"/>
                  </a:cubicBezTo>
                  <a:lnTo>
                    <a:pt x="146890" y="8"/>
                  </a:lnTo>
                  <a:lnTo>
                    <a:pt x="201687" y="8"/>
                  </a:lnTo>
                  <a:lnTo>
                    <a:pt x="201687" y="142301"/>
                  </a:lnTo>
                  <a:cubicBezTo>
                    <a:pt x="201687" y="203998"/>
                    <a:pt x="167155" y="239921"/>
                    <a:pt x="102685" y="239921"/>
                  </a:cubicBezTo>
                  <a:cubicBezTo>
                    <a:pt x="38678" y="239921"/>
                    <a:pt x="0" y="203998"/>
                    <a:pt x="0" y="142754"/>
                  </a:cubicBezTo>
                  <a:lnTo>
                    <a:pt x="0" y="0"/>
                  </a:lnTo>
                  <a:lnTo>
                    <a:pt x="54797" y="0"/>
                  </a:lnTo>
                  <a:lnTo>
                    <a:pt x="54797" y="14091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7" name="Freihandform: Form 268">
              <a:extLst>
                <a:ext uri="{FF2B5EF4-FFF2-40B4-BE49-F238E27FC236}">
                  <a16:creationId xmlns:a16="http://schemas.microsoft.com/office/drawing/2014/main" id="{AD0CF84B-D854-8F4C-B70C-355E3D946FA5}"/>
                </a:ext>
              </a:extLst>
            </p:cNvPr>
            <p:cNvSpPr/>
            <p:nvPr/>
          </p:nvSpPr>
          <p:spPr>
            <a:xfrm>
              <a:off x="9821371" y="2545760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89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8" name="Freihandform: Form 269">
              <a:extLst>
                <a:ext uri="{FF2B5EF4-FFF2-40B4-BE49-F238E27FC236}">
                  <a16:creationId xmlns:a16="http://schemas.microsoft.com/office/drawing/2014/main" id="{49802A93-BF86-5C42-9F59-2710320205CA}"/>
                </a:ext>
              </a:extLst>
            </p:cNvPr>
            <p:cNvSpPr/>
            <p:nvPr/>
          </p:nvSpPr>
          <p:spPr>
            <a:xfrm>
              <a:off x="10081021" y="2443527"/>
              <a:ext cx="219196" cy="348125"/>
            </a:xfrm>
            <a:custGeom>
              <a:avLst/>
              <a:gdLst>
                <a:gd name="connsiteX0" fmla="*/ 0 w 219196"/>
                <a:gd name="connsiteY0" fmla="*/ 224715 h 348125"/>
                <a:gd name="connsiteX1" fmla="*/ 95326 w 219196"/>
                <a:gd name="connsiteY1" fmla="*/ 102225 h 348125"/>
                <a:gd name="connsiteX2" fmla="*/ 163478 w 219196"/>
                <a:gd name="connsiteY2" fmla="*/ 133995 h 348125"/>
                <a:gd name="connsiteX3" fmla="*/ 164399 w 219196"/>
                <a:gd name="connsiteY3" fmla="*/ 133995 h 348125"/>
                <a:gd name="connsiteX4" fmla="*/ 164399 w 219196"/>
                <a:gd name="connsiteY4" fmla="*/ 13808 h 348125"/>
                <a:gd name="connsiteX5" fmla="*/ 219196 w 219196"/>
                <a:gd name="connsiteY5" fmla="*/ 0 h 348125"/>
                <a:gd name="connsiteX6" fmla="*/ 219196 w 219196"/>
                <a:gd name="connsiteY6" fmla="*/ 342598 h 348125"/>
                <a:gd name="connsiteX7" fmla="*/ 165781 w 219196"/>
                <a:gd name="connsiteY7" fmla="*/ 342598 h 348125"/>
                <a:gd name="connsiteX8" fmla="*/ 165781 w 219196"/>
                <a:gd name="connsiteY8" fmla="*/ 314965 h 348125"/>
                <a:gd name="connsiteX9" fmla="*/ 164860 w 219196"/>
                <a:gd name="connsiteY9" fmla="*/ 314965 h 348125"/>
                <a:gd name="connsiteX10" fmla="*/ 94405 w 219196"/>
                <a:gd name="connsiteY10" fmla="*/ 348125 h 348125"/>
                <a:gd name="connsiteX11" fmla="*/ 0 w 219196"/>
                <a:gd name="connsiteY11" fmla="*/ 224715 h 348125"/>
                <a:gd name="connsiteX12" fmla="*/ 54345 w 219196"/>
                <a:gd name="connsiteY12" fmla="*/ 224715 h 348125"/>
                <a:gd name="connsiteX13" fmla="*/ 108681 w 219196"/>
                <a:gd name="connsiteY13" fmla="*/ 299776 h 348125"/>
                <a:gd name="connsiteX14" fmla="*/ 164399 w 219196"/>
                <a:gd name="connsiteY14" fmla="*/ 268919 h 348125"/>
                <a:gd name="connsiteX15" fmla="*/ 164399 w 219196"/>
                <a:gd name="connsiteY15" fmla="*/ 183265 h 348125"/>
                <a:gd name="connsiteX16" fmla="*/ 108681 w 219196"/>
                <a:gd name="connsiteY16" fmla="*/ 151956 h 348125"/>
                <a:gd name="connsiteX17" fmla="*/ 54345 w 219196"/>
                <a:gd name="connsiteY17" fmla="*/ 224715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6" h="348125">
                  <a:moveTo>
                    <a:pt x="0" y="224715"/>
                  </a:moveTo>
                  <a:cubicBezTo>
                    <a:pt x="0" y="149193"/>
                    <a:pt x="38217" y="102225"/>
                    <a:pt x="95326" y="102225"/>
                  </a:cubicBezTo>
                  <a:cubicBezTo>
                    <a:pt x="124801" y="102225"/>
                    <a:pt x="147828" y="114652"/>
                    <a:pt x="163478" y="133995"/>
                  </a:cubicBezTo>
                  <a:lnTo>
                    <a:pt x="164399" y="133995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8"/>
                  </a:lnTo>
                  <a:lnTo>
                    <a:pt x="165781" y="342598"/>
                  </a:lnTo>
                  <a:lnTo>
                    <a:pt x="165781" y="314965"/>
                  </a:lnTo>
                  <a:lnTo>
                    <a:pt x="164860" y="314965"/>
                  </a:lnTo>
                  <a:cubicBezTo>
                    <a:pt x="147828" y="335690"/>
                    <a:pt x="123419" y="348125"/>
                    <a:pt x="94405" y="348125"/>
                  </a:cubicBezTo>
                  <a:cubicBezTo>
                    <a:pt x="38686" y="348125"/>
                    <a:pt x="0" y="300697"/>
                    <a:pt x="0" y="224715"/>
                  </a:cubicBezTo>
                  <a:close/>
                  <a:moveTo>
                    <a:pt x="54345" y="224715"/>
                  </a:moveTo>
                  <a:cubicBezTo>
                    <a:pt x="54345" y="272603"/>
                    <a:pt x="74148" y="299776"/>
                    <a:pt x="108681" y="299776"/>
                  </a:cubicBezTo>
                  <a:cubicBezTo>
                    <a:pt x="129867" y="299776"/>
                    <a:pt x="147359" y="289644"/>
                    <a:pt x="164399" y="268919"/>
                  </a:cubicBezTo>
                  <a:lnTo>
                    <a:pt x="164399" y="183265"/>
                  </a:lnTo>
                  <a:cubicBezTo>
                    <a:pt x="148740" y="162088"/>
                    <a:pt x="130780" y="151956"/>
                    <a:pt x="108681" y="151956"/>
                  </a:cubicBezTo>
                  <a:cubicBezTo>
                    <a:pt x="73227" y="151965"/>
                    <a:pt x="54345" y="177747"/>
                    <a:pt x="54345" y="22471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9" name="Freihandform: Form 270">
              <a:extLst>
                <a:ext uri="{FF2B5EF4-FFF2-40B4-BE49-F238E27FC236}">
                  <a16:creationId xmlns:a16="http://schemas.microsoft.com/office/drawing/2014/main" id="{DC35609B-D174-134D-A90E-1D9891BE5E50}"/>
                </a:ext>
              </a:extLst>
            </p:cNvPr>
            <p:cNvSpPr/>
            <p:nvPr/>
          </p:nvSpPr>
          <p:spPr>
            <a:xfrm>
              <a:off x="4011188" y="2963018"/>
              <a:ext cx="227478" cy="335246"/>
            </a:xfrm>
            <a:custGeom>
              <a:avLst/>
              <a:gdLst>
                <a:gd name="connsiteX0" fmla="*/ 36383 w 227478"/>
                <a:gd name="connsiteY0" fmla="*/ 245900 h 335246"/>
                <a:gd name="connsiteX1" fmla="*/ 116963 w 227478"/>
                <a:gd name="connsiteY1" fmla="*/ 282283 h 335246"/>
                <a:gd name="connsiteX2" fmla="*/ 169465 w 227478"/>
                <a:gd name="connsiteY2" fmla="*/ 241755 h 335246"/>
                <a:gd name="connsiteX3" fmla="*/ 10593 w 227478"/>
                <a:gd name="connsiteY3" fmla="*/ 93944 h 335246"/>
                <a:gd name="connsiteX4" fmla="*/ 120656 w 227478"/>
                <a:gd name="connsiteY4" fmla="*/ 0 h 335246"/>
                <a:gd name="connsiteX5" fmla="*/ 225183 w 227478"/>
                <a:gd name="connsiteY5" fmla="*/ 39147 h 335246"/>
                <a:gd name="connsiteX6" fmla="*/ 188800 w 227478"/>
                <a:gd name="connsiteY6" fmla="*/ 83812 h 335246"/>
                <a:gd name="connsiteX7" fmla="*/ 117884 w 227478"/>
                <a:gd name="connsiteY7" fmla="*/ 52503 h 335246"/>
                <a:gd name="connsiteX8" fmla="*/ 68613 w 227478"/>
                <a:gd name="connsiteY8" fmla="*/ 88886 h 335246"/>
                <a:gd name="connsiteX9" fmla="*/ 227478 w 227478"/>
                <a:gd name="connsiteY9" fmla="*/ 237158 h 335246"/>
                <a:gd name="connsiteX10" fmla="*/ 115590 w 227478"/>
                <a:gd name="connsiteY10" fmla="*/ 335246 h 335246"/>
                <a:gd name="connsiteX11" fmla="*/ 0 w 227478"/>
                <a:gd name="connsiteY11" fmla="*/ 290573 h 335246"/>
                <a:gd name="connsiteX12" fmla="*/ 36383 w 227478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78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63" y="282283"/>
                  </a:cubicBezTo>
                  <a:cubicBezTo>
                    <a:pt x="147359" y="282283"/>
                    <a:pt x="169465" y="265243"/>
                    <a:pt x="169465" y="241755"/>
                  </a:cubicBezTo>
                  <a:cubicBezTo>
                    <a:pt x="169465" y="179589"/>
                    <a:pt x="10593" y="198932"/>
                    <a:pt x="10593" y="93944"/>
                  </a:cubicBezTo>
                  <a:cubicBezTo>
                    <a:pt x="10593" y="38226"/>
                    <a:pt x="55726" y="0"/>
                    <a:pt x="120656" y="0"/>
                  </a:cubicBezTo>
                  <a:cubicBezTo>
                    <a:pt x="159333" y="0"/>
                    <a:pt x="195256" y="13356"/>
                    <a:pt x="225183" y="39147"/>
                  </a:cubicBezTo>
                  <a:lnTo>
                    <a:pt x="188800" y="83812"/>
                  </a:lnTo>
                  <a:cubicBezTo>
                    <a:pt x="165312" y="63087"/>
                    <a:pt x="141832" y="52503"/>
                    <a:pt x="117884" y="52503"/>
                  </a:cubicBezTo>
                  <a:cubicBezTo>
                    <a:pt x="89338" y="52503"/>
                    <a:pt x="68613" y="67692"/>
                    <a:pt x="68613" y="88886"/>
                  </a:cubicBezTo>
                  <a:cubicBezTo>
                    <a:pt x="68613" y="147359"/>
                    <a:pt x="227478" y="128024"/>
                    <a:pt x="227478" y="237158"/>
                  </a:cubicBezTo>
                  <a:cubicBezTo>
                    <a:pt x="227478" y="295639"/>
                    <a:pt x="182352" y="335246"/>
                    <a:pt x="115590" y="335246"/>
                  </a:cubicBezTo>
                  <a:cubicBezTo>
                    <a:pt x="72758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0" name="Freihandform: Form 271">
              <a:extLst>
                <a:ext uri="{FF2B5EF4-FFF2-40B4-BE49-F238E27FC236}">
                  <a16:creationId xmlns:a16="http://schemas.microsoft.com/office/drawing/2014/main" id="{C7CD2D4A-4FF6-4F40-B6C4-48C6C6DFC62E}"/>
                </a:ext>
              </a:extLst>
            </p:cNvPr>
            <p:cNvSpPr/>
            <p:nvPr/>
          </p:nvSpPr>
          <p:spPr>
            <a:xfrm>
              <a:off x="4287334" y="3052356"/>
              <a:ext cx="225644" cy="245908"/>
            </a:xfrm>
            <a:custGeom>
              <a:avLst/>
              <a:gdLst>
                <a:gd name="connsiteX0" fmla="*/ 0 w 225644"/>
                <a:gd name="connsiteY0" fmla="*/ 122950 h 245908"/>
                <a:gd name="connsiteX1" fmla="*/ 113748 w 225644"/>
                <a:gd name="connsiteY1" fmla="*/ 0 h 245908"/>
                <a:gd name="connsiteX2" fmla="*/ 225644 w 225644"/>
                <a:gd name="connsiteY2" fmla="*/ 122950 h 245908"/>
                <a:gd name="connsiteX3" fmla="*/ 113748 w 225644"/>
                <a:gd name="connsiteY3" fmla="*/ 245908 h 245908"/>
                <a:gd name="connsiteX4" fmla="*/ 0 w 225644"/>
                <a:gd name="connsiteY4" fmla="*/ 122950 h 245908"/>
                <a:gd name="connsiteX5" fmla="*/ 171308 w 225644"/>
                <a:gd name="connsiteY5" fmla="*/ 123410 h 245908"/>
                <a:gd name="connsiteX6" fmla="*/ 112826 w 225644"/>
                <a:gd name="connsiteY6" fmla="*/ 49731 h 245908"/>
                <a:gd name="connsiteX7" fmla="*/ 54345 w 225644"/>
                <a:gd name="connsiteY7" fmla="*/ 122481 h 245908"/>
                <a:gd name="connsiteX8" fmla="*/ 113287 w 225644"/>
                <a:gd name="connsiteY8" fmla="*/ 196621 h 245908"/>
                <a:gd name="connsiteX9" fmla="*/ 171308 w 225644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44" h="245908">
                  <a:moveTo>
                    <a:pt x="0" y="122950"/>
                  </a:moveTo>
                  <a:cubicBezTo>
                    <a:pt x="0" y="49270"/>
                    <a:pt x="45586" y="0"/>
                    <a:pt x="113748" y="0"/>
                  </a:cubicBezTo>
                  <a:cubicBezTo>
                    <a:pt x="181440" y="0"/>
                    <a:pt x="225644" y="48349"/>
                    <a:pt x="225644" y="122950"/>
                  </a:cubicBezTo>
                  <a:cubicBezTo>
                    <a:pt x="225644" y="196629"/>
                    <a:pt x="181892" y="245908"/>
                    <a:pt x="113748" y="245908"/>
                  </a:cubicBezTo>
                  <a:cubicBezTo>
                    <a:pt x="46055" y="245900"/>
                    <a:pt x="0" y="197090"/>
                    <a:pt x="0" y="122950"/>
                  </a:cubicBezTo>
                  <a:close/>
                  <a:moveTo>
                    <a:pt x="171308" y="123410"/>
                  </a:moveTo>
                  <a:cubicBezTo>
                    <a:pt x="171308" y="77824"/>
                    <a:pt x="148741" y="49731"/>
                    <a:pt x="112826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12" y="196621"/>
                    <a:pt x="113287" y="196621"/>
                  </a:cubicBezTo>
                  <a:cubicBezTo>
                    <a:pt x="149202" y="196629"/>
                    <a:pt x="171308" y="168536"/>
                    <a:pt x="171308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1" name="Freihandform: Form 272">
              <a:extLst>
                <a:ext uri="{FF2B5EF4-FFF2-40B4-BE49-F238E27FC236}">
                  <a16:creationId xmlns:a16="http://schemas.microsoft.com/office/drawing/2014/main" id="{B7C75228-DB37-634E-8CAE-77AB84941F41}"/>
                </a:ext>
              </a:extLst>
            </p:cNvPr>
            <p:cNvSpPr/>
            <p:nvPr/>
          </p:nvSpPr>
          <p:spPr>
            <a:xfrm>
              <a:off x="4551790" y="3058352"/>
              <a:ext cx="185115" cy="234377"/>
            </a:xfrm>
            <a:custGeom>
              <a:avLst/>
              <a:gdLst>
                <a:gd name="connsiteX0" fmla="*/ 185108 w 185115"/>
                <a:gd name="connsiteY0" fmla="*/ 234378 h 234377"/>
                <a:gd name="connsiteX1" fmla="*/ 0 w 185115"/>
                <a:gd name="connsiteY1" fmla="*/ 234378 h 234377"/>
                <a:gd name="connsiteX2" fmla="*/ 0 w 185115"/>
                <a:gd name="connsiteY2" fmla="*/ 187410 h 234377"/>
                <a:gd name="connsiteX3" fmla="*/ 116963 w 185115"/>
                <a:gd name="connsiteY3" fmla="*/ 46968 h 234377"/>
                <a:gd name="connsiteX4" fmla="*/ 6900 w 185115"/>
                <a:gd name="connsiteY4" fmla="*/ 46968 h 234377"/>
                <a:gd name="connsiteX5" fmla="*/ 6900 w 185115"/>
                <a:gd name="connsiteY5" fmla="*/ 0 h 234377"/>
                <a:gd name="connsiteX6" fmla="*/ 183274 w 185115"/>
                <a:gd name="connsiteY6" fmla="*/ 0 h 234377"/>
                <a:gd name="connsiteX7" fmla="*/ 183274 w 185115"/>
                <a:gd name="connsiteY7" fmla="*/ 46968 h 234377"/>
                <a:gd name="connsiteX8" fmla="*/ 65850 w 185115"/>
                <a:gd name="connsiteY8" fmla="*/ 187410 h 234377"/>
                <a:gd name="connsiteX9" fmla="*/ 185116 w 185115"/>
                <a:gd name="connsiteY9" fmla="*/ 187410 h 234377"/>
                <a:gd name="connsiteX10" fmla="*/ 185116 w 185115"/>
                <a:gd name="connsiteY10" fmla="*/ 234378 h 2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5115" h="234377">
                  <a:moveTo>
                    <a:pt x="185108" y="234378"/>
                  </a:moveTo>
                  <a:lnTo>
                    <a:pt x="0" y="234378"/>
                  </a:lnTo>
                  <a:lnTo>
                    <a:pt x="0" y="187410"/>
                  </a:lnTo>
                  <a:lnTo>
                    <a:pt x="116963" y="46968"/>
                  </a:lnTo>
                  <a:lnTo>
                    <a:pt x="6900" y="46968"/>
                  </a:lnTo>
                  <a:lnTo>
                    <a:pt x="6900" y="0"/>
                  </a:lnTo>
                  <a:lnTo>
                    <a:pt x="183274" y="0"/>
                  </a:lnTo>
                  <a:lnTo>
                    <a:pt x="183274" y="46968"/>
                  </a:lnTo>
                  <a:lnTo>
                    <a:pt x="65850" y="187410"/>
                  </a:lnTo>
                  <a:lnTo>
                    <a:pt x="185116" y="187410"/>
                  </a:lnTo>
                  <a:lnTo>
                    <a:pt x="185116" y="23437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2" name="Freihandform: Form 273">
              <a:extLst>
                <a:ext uri="{FF2B5EF4-FFF2-40B4-BE49-F238E27FC236}">
                  <a16:creationId xmlns:a16="http://schemas.microsoft.com/office/drawing/2014/main" id="{B3C430C1-7DCE-DA47-A008-CEBB09E9277E}"/>
                </a:ext>
              </a:extLst>
            </p:cNvPr>
            <p:cNvSpPr/>
            <p:nvPr/>
          </p:nvSpPr>
          <p:spPr>
            <a:xfrm>
              <a:off x="478624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84" y="66311"/>
                    <a:pt x="34533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33" y="0"/>
                  </a:cubicBezTo>
                  <a:cubicBezTo>
                    <a:pt x="53884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3" name="Freihandform: Form 274">
              <a:extLst>
                <a:ext uri="{FF2B5EF4-FFF2-40B4-BE49-F238E27FC236}">
                  <a16:creationId xmlns:a16="http://schemas.microsoft.com/office/drawing/2014/main" id="{8708F23F-8DA1-154F-A726-6F359BA14034}"/>
                </a:ext>
              </a:extLst>
            </p:cNvPr>
            <p:cNvSpPr/>
            <p:nvPr/>
          </p:nvSpPr>
          <p:spPr>
            <a:xfrm>
              <a:off x="4904378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503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6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36" y="204919"/>
                    <a:pt x="129850" y="195248"/>
                    <a:pt x="145048" y="176834"/>
                  </a:cubicBezTo>
                  <a:lnTo>
                    <a:pt x="145048" y="135845"/>
                  </a:lnTo>
                  <a:cubicBezTo>
                    <a:pt x="132161" y="132621"/>
                    <a:pt x="118805" y="131240"/>
                    <a:pt x="106831" y="131240"/>
                  </a:cubicBezTo>
                  <a:cubicBezTo>
                    <a:pt x="72298" y="131240"/>
                    <a:pt x="52503" y="145048"/>
                    <a:pt x="52503" y="169918"/>
                  </a:cubicBezTo>
                  <a:cubicBezTo>
                    <a:pt x="52494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4" name="Freihandform: Form 275">
              <a:extLst>
                <a:ext uri="{FF2B5EF4-FFF2-40B4-BE49-F238E27FC236}">
                  <a16:creationId xmlns:a16="http://schemas.microsoft.com/office/drawing/2014/main" id="{C5C08DA7-5326-3B43-895E-8C683131D085}"/>
                </a:ext>
              </a:extLst>
            </p:cNvPr>
            <p:cNvSpPr/>
            <p:nvPr/>
          </p:nvSpPr>
          <p:spPr>
            <a:xfrm>
              <a:off x="5173423" y="2950592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5" name="Freihandform: Form 276">
              <a:extLst>
                <a:ext uri="{FF2B5EF4-FFF2-40B4-BE49-F238E27FC236}">
                  <a16:creationId xmlns:a16="http://schemas.microsoft.com/office/drawing/2014/main" id="{3824DF34-4651-BF4A-9169-03B5B577FF36}"/>
                </a:ext>
              </a:extLst>
            </p:cNvPr>
            <p:cNvSpPr/>
            <p:nvPr/>
          </p:nvSpPr>
          <p:spPr>
            <a:xfrm>
              <a:off x="5275974" y="3058344"/>
              <a:ext cx="330180" cy="234386"/>
            </a:xfrm>
            <a:custGeom>
              <a:avLst/>
              <a:gdLst>
                <a:gd name="connsiteX0" fmla="*/ 330180 w 330180"/>
                <a:gd name="connsiteY0" fmla="*/ 0 h 234386"/>
                <a:gd name="connsiteX1" fmla="*/ 260646 w 330180"/>
                <a:gd name="connsiteY1" fmla="*/ 234386 h 234386"/>
                <a:gd name="connsiteX2" fmla="*/ 208143 w 330180"/>
                <a:gd name="connsiteY2" fmla="*/ 234386 h 234386"/>
                <a:gd name="connsiteX3" fmla="*/ 165320 w 330180"/>
                <a:gd name="connsiteY3" fmla="*/ 72298 h 234386"/>
                <a:gd name="connsiteX4" fmla="*/ 164408 w 330180"/>
                <a:gd name="connsiteY4" fmla="*/ 72298 h 234386"/>
                <a:gd name="connsiteX5" fmla="*/ 122037 w 330180"/>
                <a:gd name="connsiteY5" fmla="*/ 234386 h 234386"/>
                <a:gd name="connsiteX6" fmla="*/ 69535 w 330180"/>
                <a:gd name="connsiteY6" fmla="*/ 234386 h 234386"/>
                <a:gd name="connsiteX7" fmla="*/ 0 w 330180"/>
                <a:gd name="connsiteY7" fmla="*/ 0 h 234386"/>
                <a:gd name="connsiteX8" fmla="*/ 57560 w 330180"/>
                <a:gd name="connsiteY8" fmla="*/ 0 h 234386"/>
                <a:gd name="connsiteX9" fmla="*/ 98089 w 330180"/>
                <a:gd name="connsiteY9" fmla="*/ 157943 h 234386"/>
                <a:gd name="connsiteX10" fmla="*/ 99001 w 330180"/>
                <a:gd name="connsiteY10" fmla="*/ 157943 h 234386"/>
                <a:gd name="connsiteX11" fmla="*/ 140451 w 330180"/>
                <a:gd name="connsiteY11" fmla="*/ 0 h 234386"/>
                <a:gd name="connsiteX12" fmla="*/ 190642 w 330180"/>
                <a:gd name="connsiteY12" fmla="*/ 0 h 234386"/>
                <a:gd name="connsiteX13" fmla="*/ 233465 w 330180"/>
                <a:gd name="connsiteY13" fmla="*/ 157943 h 234386"/>
                <a:gd name="connsiteX14" fmla="*/ 234378 w 330180"/>
                <a:gd name="connsiteY14" fmla="*/ 157943 h 234386"/>
                <a:gd name="connsiteX15" fmla="*/ 273524 w 330180"/>
                <a:gd name="connsiteY15" fmla="*/ 0 h 234386"/>
                <a:gd name="connsiteX16" fmla="*/ 330180 w 330180"/>
                <a:gd name="connsiteY16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180" h="234386">
                  <a:moveTo>
                    <a:pt x="330180" y="0"/>
                  </a:moveTo>
                  <a:lnTo>
                    <a:pt x="260646" y="234386"/>
                  </a:lnTo>
                  <a:lnTo>
                    <a:pt x="208143" y="234386"/>
                  </a:lnTo>
                  <a:lnTo>
                    <a:pt x="165320" y="72298"/>
                  </a:lnTo>
                  <a:lnTo>
                    <a:pt x="164408" y="72298"/>
                  </a:lnTo>
                  <a:lnTo>
                    <a:pt x="122037" y="234386"/>
                  </a:lnTo>
                  <a:lnTo>
                    <a:pt x="69535" y="234386"/>
                  </a:lnTo>
                  <a:lnTo>
                    <a:pt x="0" y="0"/>
                  </a:lnTo>
                  <a:lnTo>
                    <a:pt x="57560" y="0"/>
                  </a:lnTo>
                  <a:lnTo>
                    <a:pt x="98089" y="157943"/>
                  </a:lnTo>
                  <a:lnTo>
                    <a:pt x="99001" y="157943"/>
                  </a:lnTo>
                  <a:lnTo>
                    <a:pt x="140451" y="0"/>
                  </a:lnTo>
                  <a:lnTo>
                    <a:pt x="190642" y="0"/>
                  </a:lnTo>
                  <a:lnTo>
                    <a:pt x="233465" y="157943"/>
                  </a:lnTo>
                  <a:lnTo>
                    <a:pt x="234378" y="157943"/>
                  </a:lnTo>
                  <a:lnTo>
                    <a:pt x="273524" y="0"/>
                  </a:lnTo>
                  <a:lnTo>
                    <a:pt x="33018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6" name="Freihandform: Form 277">
              <a:extLst>
                <a:ext uri="{FF2B5EF4-FFF2-40B4-BE49-F238E27FC236}">
                  <a16:creationId xmlns:a16="http://schemas.microsoft.com/office/drawing/2014/main" id="{31296A63-45AB-EF4D-ABA5-843FF48766DB}"/>
                </a:ext>
              </a:extLst>
            </p:cNvPr>
            <p:cNvSpPr/>
            <p:nvPr/>
          </p:nvSpPr>
          <p:spPr>
            <a:xfrm>
              <a:off x="5647320" y="2954268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7" name="Freihandform: Form 278">
              <a:extLst>
                <a:ext uri="{FF2B5EF4-FFF2-40B4-BE49-F238E27FC236}">
                  <a16:creationId xmlns:a16="http://schemas.microsoft.com/office/drawing/2014/main" id="{8C2DB2D2-8A3D-C447-A076-7BE8540BD4B8}"/>
                </a:ext>
              </a:extLst>
            </p:cNvPr>
            <p:cNvSpPr/>
            <p:nvPr/>
          </p:nvSpPr>
          <p:spPr>
            <a:xfrm>
              <a:off x="5759802" y="3052356"/>
              <a:ext cx="180502" cy="245891"/>
            </a:xfrm>
            <a:custGeom>
              <a:avLst/>
              <a:gdLst>
                <a:gd name="connsiteX0" fmla="*/ 26235 w 180502"/>
                <a:gd name="connsiteY0" fmla="*/ 174063 h 245891"/>
                <a:gd name="connsiteX1" fmla="*/ 92545 w 180502"/>
                <a:gd name="connsiteY1" fmla="*/ 200314 h 245891"/>
                <a:gd name="connsiteX2" fmla="*/ 127078 w 180502"/>
                <a:gd name="connsiteY2" fmla="*/ 176826 h 245891"/>
                <a:gd name="connsiteX3" fmla="*/ 9655 w 180502"/>
                <a:gd name="connsiteY3" fmla="*/ 72750 h 245891"/>
                <a:gd name="connsiteX4" fmla="*/ 98072 w 180502"/>
                <a:gd name="connsiteY4" fmla="*/ 0 h 245891"/>
                <a:gd name="connsiteX5" fmla="*/ 179120 w 180502"/>
                <a:gd name="connsiteY5" fmla="*/ 24401 h 245891"/>
                <a:gd name="connsiteX6" fmla="*/ 153338 w 180502"/>
                <a:gd name="connsiteY6" fmla="*/ 67223 h 245891"/>
                <a:gd name="connsiteX7" fmla="*/ 97159 w 180502"/>
                <a:gd name="connsiteY7" fmla="*/ 46499 h 245891"/>
                <a:gd name="connsiteX8" fmla="*/ 63539 w 180502"/>
                <a:gd name="connsiteY8" fmla="*/ 68145 h 245891"/>
                <a:gd name="connsiteX9" fmla="*/ 180502 w 180502"/>
                <a:gd name="connsiteY9" fmla="*/ 171751 h 245891"/>
                <a:gd name="connsiteX10" fmla="*/ 90251 w 180502"/>
                <a:gd name="connsiteY10" fmla="*/ 245891 h 245891"/>
                <a:gd name="connsiteX11" fmla="*/ 0 w 180502"/>
                <a:gd name="connsiteY11" fmla="*/ 217337 h 245891"/>
                <a:gd name="connsiteX12" fmla="*/ 26235 w 180502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02" h="245891">
                  <a:moveTo>
                    <a:pt x="26235" y="174063"/>
                  </a:moveTo>
                  <a:cubicBezTo>
                    <a:pt x="49254" y="191563"/>
                    <a:pt x="71821" y="200314"/>
                    <a:pt x="92545" y="200314"/>
                  </a:cubicBezTo>
                  <a:cubicBezTo>
                    <a:pt x="112801" y="200314"/>
                    <a:pt x="127078" y="191103"/>
                    <a:pt x="127078" y="176826"/>
                  </a:cubicBezTo>
                  <a:cubicBezTo>
                    <a:pt x="127078" y="136766"/>
                    <a:pt x="9655" y="151035"/>
                    <a:pt x="9655" y="72750"/>
                  </a:cubicBezTo>
                  <a:cubicBezTo>
                    <a:pt x="9655" y="29467"/>
                    <a:pt x="45578" y="0"/>
                    <a:pt x="98072" y="0"/>
                  </a:cubicBezTo>
                  <a:cubicBezTo>
                    <a:pt x="126166" y="0"/>
                    <a:pt x="154259" y="8282"/>
                    <a:pt x="179120" y="24401"/>
                  </a:cubicBezTo>
                  <a:lnTo>
                    <a:pt x="153338" y="67223"/>
                  </a:lnTo>
                  <a:cubicBezTo>
                    <a:pt x="133074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02" y="93014"/>
                    <a:pt x="180502" y="171751"/>
                  </a:cubicBezTo>
                  <a:cubicBezTo>
                    <a:pt x="180502" y="215956"/>
                    <a:pt x="144127" y="245891"/>
                    <a:pt x="90251" y="245891"/>
                  </a:cubicBezTo>
                  <a:cubicBezTo>
                    <a:pt x="58942" y="245891"/>
                    <a:pt x="27164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8" name="Freihandform: Form 279">
              <a:extLst>
                <a:ext uri="{FF2B5EF4-FFF2-40B4-BE49-F238E27FC236}">
                  <a16:creationId xmlns:a16="http://schemas.microsoft.com/office/drawing/2014/main" id="{C8E5D30A-16E0-484D-A346-E4D9C5038845}"/>
                </a:ext>
              </a:extLst>
            </p:cNvPr>
            <p:cNvSpPr/>
            <p:nvPr/>
          </p:nvSpPr>
          <p:spPr>
            <a:xfrm>
              <a:off x="597652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87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47 w 180510"/>
                <a:gd name="connsiteY8" fmla="*/ 68145 h 245891"/>
                <a:gd name="connsiteX9" fmla="*/ 180510 w 180510"/>
                <a:gd name="connsiteY9" fmla="*/ 171751 h 245891"/>
                <a:gd name="connsiteX10" fmla="*/ 90259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1" y="200314"/>
                    <a:pt x="92545" y="200314"/>
                  </a:cubicBezTo>
                  <a:cubicBezTo>
                    <a:pt x="112809" y="200314"/>
                    <a:pt x="127087" y="191103"/>
                    <a:pt x="127087" y="176826"/>
                  </a:cubicBezTo>
                  <a:cubicBezTo>
                    <a:pt x="127087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2" y="53415"/>
                    <a:pt x="115129" y="46499"/>
                    <a:pt x="97159" y="46499"/>
                  </a:cubicBezTo>
                  <a:cubicBezTo>
                    <a:pt x="76904" y="46499"/>
                    <a:pt x="63547" y="55249"/>
                    <a:pt x="63547" y="68145"/>
                  </a:cubicBezTo>
                  <a:cubicBezTo>
                    <a:pt x="63547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9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9" name="Freihandform: Form 280">
              <a:extLst>
                <a:ext uri="{FF2B5EF4-FFF2-40B4-BE49-F238E27FC236}">
                  <a16:creationId xmlns:a16="http://schemas.microsoft.com/office/drawing/2014/main" id="{ED3322D9-3F6B-D844-8132-B543EC17FC83}"/>
                </a:ext>
              </a:extLst>
            </p:cNvPr>
            <p:cNvSpPr/>
            <p:nvPr/>
          </p:nvSpPr>
          <p:spPr>
            <a:xfrm>
              <a:off x="6201863" y="3052356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5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7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4" y="207214"/>
                  </a:lnTo>
                  <a:cubicBezTo>
                    <a:pt x="181432" y="233465"/>
                    <a:pt x="151496" y="245900"/>
                    <a:pt x="116034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5" y="65850"/>
                    <a:pt x="139990" y="45125"/>
                    <a:pt x="109134" y="45125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0" name="Freihandform: Form 281">
              <a:extLst>
                <a:ext uri="{FF2B5EF4-FFF2-40B4-BE49-F238E27FC236}">
                  <a16:creationId xmlns:a16="http://schemas.microsoft.com/office/drawing/2014/main" id="{11BE15B8-9FE9-8842-AFBF-19C02CC0595D}"/>
                </a:ext>
              </a:extLst>
            </p:cNvPr>
            <p:cNvSpPr/>
            <p:nvPr/>
          </p:nvSpPr>
          <p:spPr>
            <a:xfrm>
              <a:off x="6475831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7 w 201695"/>
                <a:gd name="connsiteY4" fmla="*/ 105910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7" y="80579"/>
                    <a:pt x="54797" y="105910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1" name="Freihandform: Form 282">
              <a:extLst>
                <a:ext uri="{FF2B5EF4-FFF2-40B4-BE49-F238E27FC236}">
                  <a16:creationId xmlns:a16="http://schemas.microsoft.com/office/drawing/2014/main" id="{6F5E3C86-3605-5747-8319-8673A2928526}"/>
                </a:ext>
              </a:extLst>
            </p:cNvPr>
            <p:cNvSpPr/>
            <p:nvPr/>
          </p:nvSpPr>
          <p:spPr>
            <a:xfrm>
              <a:off x="672606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7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0" y="200314"/>
                    <a:pt x="92545" y="200314"/>
                  </a:cubicBezTo>
                  <a:cubicBezTo>
                    <a:pt x="112809" y="200314"/>
                    <a:pt x="127078" y="191103"/>
                    <a:pt x="127078" y="176826"/>
                  </a:cubicBezTo>
                  <a:cubicBezTo>
                    <a:pt x="127078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5" y="0"/>
                    <a:pt x="154259" y="8282"/>
                    <a:pt x="179128" y="24401"/>
                  </a:cubicBezTo>
                  <a:lnTo>
                    <a:pt x="153337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1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2" name="Freihandform: Form 283">
              <a:extLst>
                <a:ext uri="{FF2B5EF4-FFF2-40B4-BE49-F238E27FC236}">
                  <a16:creationId xmlns:a16="http://schemas.microsoft.com/office/drawing/2014/main" id="{762F9A7D-75F9-E743-84CC-B5EDE4678AC8}"/>
                </a:ext>
              </a:extLst>
            </p:cNvPr>
            <p:cNvSpPr/>
            <p:nvPr/>
          </p:nvSpPr>
          <p:spPr>
            <a:xfrm>
              <a:off x="6951395" y="3052365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8 w 197542"/>
                <a:gd name="connsiteY3" fmla="*/ 0 h 245899"/>
                <a:gd name="connsiteX4" fmla="*/ 197542 w 197542"/>
                <a:gd name="connsiteY4" fmla="*/ 40060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25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60"/>
                  </a:cubicBezTo>
                  <a:lnTo>
                    <a:pt x="159777" y="75974"/>
                  </a:lnTo>
                  <a:cubicBezTo>
                    <a:pt x="145969" y="58013"/>
                    <a:pt x="131231" y="50192"/>
                    <a:pt x="112809" y="50192"/>
                  </a:cubicBezTo>
                  <a:cubicBezTo>
                    <a:pt x="78276" y="50192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62" y="196161"/>
                    <a:pt x="145500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3" name="Freihandform: Form 284">
              <a:extLst>
                <a:ext uri="{FF2B5EF4-FFF2-40B4-BE49-F238E27FC236}">
                  <a16:creationId xmlns:a16="http://schemas.microsoft.com/office/drawing/2014/main" id="{A1C42B2E-EE11-6440-B845-3A6542A008C8}"/>
                </a:ext>
              </a:extLst>
            </p:cNvPr>
            <p:cNvSpPr/>
            <p:nvPr/>
          </p:nvSpPr>
          <p:spPr>
            <a:xfrm>
              <a:off x="7195938" y="2950140"/>
              <a:ext cx="201695" cy="342598"/>
            </a:xfrm>
            <a:custGeom>
              <a:avLst/>
              <a:gdLst>
                <a:gd name="connsiteX0" fmla="*/ 201695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7 h 342598"/>
                <a:gd name="connsiteX10" fmla="*/ 55718 w 201695"/>
                <a:gd name="connsiteY10" fmla="*/ 136297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5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7"/>
                  </a:lnTo>
                  <a:lnTo>
                    <a:pt x="55718" y="136297"/>
                  </a:lnTo>
                  <a:cubicBezTo>
                    <a:pt x="69074" y="115573"/>
                    <a:pt x="93483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4" name="Freihandform: Form 285">
              <a:extLst>
                <a:ext uri="{FF2B5EF4-FFF2-40B4-BE49-F238E27FC236}">
                  <a16:creationId xmlns:a16="http://schemas.microsoft.com/office/drawing/2014/main" id="{3CC385F8-17EE-FB4E-A58D-E70F33DE0F72}"/>
                </a:ext>
              </a:extLst>
            </p:cNvPr>
            <p:cNvSpPr/>
            <p:nvPr/>
          </p:nvSpPr>
          <p:spPr>
            <a:xfrm>
              <a:off x="7451652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86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8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19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8" y="131240"/>
                    <a:pt x="106822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7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5" name="Freihandform: Form 286">
              <a:extLst>
                <a:ext uri="{FF2B5EF4-FFF2-40B4-BE49-F238E27FC236}">
                  <a16:creationId xmlns:a16="http://schemas.microsoft.com/office/drawing/2014/main" id="{E6B64C0C-7927-894E-B18C-68D4CECFE3A8}"/>
                </a:ext>
              </a:extLst>
            </p:cNvPr>
            <p:cNvSpPr/>
            <p:nvPr/>
          </p:nvSpPr>
          <p:spPr>
            <a:xfrm>
              <a:off x="7694437" y="2946899"/>
              <a:ext cx="143674" cy="345830"/>
            </a:xfrm>
            <a:custGeom>
              <a:avLst/>
              <a:gdLst>
                <a:gd name="connsiteX0" fmla="*/ 143674 w 143674"/>
                <a:gd name="connsiteY0" fmla="*/ 51582 h 345830"/>
                <a:gd name="connsiteX1" fmla="*/ 119734 w 143674"/>
                <a:gd name="connsiteY1" fmla="*/ 46976 h 345830"/>
                <a:gd name="connsiteX2" fmla="*/ 90720 w 143674"/>
                <a:gd name="connsiteY2" fmla="*/ 79667 h 345830"/>
                <a:gd name="connsiteX3" fmla="*/ 90720 w 143674"/>
                <a:gd name="connsiteY3" fmla="*/ 111445 h 345830"/>
                <a:gd name="connsiteX4" fmla="*/ 137235 w 143674"/>
                <a:gd name="connsiteY4" fmla="*/ 111445 h 345830"/>
                <a:gd name="connsiteX5" fmla="*/ 137235 w 143674"/>
                <a:gd name="connsiteY5" fmla="*/ 157031 h 345830"/>
                <a:gd name="connsiteX6" fmla="*/ 91180 w 143674"/>
                <a:gd name="connsiteY6" fmla="*/ 157031 h 345830"/>
                <a:gd name="connsiteX7" fmla="*/ 91180 w 143674"/>
                <a:gd name="connsiteY7" fmla="*/ 345831 h 345830"/>
                <a:gd name="connsiteX8" fmla="*/ 36383 w 143674"/>
                <a:gd name="connsiteY8" fmla="*/ 345831 h 345830"/>
                <a:gd name="connsiteX9" fmla="*/ 36383 w 143674"/>
                <a:gd name="connsiteY9" fmla="*/ 157031 h 345830"/>
                <a:gd name="connsiteX10" fmla="*/ 0 w 143674"/>
                <a:gd name="connsiteY10" fmla="*/ 157031 h 345830"/>
                <a:gd name="connsiteX11" fmla="*/ 0 w 143674"/>
                <a:gd name="connsiteY11" fmla="*/ 111445 h 345830"/>
                <a:gd name="connsiteX12" fmla="*/ 36383 w 143674"/>
                <a:gd name="connsiteY12" fmla="*/ 111445 h 345830"/>
                <a:gd name="connsiteX13" fmla="*/ 36383 w 143674"/>
                <a:gd name="connsiteY13" fmla="*/ 77825 h 345830"/>
                <a:gd name="connsiteX14" fmla="*/ 110983 w 143674"/>
                <a:gd name="connsiteY14" fmla="*/ 0 h 345830"/>
                <a:gd name="connsiteX15" fmla="*/ 143674 w 143674"/>
                <a:gd name="connsiteY15" fmla="*/ 5066 h 345830"/>
                <a:gd name="connsiteX16" fmla="*/ 143674 w 143674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74" h="345830">
                  <a:moveTo>
                    <a:pt x="143674" y="51582"/>
                  </a:moveTo>
                  <a:cubicBezTo>
                    <a:pt x="136306" y="48358"/>
                    <a:pt x="127555" y="46976"/>
                    <a:pt x="119734" y="46976"/>
                  </a:cubicBezTo>
                  <a:cubicBezTo>
                    <a:pt x="99010" y="46976"/>
                    <a:pt x="90720" y="57569"/>
                    <a:pt x="90720" y="79667"/>
                  </a:cubicBezTo>
                  <a:lnTo>
                    <a:pt x="90720" y="111445"/>
                  </a:lnTo>
                  <a:lnTo>
                    <a:pt x="137235" y="111445"/>
                  </a:lnTo>
                  <a:lnTo>
                    <a:pt x="137235" y="157031"/>
                  </a:lnTo>
                  <a:lnTo>
                    <a:pt x="91180" y="157031"/>
                  </a:lnTo>
                  <a:lnTo>
                    <a:pt x="91180" y="345831"/>
                  </a:lnTo>
                  <a:lnTo>
                    <a:pt x="36383" y="345831"/>
                  </a:lnTo>
                  <a:lnTo>
                    <a:pt x="36383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83" y="111445"/>
                  </a:lnTo>
                  <a:lnTo>
                    <a:pt x="36383" y="77825"/>
                  </a:lnTo>
                  <a:cubicBezTo>
                    <a:pt x="36383" y="29015"/>
                    <a:pt x="58490" y="0"/>
                    <a:pt x="110983" y="0"/>
                  </a:cubicBezTo>
                  <a:cubicBezTo>
                    <a:pt x="122958" y="0"/>
                    <a:pt x="134472" y="1382"/>
                    <a:pt x="143674" y="5066"/>
                  </a:cubicBezTo>
                  <a:lnTo>
                    <a:pt x="143674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6" name="Freihandform: Form 287">
              <a:extLst>
                <a:ext uri="{FF2B5EF4-FFF2-40B4-BE49-F238E27FC236}">
                  <a16:creationId xmlns:a16="http://schemas.microsoft.com/office/drawing/2014/main" id="{AD7AA03B-065B-884F-B753-EE431E475F56}"/>
                </a:ext>
              </a:extLst>
            </p:cNvPr>
            <p:cNvSpPr/>
            <p:nvPr/>
          </p:nvSpPr>
          <p:spPr>
            <a:xfrm>
              <a:off x="7867277" y="2982353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7" name="Freihandform: Form 288">
              <a:extLst>
                <a:ext uri="{FF2B5EF4-FFF2-40B4-BE49-F238E27FC236}">
                  <a16:creationId xmlns:a16="http://schemas.microsoft.com/office/drawing/2014/main" id="{D3F5F370-AD69-2D4C-85F1-46FCC7778636}"/>
                </a:ext>
              </a:extLst>
            </p:cNvPr>
            <p:cNvSpPr/>
            <p:nvPr/>
          </p:nvSpPr>
          <p:spPr>
            <a:xfrm>
              <a:off x="8049797" y="3052356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4 w 214130"/>
                <a:gd name="connsiteY2" fmla="*/ 0 h 245899"/>
                <a:gd name="connsiteX3" fmla="*/ 214131 w 214130"/>
                <a:gd name="connsiteY3" fmla="*/ 119266 h 245899"/>
                <a:gd name="connsiteX4" fmla="*/ 213209 w 214130"/>
                <a:gd name="connsiteY4" fmla="*/ 141824 h 245899"/>
                <a:gd name="connsiteX5" fmla="*/ 55727 w 214130"/>
                <a:gd name="connsiteY5" fmla="*/ 141824 h 245899"/>
                <a:gd name="connsiteX6" fmla="*/ 116510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88 w 214130"/>
                <a:gd name="connsiteY10" fmla="*/ 101765 h 245899"/>
                <a:gd name="connsiteX11" fmla="*/ 161159 w 214130"/>
                <a:gd name="connsiteY11" fmla="*/ 101765 h 245899"/>
                <a:gd name="connsiteX12" fmla="*/ 109125 w 214130"/>
                <a:gd name="connsiteY12" fmla="*/ 45125 h 245899"/>
                <a:gd name="connsiteX13" fmla="*/ 5478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4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09" y="141824"/>
                  </a:cubicBezTo>
                  <a:lnTo>
                    <a:pt x="55727" y="141824"/>
                  </a:lnTo>
                  <a:cubicBezTo>
                    <a:pt x="61714" y="178207"/>
                    <a:pt x="83351" y="198924"/>
                    <a:pt x="116510" y="198924"/>
                  </a:cubicBezTo>
                  <a:cubicBezTo>
                    <a:pt x="138147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23" y="233465"/>
                    <a:pt x="151487" y="245900"/>
                    <a:pt x="116033" y="245900"/>
                  </a:cubicBezTo>
                  <a:close/>
                  <a:moveTo>
                    <a:pt x="54788" y="101765"/>
                  </a:moveTo>
                  <a:lnTo>
                    <a:pt x="161159" y="101765"/>
                  </a:lnTo>
                  <a:cubicBezTo>
                    <a:pt x="158864" y="65850"/>
                    <a:pt x="139981" y="45125"/>
                    <a:pt x="109125" y="45125"/>
                  </a:cubicBezTo>
                  <a:cubicBezTo>
                    <a:pt x="78729" y="45134"/>
                    <a:pt x="59394" y="65390"/>
                    <a:pt x="54788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1" name="Freihandform: Form 289">
              <a:extLst>
                <a:ext uri="{FF2B5EF4-FFF2-40B4-BE49-F238E27FC236}">
                  <a16:creationId xmlns:a16="http://schemas.microsoft.com/office/drawing/2014/main" id="{4A88E5BF-5836-6D42-B2AB-2B1E947329F4}"/>
                </a:ext>
              </a:extLst>
            </p:cNvPr>
            <p:cNvSpPr/>
            <p:nvPr/>
          </p:nvSpPr>
          <p:spPr>
            <a:xfrm>
              <a:off x="8323756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2" name="Freihandform: Form 290">
              <a:extLst>
                <a:ext uri="{FF2B5EF4-FFF2-40B4-BE49-F238E27FC236}">
                  <a16:creationId xmlns:a16="http://schemas.microsoft.com/office/drawing/2014/main" id="{5944FE77-2F90-2348-85ED-D2E0C848463A}"/>
                </a:ext>
              </a:extLst>
            </p:cNvPr>
            <p:cNvSpPr/>
            <p:nvPr/>
          </p:nvSpPr>
          <p:spPr>
            <a:xfrm>
              <a:off x="8741466" y="2935854"/>
              <a:ext cx="31309" cy="452200"/>
            </a:xfrm>
            <a:custGeom>
              <a:avLst/>
              <a:gdLst>
                <a:gd name="connsiteX0" fmla="*/ 31309 w 31309"/>
                <a:gd name="connsiteY0" fmla="*/ 452201 h 452200"/>
                <a:gd name="connsiteX1" fmla="*/ 0 w 31309"/>
                <a:gd name="connsiteY1" fmla="*/ 452201 h 452200"/>
                <a:gd name="connsiteX2" fmla="*/ 0 w 31309"/>
                <a:gd name="connsiteY2" fmla="*/ 0 h 452200"/>
                <a:gd name="connsiteX3" fmla="*/ 31309 w 31309"/>
                <a:gd name="connsiteY3" fmla="*/ 0 h 452200"/>
                <a:gd name="connsiteX4" fmla="*/ 31309 w 31309"/>
                <a:gd name="connsiteY4" fmla="*/ 452201 h 45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09" h="452200">
                  <a:moveTo>
                    <a:pt x="31309" y="452201"/>
                  </a:moveTo>
                  <a:lnTo>
                    <a:pt x="0" y="452201"/>
                  </a:lnTo>
                  <a:lnTo>
                    <a:pt x="0" y="0"/>
                  </a:lnTo>
                  <a:lnTo>
                    <a:pt x="31309" y="0"/>
                  </a:lnTo>
                  <a:lnTo>
                    <a:pt x="31309" y="45220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3" name="Freihandform: Form 291">
              <a:extLst>
                <a:ext uri="{FF2B5EF4-FFF2-40B4-BE49-F238E27FC236}">
                  <a16:creationId xmlns:a16="http://schemas.microsoft.com/office/drawing/2014/main" id="{80B92F82-E6FF-3D47-8E3F-BA9DAC96F098}"/>
                </a:ext>
              </a:extLst>
            </p:cNvPr>
            <p:cNvSpPr/>
            <p:nvPr/>
          </p:nvSpPr>
          <p:spPr>
            <a:xfrm>
              <a:off x="8970820" y="2968545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8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3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8 w 398768"/>
                <a:gd name="connsiteY9" fmla="*/ 0 h 324184"/>
                <a:gd name="connsiteX10" fmla="*/ 317260 w 398768"/>
                <a:gd name="connsiteY10" fmla="*/ 324185 h 324184"/>
                <a:gd name="connsiteX11" fmla="*/ 257857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8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3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8" y="0"/>
                  </a:lnTo>
                  <a:lnTo>
                    <a:pt x="317260" y="324185"/>
                  </a:lnTo>
                  <a:lnTo>
                    <a:pt x="257857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4" name="Freihandform: Form 292">
              <a:extLst>
                <a:ext uri="{FF2B5EF4-FFF2-40B4-BE49-F238E27FC236}">
                  <a16:creationId xmlns:a16="http://schemas.microsoft.com/office/drawing/2014/main" id="{64C4FFA3-F4AC-3F41-A5FB-2CB056B9C0FE}"/>
                </a:ext>
              </a:extLst>
            </p:cNvPr>
            <p:cNvSpPr/>
            <p:nvPr/>
          </p:nvSpPr>
          <p:spPr>
            <a:xfrm>
              <a:off x="941575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5" name="Freihandform: Form 293">
              <a:extLst>
                <a:ext uri="{FF2B5EF4-FFF2-40B4-BE49-F238E27FC236}">
                  <a16:creationId xmlns:a16="http://schemas.microsoft.com/office/drawing/2014/main" id="{5B446D7B-E0C1-0F4F-8BD0-A125A1C87746}"/>
                </a:ext>
              </a:extLst>
            </p:cNvPr>
            <p:cNvSpPr/>
            <p:nvPr/>
          </p:nvSpPr>
          <p:spPr>
            <a:xfrm>
              <a:off x="9528805" y="2963018"/>
              <a:ext cx="227486" cy="335246"/>
            </a:xfrm>
            <a:custGeom>
              <a:avLst/>
              <a:gdLst>
                <a:gd name="connsiteX0" fmla="*/ 36383 w 227486"/>
                <a:gd name="connsiteY0" fmla="*/ 245900 h 335246"/>
                <a:gd name="connsiteX1" fmla="*/ 116971 w 227486"/>
                <a:gd name="connsiteY1" fmla="*/ 282283 h 335246"/>
                <a:gd name="connsiteX2" fmla="*/ 169466 w 227486"/>
                <a:gd name="connsiteY2" fmla="*/ 241755 h 335246"/>
                <a:gd name="connsiteX3" fmla="*/ 10601 w 227486"/>
                <a:gd name="connsiteY3" fmla="*/ 93944 h 335246"/>
                <a:gd name="connsiteX4" fmla="*/ 120656 w 227486"/>
                <a:gd name="connsiteY4" fmla="*/ 0 h 335246"/>
                <a:gd name="connsiteX5" fmla="*/ 225183 w 227486"/>
                <a:gd name="connsiteY5" fmla="*/ 39147 h 335246"/>
                <a:gd name="connsiteX6" fmla="*/ 188808 w 227486"/>
                <a:gd name="connsiteY6" fmla="*/ 83812 h 335246"/>
                <a:gd name="connsiteX7" fmla="*/ 117884 w 227486"/>
                <a:gd name="connsiteY7" fmla="*/ 52503 h 335246"/>
                <a:gd name="connsiteX8" fmla="*/ 68613 w 227486"/>
                <a:gd name="connsiteY8" fmla="*/ 88886 h 335246"/>
                <a:gd name="connsiteX9" fmla="*/ 227486 w 227486"/>
                <a:gd name="connsiteY9" fmla="*/ 237158 h 335246"/>
                <a:gd name="connsiteX10" fmla="*/ 115590 w 227486"/>
                <a:gd name="connsiteY10" fmla="*/ 335246 h 335246"/>
                <a:gd name="connsiteX11" fmla="*/ 0 w 227486"/>
                <a:gd name="connsiteY11" fmla="*/ 290573 h 335246"/>
                <a:gd name="connsiteX12" fmla="*/ 36383 w 227486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86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71" y="282283"/>
                  </a:cubicBezTo>
                  <a:cubicBezTo>
                    <a:pt x="147359" y="282283"/>
                    <a:pt x="169466" y="265243"/>
                    <a:pt x="169466" y="241755"/>
                  </a:cubicBezTo>
                  <a:cubicBezTo>
                    <a:pt x="169466" y="179589"/>
                    <a:pt x="10601" y="198932"/>
                    <a:pt x="10601" y="93944"/>
                  </a:cubicBezTo>
                  <a:cubicBezTo>
                    <a:pt x="10601" y="38226"/>
                    <a:pt x="55727" y="0"/>
                    <a:pt x="120656" y="0"/>
                  </a:cubicBezTo>
                  <a:cubicBezTo>
                    <a:pt x="159342" y="0"/>
                    <a:pt x="195256" y="13356"/>
                    <a:pt x="225183" y="39147"/>
                  </a:cubicBezTo>
                  <a:lnTo>
                    <a:pt x="188808" y="83812"/>
                  </a:lnTo>
                  <a:cubicBezTo>
                    <a:pt x="165321" y="63087"/>
                    <a:pt x="141841" y="52503"/>
                    <a:pt x="117884" y="52503"/>
                  </a:cubicBezTo>
                  <a:cubicBezTo>
                    <a:pt x="89339" y="52503"/>
                    <a:pt x="68613" y="67692"/>
                    <a:pt x="68613" y="88886"/>
                  </a:cubicBezTo>
                  <a:cubicBezTo>
                    <a:pt x="68613" y="147359"/>
                    <a:pt x="227486" y="128024"/>
                    <a:pt x="227486" y="237158"/>
                  </a:cubicBezTo>
                  <a:cubicBezTo>
                    <a:pt x="227486" y="295639"/>
                    <a:pt x="182352" y="335246"/>
                    <a:pt x="115590" y="335246"/>
                  </a:cubicBezTo>
                  <a:cubicBezTo>
                    <a:pt x="72767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6" name="Freihandform: Form 294">
              <a:extLst>
                <a:ext uri="{FF2B5EF4-FFF2-40B4-BE49-F238E27FC236}">
                  <a16:creationId xmlns:a16="http://schemas.microsoft.com/office/drawing/2014/main" id="{F99A2B08-EB8E-3C4E-86A9-E0CD77BE4516}"/>
                </a:ext>
              </a:extLst>
            </p:cNvPr>
            <p:cNvSpPr/>
            <p:nvPr/>
          </p:nvSpPr>
          <p:spPr>
            <a:xfrm>
              <a:off x="9804959" y="3052356"/>
              <a:ext cx="225636" cy="245908"/>
            </a:xfrm>
            <a:custGeom>
              <a:avLst/>
              <a:gdLst>
                <a:gd name="connsiteX0" fmla="*/ 0 w 225636"/>
                <a:gd name="connsiteY0" fmla="*/ 122950 h 245908"/>
                <a:gd name="connsiteX1" fmla="*/ 113739 w 225636"/>
                <a:gd name="connsiteY1" fmla="*/ 0 h 245908"/>
                <a:gd name="connsiteX2" fmla="*/ 225636 w 225636"/>
                <a:gd name="connsiteY2" fmla="*/ 122950 h 245908"/>
                <a:gd name="connsiteX3" fmla="*/ 113739 w 225636"/>
                <a:gd name="connsiteY3" fmla="*/ 245908 h 245908"/>
                <a:gd name="connsiteX4" fmla="*/ 0 w 225636"/>
                <a:gd name="connsiteY4" fmla="*/ 122950 h 245908"/>
                <a:gd name="connsiteX5" fmla="*/ 171300 w 225636"/>
                <a:gd name="connsiteY5" fmla="*/ 123410 h 245908"/>
                <a:gd name="connsiteX6" fmla="*/ 112818 w 225636"/>
                <a:gd name="connsiteY6" fmla="*/ 49731 h 245908"/>
                <a:gd name="connsiteX7" fmla="*/ 54345 w 225636"/>
                <a:gd name="connsiteY7" fmla="*/ 122481 h 245908"/>
                <a:gd name="connsiteX8" fmla="*/ 113287 w 225636"/>
                <a:gd name="connsiteY8" fmla="*/ 196621 h 245908"/>
                <a:gd name="connsiteX9" fmla="*/ 171300 w 225636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36" h="245908">
                  <a:moveTo>
                    <a:pt x="0" y="122950"/>
                  </a:moveTo>
                  <a:cubicBezTo>
                    <a:pt x="0" y="49270"/>
                    <a:pt x="45586" y="0"/>
                    <a:pt x="113739" y="0"/>
                  </a:cubicBezTo>
                  <a:cubicBezTo>
                    <a:pt x="181431" y="0"/>
                    <a:pt x="225636" y="48349"/>
                    <a:pt x="225636" y="122950"/>
                  </a:cubicBezTo>
                  <a:cubicBezTo>
                    <a:pt x="225636" y="196629"/>
                    <a:pt x="181884" y="245908"/>
                    <a:pt x="113739" y="245908"/>
                  </a:cubicBezTo>
                  <a:cubicBezTo>
                    <a:pt x="46047" y="245900"/>
                    <a:pt x="0" y="197090"/>
                    <a:pt x="0" y="122950"/>
                  </a:cubicBezTo>
                  <a:close/>
                  <a:moveTo>
                    <a:pt x="171300" y="123410"/>
                  </a:moveTo>
                  <a:cubicBezTo>
                    <a:pt x="171300" y="77824"/>
                    <a:pt x="148741" y="49731"/>
                    <a:pt x="112818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03" y="196621"/>
                    <a:pt x="113287" y="196621"/>
                  </a:cubicBezTo>
                  <a:cubicBezTo>
                    <a:pt x="149193" y="196629"/>
                    <a:pt x="171300" y="168536"/>
                    <a:pt x="171300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87" name="Freihandform: Form 92">
            <a:extLst>
              <a:ext uri="{FF2B5EF4-FFF2-40B4-BE49-F238E27FC236}">
                <a16:creationId xmlns:a16="http://schemas.microsoft.com/office/drawing/2014/main" id="{7D8B89C2-03BA-BF41-B421-7D361A7B4853}"/>
              </a:ext>
            </a:extLst>
          </p:cNvPr>
          <p:cNvSpPr/>
          <p:nvPr userDrawn="1"/>
        </p:nvSpPr>
        <p:spPr>
          <a:xfrm>
            <a:off x="10272160" y="300704"/>
            <a:ext cx="1403903" cy="535987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rgbClr val="041E42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8AF7BCCE-B996-4806-8952-0CF314FA7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18B4-3F95-4A14-B2AF-34258F793431}" type="datetimeFigureOut">
              <a:rPr lang="zh-CN" altLang="en-US" smtClean="0"/>
              <a:t>2023/3/13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835C8A0-F46B-403F-AD01-826079A6D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B73DD43-BFD0-4A49-9297-3FF91B04A1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91A3C-0EAB-4EA9-B10E-362C554889B1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34707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3E7786-5C07-FF48-EBF3-A4C5C384E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AF87447-8717-A590-0D52-640435A6F5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EFF7234-54D9-B85F-5445-BC0D7CA4AD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CC300-D21E-C240-BC68-2B07EB6A8AD5}" type="datetimeFigureOut">
              <a:rPr lang="de-DE" smtClean="0"/>
              <a:t>13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3179CD4-393C-11B3-E3E7-6FE27D74B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26959BC-8C1E-5D89-6608-097061EFE2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90396-6A52-8E43-BCE7-528C980B7A9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09963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_Titel Auf AEG Büro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77419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300493" y="1316766"/>
            <a:ext cx="11891507" cy="1296260"/>
          </a:xfrm>
          <a:prstGeom prst="rect">
            <a:avLst/>
          </a:prstGeom>
          <a:solidFill>
            <a:srgbClr val="8D1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40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27999" y="1397001"/>
            <a:ext cx="11424000" cy="528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eaLnBrk="1">
              <a:defRPr sz="3733"/>
            </a:lvl1pPr>
          </a:lstStyle>
          <a:p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27999" y="1999161"/>
            <a:ext cx="11424000" cy="61386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eaLnBrk="1">
              <a:lnSpc>
                <a:spcPts val="4267"/>
              </a:lnSpc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2650B6B-1F79-4D16-893B-CF99799769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7" b="26122"/>
          <a:stretch/>
        </p:blipFill>
        <p:spPr>
          <a:xfrm>
            <a:off x="300493" y="2646295"/>
            <a:ext cx="11891507" cy="3933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4712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_Titel Auf AEG Einfahrt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182483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300493" y="1316766"/>
            <a:ext cx="11891507" cy="1296260"/>
          </a:xfrm>
          <a:prstGeom prst="rect">
            <a:avLst/>
          </a:prstGeom>
          <a:solidFill>
            <a:srgbClr val="8D1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40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27999" y="1397001"/>
            <a:ext cx="11424000" cy="528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eaLnBrk="1">
              <a:defRPr sz="3733"/>
            </a:lvl1pPr>
          </a:lstStyle>
          <a:p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27999" y="1999161"/>
            <a:ext cx="11424000" cy="61386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eaLnBrk="1">
              <a:lnSpc>
                <a:spcPts val="4267"/>
              </a:lnSpc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036F8E2-4EFA-411A-A98C-02F5EEDA2F52}"/>
              </a:ext>
            </a:extLst>
          </p:cNvPr>
          <p:cNvPicPr>
            <a:picLocks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8"/>
          <a:stretch/>
        </p:blipFill>
        <p:spPr bwMode="auto">
          <a:xfrm>
            <a:off x="300493" y="2646297"/>
            <a:ext cx="11891507" cy="39338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242509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_Titel Auf AEG Gelbe Skulptur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1843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300493" y="1316766"/>
            <a:ext cx="11891507" cy="1296260"/>
          </a:xfrm>
          <a:prstGeom prst="rect">
            <a:avLst/>
          </a:prstGeom>
          <a:solidFill>
            <a:srgbClr val="8D1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40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27999" y="1397001"/>
            <a:ext cx="11424000" cy="528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eaLnBrk="1">
              <a:defRPr sz="3733"/>
            </a:lvl1pPr>
          </a:lstStyle>
          <a:p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27999" y="1999161"/>
            <a:ext cx="11424000" cy="61386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eaLnBrk="1">
              <a:lnSpc>
                <a:spcPts val="4267"/>
              </a:lnSpc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036F8E2-4EFA-411A-A98C-02F5EEDA2F52}"/>
              </a:ext>
            </a:extLst>
          </p:cNvPr>
          <p:cNvPicPr>
            <a:picLocks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0493" y="2646297"/>
            <a:ext cx="11891507" cy="39338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62459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_Titel Lange Gasse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424314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300493" y="1316766"/>
            <a:ext cx="11891507" cy="1296260"/>
          </a:xfrm>
          <a:prstGeom prst="rect">
            <a:avLst/>
          </a:prstGeom>
          <a:solidFill>
            <a:srgbClr val="8D1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40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27999" y="1397001"/>
            <a:ext cx="11424000" cy="528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eaLnBrk="1">
              <a:defRPr sz="3733"/>
            </a:lvl1pPr>
          </a:lstStyle>
          <a:p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27999" y="1999161"/>
            <a:ext cx="11424000" cy="61386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eaLnBrk="1">
              <a:lnSpc>
                <a:spcPts val="4267"/>
              </a:lnSpc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036F8E2-4EFA-411A-A98C-02F5EEDA2F52}"/>
              </a:ext>
            </a:extLst>
          </p:cNvPr>
          <p:cNvPicPr>
            <a:picLocks noChangeArrowheads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" t="15841" r="1632" b="14365"/>
          <a:stretch/>
        </p:blipFill>
        <p:spPr bwMode="auto">
          <a:xfrm>
            <a:off x="300493" y="2646297"/>
            <a:ext cx="11891507" cy="39338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227820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_Titel Eigenes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570087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300493" y="1316766"/>
            <a:ext cx="11891507" cy="1296260"/>
          </a:xfrm>
          <a:prstGeom prst="rect">
            <a:avLst/>
          </a:prstGeom>
          <a:solidFill>
            <a:srgbClr val="8D1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40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27999" y="1397001"/>
            <a:ext cx="11424000" cy="528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eaLnBrk="1">
              <a:defRPr sz="3733"/>
            </a:lvl1pPr>
          </a:lstStyle>
          <a:p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27999" y="1999161"/>
            <a:ext cx="11424000" cy="61386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eaLnBrk="1">
              <a:lnSpc>
                <a:spcPts val="4267"/>
              </a:lnSpc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300493" y="2646297"/>
            <a:ext cx="11891507" cy="39338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14315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_Titel Siegel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57404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300493" y="2644829"/>
            <a:ext cx="11891507" cy="3933892"/>
          </a:xfrm>
          <a:prstGeom prst="rect">
            <a:avLst/>
          </a:prstGeom>
          <a:solidFill>
            <a:srgbClr val="8D1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400"/>
          </a:p>
        </p:txBody>
      </p:sp>
      <p:sp>
        <p:nvSpPr>
          <p:cNvPr id="8" name="Rechteck 7"/>
          <p:cNvSpPr/>
          <p:nvPr userDrawn="1"/>
        </p:nvSpPr>
        <p:spPr>
          <a:xfrm>
            <a:off x="300493" y="1316765"/>
            <a:ext cx="11891507" cy="1296260"/>
          </a:xfrm>
          <a:prstGeom prst="rect">
            <a:avLst/>
          </a:prstGeom>
          <a:solidFill>
            <a:srgbClr val="8D1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400"/>
          </a:p>
        </p:txBody>
      </p:sp>
      <p:pic>
        <p:nvPicPr>
          <p:cNvPr id="9" name="Grafik 8" descr="FAU-Siegel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058875" y="3391021"/>
            <a:ext cx="3134460" cy="3187700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28000" y="1999160"/>
            <a:ext cx="11424000" cy="61386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eaLnBrk="1">
              <a:lnSpc>
                <a:spcPts val="4267"/>
              </a:lnSpc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F5EFBDD8-8342-42C0-9AAC-5955D285AB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7999" y="1397001"/>
            <a:ext cx="11424000" cy="528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eaLnBrk="1">
              <a:defRPr sz="3733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82766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_Titel Auf AEG Einfahrt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0213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300493" y="1316765"/>
            <a:ext cx="11891507" cy="2625532"/>
          </a:xfrm>
          <a:prstGeom prst="rect">
            <a:avLst/>
          </a:prstGeom>
          <a:solidFill>
            <a:srgbClr val="8D1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40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B5C3BEF9-7CF9-482E-8ADB-E417CA0E40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8001" y="1397000"/>
            <a:ext cx="11435951" cy="1246021"/>
          </a:xfrm>
          <a:prstGeom prst="rect">
            <a:avLst/>
          </a:prstGeom>
        </p:spPr>
        <p:txBody>
          <a:bodyPr lIns="0" tIns="0" rIns="0" bIns="0"/>
          <a:lstStyle>
            <a:lvl1pPr eaLnBrk="1">
              <a:defRPr sz="3733"/>
            </a:lvl1pPr>
          </a:lstStyle>
          <a:p>
            <a:endParaRPr lang="de-DE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C81E541-AE5C-4D03-87F0-9627CA32F2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8001" y="2685650"/>
            <a:ext cx="11455359" cy="114246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eaLnBrk="1">
              <a:lnSpc>
                <a:spcPts val="4267"/>
              </a:lnSpc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/>
          </a:p>
        </p:txBody>
      </p:sp>
      <p:pic>
        <p:nvPicPr>
          <p:cNvPr id="6" name="Bildplatzhalter 6">
            <a:extLst>
              <a:ext uri="{FF2B5EF4-FFF2-40B4-BE49-F238E27FC236}">
                <a16:creationId xmlns:a16="http://schemas.microsoft.com/office/drawing/2014/main" id="{CA6BD80A-0D21-4846-917A-A707888AA389}"/>
              </a:ext>
            </a:extLst>
          </p:cNvPr>
          <p:cNvPicPr>
            <a:picLocks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38" b="17346"/>
          <a:stretch/>
        </p:blipFill>
        <p:spPr>
          <a:xfrm>
            <a:off x="300493" y="3981203"/>
            <a:ext cx="11891507" cy="2601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9895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DC6F78-0142-493C-81EB-3432612FA901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9" name="Bildplatzhalter 8">
            <a:extLst>
              <a:ext uri="{FF2B5EF4-FFF2-40B4-BE49-F238E27FC236}">
                <a16:creationId xmlns:a16="http://schemas.microsoft.com/office/drawing/2014/main" id="{C307E1A8-BB91-4A01-9481-49FD8B5663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40" name="Textplatzhalter 10">
            <a:extLst>
              <a:ext uri="{FF2B5EF4-FFF2-40B4-BE49-F238E27FC236}">
                <a16:creationId xmlns:a16="http://schemas.microsoft.com/office/drawing/2014/main" id="{7ADEC47A-086D-40D0-ACA4-69135933812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814385D7-3CBE-40E3-B67F-C8C515F3C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BF0108A6-83E5-4EB1-9FFE-599D1B8CC3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267C2477-3228-475F-AFD7-A441A08AAE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372EDABB-0CB3-495E-B38E-EBB187C3F0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F8DE391A-D3CD-46A0-9DA6-BE18B632C9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22FFA5-3E37-4F35-A696-49186B6B11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BFD50D54-7BD1-4F76-8C9C-C2D77E5924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1CB17604-E112-4197-B54C-292891529D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D30B4D90-1B5E-403E-AD31-C320040320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72B1944A-640B-4200-A785-CFA163F7181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CB7BBA-6A53-45DD-882E-1DF6A99780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E56B6C1-047C-44D7-B1DD-8B723581E0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8F4DFED6-EBAA-4D0C-A5C6-CD2902883FB9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65D3C98-AF8F-400F-858D-1D6CD4B95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48A61E00-2C71-4160-8106-B46A2E72025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760054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_Titel Lange Gasse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663987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300493" y="1316765"/>
            <a:ext cx="11891507" cy="2625532"/>
          </a:xfrm>
          <a:prstGeom prst="rect">
            <a:avLst/>
          </a:prstGeom>
          <a:solidFill>
            <a:srgbClr val="8D1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400"/>
          </a:p>
        </p:txBody>
      </p:sp>
      <p:pic>
        <p:nvPicPr>
          <p:cNvPr id="6" name="Bildplatzhalter 6" descr="ReWi_WiSo_Neubau-breit.JPG">
            <a:extLst>
              <a:ext uri="{FF2B5EF4-FFF2-40B4-BE49-F238E27FC236}">
                <a16:creationId xmlns:a16="http://schemas.microsoft.com/office/drawing/2014/main" id="{CA6BD80A-0D21-4846-917A-A707888AA389}"/>
              </a:ext>
            </a:extLst>
          </p:cNvPr>
          <p:cNvPicPr>
            <a:picLocks/>
          </p:cNvPicPr>
          <p:nvPr userDrawn="1"/>
        </p:nvPicPr>
        <p:blipFill>
          <a:blip r:embed="rId5" cstate="print">
            <a:lum bright="2000" contrast="9000"/>
          </a:blip>
          <a:srcRect t="35505" b="35505"/>
          <a:stretch>
            <a:fillRect/>
          </a:stretch>
        </p:blipFill>
        <p:spPr>
          <a:xfrm>
            <a:off x="300493" y="3981203"/>
            <a:ext cx="11891507" cy="2601351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B5C3BEF9-7CF9-482E-8ADB-E417CA0E40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8001" y="1397000"/>
            <a:ext cx="11435951" cy="1246021"/>
          </a:xfrm>
          <a:prstGeom prst="rect">
            <a:avLst/>
          </a:prstGeom>
        </p:spPr>
        <p:txBody>
          <a:bodyPr lIns="0" tIns="0" rIns="0" bIns="0"/>
          <a:lstStyle>
            <a:lvl1pPr eaLnBrk="1">
              <a:defRPr sz="3733"/>
            </a:lvl1pPr>
          </a:lstStyle>
          <a:p>
            <a:endParaRPr lang="de-DE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C81E541-AE5C-4D03-87F0-9627CA32F2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8001" y="2685650"/>
            <a:ext cx="11455359" cy="114246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eaLnBrk="1">
              <a:lnSpc>
                <a:spcPts val="4267"/>
              </a:lnSpc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71642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_Titel Eigenes 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00433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300493" y="1314721"/>
            <a:ext cx="11891507" cy="2628631"/>
          </a:xfrm>
          <a:prstGeom prst="rect">
            <a:avLst/>
          </a:prstGeom>
          <a:solidFill>
            <a:srgbClr val="8D1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40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B5C3BEF9-7CF9-482E-8ADB-E417CA0E40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8001" y="1397000"/>
            <a:ext cx="11435951" cy="1246021"/>
          </a:xfrm>
          <a:prstGeom prst="rect">
            <a:avLst/>
          </a:prstGeom>
        </p:spPr>
        <p:txBody>
          <a:bodyPr lIns="0" tIns="0" rIns="0" bIns="0"/>
          <a:lstStyle>
            <a:lvl1pPr eaLnBrk="1">
              <a:defRPr sz="3733"/>
            </a:lvl1pPr>
          </a:lstStyle>
          <a:p>
            <a:endParaRPr lang="de-DE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C81E541-AE5C-4D03-87F0-9627CA32F2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8001" y="2685650"/>
            <a:ext cx="11455359" cy="114246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eaLnBrk="1">
              <a:lnSpc>
                <a:spcPts val="4267"/>
              </a:lnSpc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300493" y="3981203"/>
            <a:ext cx="11891507" cy="2601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45349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E_Titel Siegel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14625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 userDrawn="1"/>
        </p:nvSpPr>
        <p:spPr>
          <a:xfrm>
            <a:off x="300493" y="3981451"/>
            <a:ext cx="11891507" cy="2601351"/>
          </a:xfrm>
          <a:prstGeom prst="rect">
            <a:avLst/>
          </a:prstGeom>
          <a:solidFill>
            <a:srgbClr val="8D1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400"/>
          </a:p>
        </p:txBody>
      </p:sp>
      <p:sp>
        <p:nvSpPr>
          <p:cNvPr id="5" name="Rechteck 4"/>
          <p:cNvSpPr/>
          <p:nvPr userDrawn="1"/>
        </p:nvSpPr>
        <p:spPr>
          <a:xfrm>
            <a:off x="300493" y="1316766"/>
            <a:ext cx="11891507" cy="2625532"/>
          </a:xfrm>
          <a:prstGeom prst="rect">
            <a:avLst/>
          </a:prstGeom>
          <a:solidFill>
            <a:srgbClr val="8D1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400"/>
          </a:p>
        </p:txBody>
      </p:sp>
      <p:pic>
        <p:nvPicPr>
          <p:cNvPr id="6" name="Grafik 5" descr="FAU-Siegel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0473686" y="4813300"/>
            <a:ext cx="1726569" cy="175589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28001" y="1397000"/>
            <a:ext cx="11435951" cy="1246021"/>
          </a:xfrm>
          <a:prstGeom prst="rect">
            <a:avLst/>
          </a:prstGeom>
        </p:spPr>
        <p:txBody>
          <a:bodyPr lIns="0" tIns="0" rIns="0" bIns="0"/>
          <a:lstStyle>
            <a:lvl1pPr eaLnBrk="1">
              <a:defRPr sz="3733"/>
            </a:lvl1pPr>
          </a:lstStyle>
          <a:p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28001" y="2685650"/>
            <a:ext cx="11455359" cy="114246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eaLnBrk="1">
              <a:lnSpc>
                <a:spcPts val="4267"/>
              </a:lnSpc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8343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_Titel Siegel komp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21630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733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5A837BF-47F6-4A42-8671-1422F0D648DF}"/>
              </a:ext>
            </a:extLst>
          </p:cNvPr>
          <p:cNvSpPr/>
          <p:nvPr userDrawn="1"/>
        </p:nvSpPr>
        <p:spPr>
          <a:xfrm>
            <a:off x="300493" y="1316764"/>
            <a:ext cx="11891507" cy="5270231"/>
          </a:xfrm>
          <a:prstGeom prst="rect">
            <a:avLst/>
          </a:prstGeom>
          <a:solidFill>
            <a:srgbClr val="8D1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400"/>
          </a:p>
        </p:txBody>
      </p:sp>
      <p:pic>
        <p:nvPicPr>
          <p:cNvPr id="14" name="Grafik 13" descr="FAU-Siegel">
            <a:extLst>
              <a:ext uri="{FF2B5EF4-FFF2-40B4-BE49-F238E27FC236}">
                <a16:creationId xmlns:a16="http://schemas.microsoft.com/office/drawing/2014/main" id="{2B8BE98B-8124-493F-857B-91F5E34308E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0473686" y="4813300"/>
            <a:ext cx="1726569" cy="1755896"/>
          </a:xfrm>
          <a:prstGeom prst="rect">
            <a:avLst/>
          </a:prstGeom>
        </p:spPr>
      </p:pic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28001" y="3819593"/>
            <a:ext cx="11453001" cy="26430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4267"/>
              </a:lnSpc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Untertitel durch Klicken hinzufügen</a:t>
            </a:r>
          </a:p>
        </p:txBody>
      </p:sp>
      <p:sp>
        <p:nvSpPr>
          <p:cNvPr id="13" name="Titel 1"/>
          <p:cNvSpPr>
            <a:spLocks noGrp="1"/>
          </p:cNvSpPr>
          <p:nvPr>
            <p:ph type="ctrTitle" hasCustomPrompt="1"/>
          </p:nvPr>
        </p:nvSpPr>
        <p:spPr>
          <a:xfrm>
            <a:off x="528000" y="1397002"/>
            <a:ext cx="11424000" cy="23032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3733" baseline="0"/>
            </a:lvl1pPr>
          </a:lstStyle>
          <a:p>
            <a:r>
              <a:rPr lang="de-DE"/>
              <a:t>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4736696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_Letzt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63448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05A837BF-47F6-4A42-8671-1422F0D648DF}"/>
              </a:ext>
            </a:extLst>
          </p:cNvPr>
          <p:cNvSpPr/>
          <p:nvPr userDrawn="1"/>
        </p:nvSpPr>
        <p:spPr>
          <a:xfrm>
            <a:off x="300493" y="1316764"/>
            <a:ext cx="11891507" cy="5270231"/>
          </a:xfrm>
          <a:prstGeom prst="rect">
            <a:avLst/>
          </a:prstGeom>
          <a:solidFill>
            <a:srgbClr val="8D1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400"/>
          </a:p>
        </p:txBody>
      </p:sp>
      <p:pic>
        <p:nvPicPr>
          <p:cNvPr id="17" name="Grafik 16" descr="FAU-Siegel">
            <a:extLst>
              <a:ext uri="{FF2B5EF4-FFF2-40B4-BE49-F238E27FC236}">
                <a16:creationId xmlns:a16="http://schemas.microsoft.com/office/drawing/2014/main" id="{2B8BE98B-8124-493F-857B-91F5E34308E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0473686" y="4813300"/>
            <a:ext cx="1726569" cy="175589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C6EB10DE-0284-434A-9A86-AFCBA5575F47}"/>
              </a:ext>
            </a:extLst>
          </p:cNvPr>
          <p:cNvSpPr txBox="1"/>
          <p:nvPr userDrawn="1"/>
        </p:nvSpPr>
        <p:spPr>
          <a:xfrm>
            <a:off x="528000" y="1397002"/>
            <a:ext cx="11424813" cy="670269"/>
          </a:xfrm>
          <a:prstGeom prst="rect">
            <a:avLst/>
          </a:prstGeom>
        </p:spPr>
        <p:txBody>
          <a:bodyPr lIns="0" tIns="0" rIns="0" bIns="0">
            <a:normAutofit fontScale="92500"/>
          </a:bodyPr>
          <a:lstStyle>
            <a:lvl1pPr>
              <a:lnSpc>
                <a:spcPts val="3200"/>
              </a:lnSpc>
              <a:spcBef>
                <a:spcPct val="0"/>
              </a:spcBef>
              <a:buNone/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sz="3733"/>
              <a:t>Juniorprofessur für Intelligent Information Systems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1902444" y="4411693"/>
            <a:ext cx="8085221" cy="20104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 Patrick Zschech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13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13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achbereich Wirtschafts- und Sozialwissenschaften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78355" algn="l"/>
              </a:tabLst>
              <a:defRPr/>
            </a:pPr>
            <a:r>
              <a:rPr kumimoji="0" lang="de-DE" sz="213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78355" algn="l"/>
              </a:tabLst>
              <a:defRPr/>
            </a:pPr>
            <a:r>
              <a:rPr kumimoji="0" lang="de-DE" sz="213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patrick.zschech@fau.de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78355" algn="l"/>
              </a:tabLst>
              <a:defRPr/>
            </a:pPr>
            <a:r>
              <a:rPr kumimoji="0" lang="de-DE" sz="213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www.intelligentsystems.wiso.fau.de</a:t>
            </a:r>
          </a:p>
        </p:txBody>
      </p:sp>
      <p:pic>
        <p:nvPicPr>
          <p:cNvPr id="13" name="Grafik 12" descr="Ein Bild, das Person, Mann, Schlips, Anzug enthält.&#10;&#10;Automatisch generierte Beschreibung">
            <a:extLst>
              <a:ext uri="{FF2B5EF4-FFF2-40B4-BE49-F238E27FC236}">
                <a16:creationId xmlns:a16="http://schemas.microsoft.com/office/drawing/2014/main" id="{3A4FA440-359A-4C10-98CB-9D08A2B316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82" r="6263"/>
          <a:stretch/>
        </p:blipFill>
        <p:spPr>
          <a:xfrm>
            <a:off x="528000" y="4594608"/>
            <a:ext cx="1218251" cy="1801561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650D10D2-4720-438F-85E0-F8F185A84247}"/>
              </a:ext>
            </a:extLst>
          </p:cNvPr>
          <p:cNvGrpSpPr/>
          <p:nvPr userDrawn="1"/>
        </p:nvGrpSpPr>
        <p:grpSpPr>
          <a:xfrm>
            <a:off x="1902445" y="5820774"/>
            <a:ext cx="268601" cy="577709"/>
            <a:chOff x="1426833" y="4365580"/>
            <a:chExt cx="201451" cy="433282"/>
          </a:xfrm>
        </p:grpSpPr>
        <p:sp>
          <p:nvSpPr>
            <p:cNvPr id="15" name="Freeform 238">
              <a:extLst>
                <a:ext uri="{FF2B5EF4-FFF2-40B4-BE49-F238E27FC236}">
                  <a16:creationId xmlns:a16="http://schemas.microsoft.com/office/drawing/2014/main" id="{E4AFC72E-256E-4A29-A89A-E2E7B887A5F7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426833" y="4365580"/>
              <a:ext cx="201451" cy="152622"/>
            </a:xfrm>
            <a:custGeom>
              <a:avLst/>
              <a:gdLst>
                <a:gd name="T0" fmla="*/ 0 w 564"/>
                <a:gd name="T1" fmla="*/ 393 h 443"/>
                <a:gd name="T2" fmla="*/ 0 w 564"/>
                <a:gd name="T3" fmla="*/ 143 h 443"/>
                <a:gd name="T4" fmla="*/ 31 w 564"/>
                <a:gd name="T5" fmla="*/ 170 h 443"/>
                <a:gd name="T6" fmla="*/ 188 w 564"/>
                <a:gd name="T7" fmla="*/ 279 h 443"/>
                <a:gd name="T8" fmla="*/ 217 w 564"/>
                <a:gd name="T9" fmla="*/ 299 h 443"/>
                <a:gd name="T10" fmla="*/ 247 w 564"/>
                <a:gd name="T11" fmla="*/ 314 h 443"/>
                <a:gd name="T12" fmla="*/ 281 w 564"/>
                <a:gd name="T13" fmla="*/ 322 h 443"/>
                <a:gd name="T14" fmla="*/ 282 w 564"/>
                <a:gd name="T15" fmla="*/ 322 h 443"/>
                <a:gd name="T16" fmla="*/ 282 w 564"/>
                <a:gd name="T17" fmla="*/ 322 h 443"/>
                <a:gd name="T18" fmla="*/ 317 w 564"/>
                <a:gd name="T19" fmla="*/ 314 h 443"/>
                <a:gd name="T20" fmla="*/ 346 w 564"/>
                <a:gd name="T21" fmla="*/ 299 h 443"/>
                <a:gd name="T22" fmla="*/ 376 w 564"/>
                <a:gd name="T23" fmla="*/ 279 h 443"/>
                <a:gd name="T24" fmla="*/ 532 w 564"/>
                <a:gd name="T25" fmla="*/ 170 h 443"/>
                <a:gd name="T26" fmla="*/ 564 w 564"/>
                <a:gd name="T27" fmla="*/ 143 h 443"/>
                <a:gd name="T28" fmla="*/ 564 w 564"/>
                <a:gd name="T29" fmla="*/ 393 h 443"/>
                <a:gd name="T30" fmla="*/ 549 w 564"/>
                <a:gd name="T31" fmla="*/ 428 h 443"/>
                <a:gd name="T32" fmla="*/ 514 w 564"/>
                <a:gd name="T33" fmla="*/ 443 h 443"/>
                <a:gd name="T34" fmla="*/ 50 w 564"/>
                <a:gd name="T35" fmla="*/ 443 h 443"/>
                <a:gd name="T36" fmla="*/ 14 w 564"/>
                <a:gd name="T37" fmla="*/ 428 h 443"/>
                <a:gd name="T38" fmla="*/ 0 w 564"/>
                <a:gd name="T39" fmla="*/ 393 h 443"/>
                <a:gd name="T40" fmla="*/ 0 w 564"/>
                <a:gd name="T41" fmla="*/ 57 h 443"/>
                <a:gd name="T42" fmla="*/ 13 w 564"/>
                <a:gd name="T43" fmla="*/ 16 h 443"/>
                <a:gd name="T44" fmla="*/ 50 w 564"/>
                <a:gd name="T45" fmla="*/ 0 h 443"/>
                <a:gd name="T46" fmla="*/ 514 w 564"/>
                <a:gd name="T47" fmla="*/ 0 h 443"/>
                <a:gd name="T48" fmla="*/ 549 w 564"/>
                <a:gd name="T49" fmla="*/ 14 h 443"/>
                <a:gd name="T50" fmla="*/ 564 w 564"/>
                <a:gd name="T51" fmla="*/ 50 h 443"/>
                <a:gd name="T52" fmla="*/ 549 w 564"/>
                <a:gd name="T53" fmla="*/ 97 h 443"/>
                <a:gd name="T54" fmla="*/ 510 w 564"/>
                <a:gd name="T55" fmla="*/ 136 h 443"/>
                <a:gd name="T56" fmla="*/ 363 w 564"/>
                <a:gd name="T57" fmla="*/ 239 h 443"/>
                <a:gd name="T58" fmla="*/ 349 w 564"/>
                <a:gd name="T59" fmla="*/ 248 h 443"/>
                <a:gd name="T60" fmla="*/ 332 w 564"/>
                <a:gd name="T61" fmla="*/ 260 h 443"/>
                <a:gd name="T62" fmla="*/ 316 w 564"/>
                <a:gd name="T63" fmla="*/ 270 h 443"/>
                <a:gd name="T64" fmla="*/ 298 w 564"/>
                <a:gd name="T65" fmla="*/ 279 h 443"/>
                <a:gd name="T66" fmla="*/ 282 w 564"/>
                <a:gd name="T67" fmla="*/ 282 h 443"/>
                <a:gd name="T68" fmla="*/ 282 w 564"/>
                <a:gd name="T69" fmla="*/ 282 h 443"/>
                <a:gd name="T70" fmla="*/ 281 w 564"/>
                <a:gd name="T71" fmla="*/ 282 h 443"/>
                <a:gd name="T72" fmla="*/ 266 w 564"/>
                <a:gd name="T73" fmla="*/ 279 h 443"/>
                <a:gd name="T74" fmla="*/ 248 w 564"/>
                <a:gd name="T75" fmla="*/ 270 h 443"/>
                <a:gd name="T76" fmla="*/ 231 w 564"/>
                <a:gd name="T77" fmla="*/ 260 h 443"/>
                <a:gd name="T78" fmla="*/ 214 w 564"/>
                <a:gd name="T79" fmla="*/ 248 h 443"/>
                <a:gd name="T80" fmla="*/ 201 w 564"/>
                <a:gd name="T81" fmla="*/ 239 h 443"/>
                <a:gd name="T82" fmla="*/ 118 w 564"/>
                <a:gd name="T83" fmla="*/ 181 h 443"/>
                <a:gd name="T84" fmla="*/ 54 w 564"/>
                <a:gd name="T85" fmla="*/ 136 h 443"/>
                <a:gd name="T86" fmla="*/ 17 w 564"/>
                <a:gd name="T87" fmla="*/ 100 h 443"/>
                <a:gd name="T88" fmla="*/ 0 w 564"/>
                <a:gd name="T89" fmla="*/ 57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4" h="443">
                  <a:moveTo>
                    <a:pt x="0" y="393"/>
                  </a:moveTo>
                  <a:lnTo>
                    <a:pt x="0" y="143"/>
                  </a:lnTo>
                  <a:cubicBezTo>
                    <a:pt x="9" y="153"/>
                    <a:pt x="19" y="162"/>
                    <a:pt x="31" y="170"/>
                  </a:cubicBezTo>
                  <a:cubicBezTo>
                    <a:pt x="107" y="222"/>
                    <a:pt x="160" y="258"/>
                    <a:pt x="188" y="279"/>
                  </a:cubicBezTo>
                  <a:cubicBezTo>
                    <a:pt x="200" y="287"/>
                    <a:pt x="210" y="294"/>
                    <a:pt x="217" y="299"/>
                  </a:cubicBezTo>
                  <a:cubicBezTo>
                    <a:pt x="224" y="304"/>
                    <a:pt x="234" y="309"/>
                    <a:pt x="247" y="314"/>
                  </a:cubicBezTo>
                  <a:cubicBezTo>
                    <a:pt x="259" y="319"/>
                    <a:pt x="271" y="322"/>
                    <a:pt x="281" y="322"/>
                  </a:cubicBezTo>
                  <a:lnTo>
                    <a:pt x="282" y="322"/>
                  </a:lnTo>
                  <a:lnTo>
                    <a:pt x="282" y="322"/>
                  </a:lnTo>
                  <a:cubicBezTo>
                    <a:pt x="293" y="322"/>
                    <a:pt x="304" y="319"/>
                    <a:pt x="317" y="314"/>
                  </a:cubicBezTo>
                  <a:cubicBezTo>
                    <a:pt x="329" y="309"/>
                    <a:pt x="339" y="304"/>
                    <a:pt x="346" y="299"/>
                  </a:cubicBezTo>
                  <a:cubicBezTo>
                    <a:pt x="354" y="294"/>
                    <a:pt x="364" y="287"/>
                    <a:pt x="376" y="279"/>
                  </a:cubicBezTo>
                  <a:cubicBezTo>
                    <a:pt x="411" y="253"/>
                    <a:pt x="464" y="217"/>
                    <a:pt x="532" y="170"/>
                  </a:cubicBezTo>
                  <a:cubicBezTo>
                    <a:pt x="544" y="162"/>
                    <a:pt x="555" y="153"/>
                    <a:pt x="564" y="143"/>
                  </a:cubicBezTo>
                  <a:lnTo>
                    <a:pt x="564" y="393"/>
                  </a:lnTo>
                  <a:cubicBezTo>
                    <a:pt x="564" y="406"/>
                    <a:pt x="559" y="418"/>
                    <a:pt x="549" y="428"/>
                  </a:cubicBezTo>
                  <a:cubicBezTo>
                    <a:pt x="539" y="438"/>
                    <a:pt x="527" y="443"/>
                    <a:pt x="514" y="443"/>
                  </a:cubicBezTo>
                  <a:lnTo>
                    <a:pt x="50" y="443"/>
                  </a:lnTo>
                  <a:cubicBezTo>
                    <a:pt x="36" y="443"/>
                    <a:pt x="24" y="438"/>
                    <a:pt x="14" y="428"/>
                  </a:cubicBezTo>
                  <a:cubicBezTo>
                    <a:pt x="4" y="418"/>
                    <a:pt x="0" y="406"/>
                    <a:pt x="0" y="393"/>
                  </a:cubicBezTo>
                  <a:close/>
                  <a:moveTo>
                    <a:pt x="0" y="57"/>
                  </a:moveTo>
                  <a:cubicBezTo>
                    <a:pt x="0" y="40"/>
                    <a:pt x="4" y="27"/>
                    <a:pt x="13" y="16"/>
                  </a:cubicBezTo>
                  <a:cubicBezTo>
                    <a:pt x="21" y="5"/>
                    <a:pt x="34" y="0"/>
                    <a:pt x="50" y="0"/>
                  </a:cubicBezTo>
                  <a:lnTo>
                    <a:pt x="514" y="0"/>
                  </a:lnTo>
                  <a:cubicBezTo>
                    <a:pt x="527" y="0"/>
                    <a:pt x="539" y="4"/>
                    <a:pt x="549" y="14"/>
                  </a:cubicBezTo>
                  <a:cubicBezTo>
                    <a:pt x="559" y="24"/>
                    <a:pt x="564" y="36"/>
                    <a:pt x="564" y="50"/>
                  </a:cubicBezTo>
                  <a:cubicBezTo>
                    <a:pt x="564" y="66"/>
                    <a:pt x="559" y="82"/>
                    <a:pt x="549" y="97"/>
                  </a:cubicBezTo>
                  <a:cubicBezTo>
                    <a:pt x="538" y="113"/>
                    <a:pt x="525" y="126"/>
                    <a:pt x="510" y="136"/>
                  </a:cubicBezTo>
                  <a:cubicBezTo>
                    <a:pt x="431" y="191"/>
                    <a:pt x="382" y="225"/>
                    <a:pt x="363" y="239"/>
                  </a:cubicBezTo>
                  <a:cubicBezTo>
                    <a:pt x="361" y="240"/>
                    <a:pt x="356" y="243"/>
                    <a:pt x="349" y="248"/>
                  </a:cubicBezTo>
                  <a:cubicBezTo>
                    <a:pt x="342" y="253"/>
                    <a:pt x="337" y="257"/>
                    <a:pt x="332" y="260"/>
                  </a:cubicBezTo>
                  <a:cubicBezTo>
                    <a:pt x="328" y="263"/>
                    <a:pt x="322" y="267"/>
                    <a:pt x="316" y="270"/>
                  </a:cubicBezTo>
                  <a:cubicBezTo>
                    <a:pt x="310" y="274"/>
                    <a:pt x="303" y="277"/>
                    <a:pt x="298" y="279"/>
                  </a:cubicBezTo>
                  <a:cubicBezTo>
                    <a:pt x="292" y="281"/>
                    <a:pt x="287" y="282"/>
                    <a:pt x="282" y="282"/>
                  </a:cubicBezTo>
                  <a:lnTo>
                    <a:pt x="282" y="282"/>
                  </a:lnTo>
                  <a:lnTo>
                    <a:pt x="281" y="282"/>
                  </a:lnTo>
                  <a:cubicBezTo>
                    <a:pt x="277" y="282"/>
                    <a:pt x="271" y="281"/>
                    <a:pt x="266" y="279"/>
                  </a:cubicBezTo>
                  <a:cubicBezTo>
                    <a:pt x="260" y="277"/>
                    <a:pt x="254" y="274"/>
                    <a:pt x="248" y="270"/>
                  </a:cubicBezTo>
                  <a:cubicBezTo>
                    <a:pt x="241" y="267"/>
                    <a:pt x="236" y="263"/>
                    <a:pt x="231" y="260"/>
                  </a:cubicBezTo>
                  <a:cubicBezTo>
                    <a:pt x="227" y="257"/>
                    <a:pt x="221" y="253"/>
                    <a:pt x="214" y="248"/>
                  </a:cubicBezTo>
                  <a:cubicBezTo>
                    <a:pt x="207" y="243"/>
                    <a:pt x="203" y="240"/>
                    <a:pt x="201" y="239"/>
                  </a:cubicBezTo>
                  <a:cubicBezTo>
                    <a:pt x="182" y="225"/>
                    <a:pt x="154" y="206"/>
                    <a:pt x="118" y="181"/>
                  </a:cubicBezTo>
                  <a:cubicBezTo>
                    <a:pt x="82" y="156"/>
                    <a:pt x="61" y="141"/>
                    <a:pt x="54" y="136"/>
                  </a:cubicBezTo>
                  <a:cubicBezTo>
                    <a:pt x="41" y="127"/>
                    <a:pt x="28" y="115"/>
                    <a:pt x="17" y="100"/>
                  </a:cubicBezTo>
                  <a:cubicBezTo>
                    <a:pt x="5" y="84"/>
                    <a:pt x="0" y="70"/>
                    <a:pt x="0" y="57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2400"/>
            </a:p>
          </p:txBody>
        </p:sp>
        <p:sp>
          <p:nvSpPr>
            <p:cNvPr id="18" name="Freeform 961">
              <a:extLst>
                <a:ext uri="{FF2B5EF4-FFF2-40B4-BE49-F238E27FC236}">
                  <a16:creationId xmlns:a16="http://schemas.microsoft.com/office/drawing/2014/main" id="{586D8796-86B7-4D83-B91D-39AD4D820E84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439931" y="4618862"/>
              <a:ext cx="177751" cy="180000"/>
            </a:xfrm>
            <a:custGeom>
              <a:avLst/>
              <a:gdLst>
                <a:gd name="T0" fmla="*/ 0 w 502"/>
                <a:gd name="T1" fmla="*/ 251 h 502"/>
                <a:gd name="T2" fmla="*/ 333 w 502"/>
                <a:gd name="T3" fmla="*/ 176 h 502"/>
                <a:gd name="T4" fmla="*/ 362 w 502"/>
                <a:gd name="T5" fmla="*/ 160 h 502"/>
                <a:gd name="T6" fmla="*/ 396 w 502"/>
                <a:gd name="T7" fmla="*/ 151 h 502"/>
                <a:gd name="T8" fmla="*/ 387 w 502"/>
                <a:gd name="T9" fmla="*/ 138 h 502"/>
                <a:gd name="T10" fmla="*/ 364 w 502"/>
                <a:gd name="T11" fmla="*/ 116 h 502"/>
                <a:gd name="T12" fmla="*/ 346 w 502"/>
                <a:gd name="T13" fmla="*/ 118 h 502"/>
                <a:gd name="T14" fmla="*/ 335 w 502"/>
                <a:gd name="T15" fmla="*/ 107 h 502"/>
                <a:gd name="T16" fmla="*/ 302 w 502"/>
                <a:gd name="T17" fmla="*/ 96 h 502"/>
                <a:gd name="T18" fmla="*/ 307 w 502"/>
                <a:gd name="T19" fmla="*/ 128 h 502"/>
                <a:gd name="T20" fmla="*/ 294 w 502"/>
                <a:gd name="T21" fmla="*/ 155 h 502"/>
                <a:gd name="T22" fmla="*/ 268 w 502"/>
                <a:gd name="T23" fmla="*/ 135 h 502"/>
                <a:gd name="T24" fmla="*/ 229 w 502"/>
                <a:gd name="T25" fmla="*/ 116 h 502"/>
                <a:gd name="T26" fmla="*/ 240 w 502"/>
                <a:gd name="T27" fmla="*/ 89 h 502"/>
                <a:gd name="T28" fmla="*/ 278 w 502"/>
                <a:gd name="T29" fmla="*/ 76 h 502"/>
                <a:gd name="T30" fmla="*/ 271 w 502"/>
                <a:gd name="T31" fmla="*/ 62 h 502"/>
                <a:gd name="T32" fmla="*/ 247 w 502"/>
                <a:gd name="T33" fmla="*/ 66 h 502"/>
                <a:gd name="T34" fmla="*/ 220 w 502"/>
                <a:gd name="T35" fmla="*/ 49 h 502"/>
                <a:gd name="T36" fmla="*/ 224 w 502"/>
                <a:gd name="T37" fmla="*/ 68 h 502"/>
                <a:gd name="T38" fmla="*/ 206 w 502"/>
                <a:gd name="T39" fmla="*/ 67 h 502"/>
                <a:gd name="T40" fmla="*/ 184 w 502"/>
                <a:gd name="T41" fmla="*/ 53 h 502"/>
                <a:gd name="T42" fmla="*/ 165 w 502"/>
                <a:gd name="T43" fmla="*/ 62 h 502"/>
                <a:gd name="T44" fmla="*/ 187 w 502"/>
                <a:gd name="T45" fmla="*/ 66 h 502"/>
                <a:gd name="T46" fmla="*/ 172 w 502"/>
                <a:gd name="T47" fmla="*/ 76 h 502"/>
                <a:gd name="T48" fmla="*/ 74 w 502"/>
                <a:gd name="T49" fmla="*/ 140 h 502"/>
                <a:gd name="T50" fmla="*/ 85 w 502"/>
                <a:gd name="T51" fmla="*/ 154 h 502"/>
                <a:gd name="T52" fmla="*/ 103 w 502"/>
                <a:gd name="T53" fmla="*/ 176 h 502"/>
                <a:gd name="T54" fmla="*/ 97 w 502"/>
                <a:gd name="T55" fmla="*/ 206 h 502"/>
                <a:gd name="T56" fmla="*/ 115 w 502"/>
                <a:gd name="T57" fmla="*/ 241 h 502"/>
                <a:gd name="T58" fmla="*/ 142 w 502"/>
                <a:gd name="T59" fmla="*/ 280 h 502"/>
                <a:gd name="T60" fmla="*/ 155 w 502"/>
                <a:gd name="T61" fmla="*/ 296 h 502"/>
                <a:gd name="T62" fmla="*/ 138 w 502"/>
                <a:gd name="T63" fmla="*/ 257 h 502"/>
                <a:gd name="T64" fmla="*/ 164 w 502"/>
                <a:gd name="T65" fmla="*/ 294 h 502"/>
                <a:gd name="T66" fmla="*/ 197 w 502"/>
                <a:gd name="T67" fmla="*/ 332 h 502"/>
                <a:gd name="T68" fmla="*/ 241 w 502"/>
                <a:gd name="T69" fmla="*/ 351 h 502"/>
                <a:gd name="T70" fmla="*/ 278 w 502"/>
                <a:gd name="T71" fmla="*/ 379 h 502"/>
                <a:gd name="T72" fmla="*/ 293 w 502"/>
                <a:gd name="T73" fmla="*/ 376 h 502"/>
                <a:gd name="T74" fmla="*/ 277 w 502"/>
                <a:gd name="T75" fmla="*/ 349 h 502"/>
                <a:gd name="T76" fmla="*/ 258 w 502"/>
                <a:gd name="T77" fmla="*/ 342 h 502"/>
                <a:gd name="T78" fmla="*/ 254 w 502"/>
                <a:gd name="T79" fmla="*/ 312 h 502"/>
                <a:gd name="T80" fmla="*/ 224 w 502"/>
                <a:gd name="T81" fmla="*/ 327 h 502"/>
                <a:gd name="T82" fmla="*/ 220 w 502"/>
                <a:gd name="T83" fmla="*/ 274 h 502"/>
                <a:gd name="T84" fmla="*/ 241 w 502"/>
                <a:gd name="T85" fmla="*/ 269 h 502"/>
                <a:gd name="T86" fmla="*/ 256 w 502"/>
                <a:gd name="T87" fmla="*/ 264 h 502"/>
                <a:gd name="T88" fmla="*/ 279 w 502"/>
                <a:gd name="T89" fmla="*/ 276 h 502"/>
                <a:gd name="T90" fmla="*/ 290 w 502"/>
                <a:gd name="T91" fmla="*/ 268 h 502"/>
                <a:gd name="T92" fmla="*/ 306 w 502"/>
                <a:gd name="T93" fmla="*/ 234 h 502"/>
                <a:gd name="T94" fmla="*/ 304 w 502"/>
                <a:gd name="T95" fmla="*/ 223 h 502"/>
                <a:gd name="T96" fmla="*/ 329 w 502"/>
                <a:gd name="T97" fmla="*/ 205 h 502"/>
                <a:gd name="T98" fmla="*/ 348 w 502"/>
                <a:gd name="T99" fmla="*/ 187 h 502"/>
                <a:gd name="T100" fmla="*/ 357 w 502"/>
                <a:gd name="T101" fmla="*/ 171 h 502"/>
                <a:gd name="T102" fmla="*/ 333 w 502"/>
                <a:gd name="T103" fmla="*/ 176 h 502"/>
                <a:gd name="T104" fmla="*/ 386 w 502"/>
                <a:gd name="T105" fmla="*/ 390 h 502"/>
                <a:gd name="T106" fmla="*/ 356 w 502"/>
                <a:gd name="T107" fmla="*/ 376 h 502"/>
                <a:gd name="T108" fmla="*/ 328 w 502"/>
                <a:gd name="T109" fmla="*/ 376 h 502"/>
                <a:gd name="T110" fmla="*/ 309 w 502"/>
                <a:gd name="T111" fmla="*/ 373 h 502"/>
                <a:gd name="T112" fmla="*/ 301 w 502"/>
                <a:gd name="T113" fmla="*/ 400 h 502"/>
                <a:gd name="T114" fmla="*/ 292 w 502"/>
                <a:gd name="T115" fmla="*/ 438 h 502"/>
                <a:gd name="T116" fmla="*/ 402 w 502"/>
                <a:gd name="T117" fmla="*/ 39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2" h="502">
                  <a:moveTo>
                    <a:pt x="502" y="251"/>
                  </a:moveTo>
                  <a:cubicBezTo>
                    <a:pt x="502" y="389"/>
                    <a:pt x="390" y="502"/>
                    <a:pt x="251" y="502"/>
                  </a:cubicBezTo>
                  <a:cubicBezTo>
                    <a:pt x="113" y="502"/>
                    <a:pt x="0" y="389"/>
                    <a:pt x="0" y="251"/>
                  </a:cubicBezTo>
                  <a:cubicBezTo>
                    <a:pt x="0" y="112"/>
                    <a:pt x="113" y="0"/>
                    <a:pt x="251" y="0"/>
                  </a:cubicBezTo>
                  <a:cubicBezTo>
                    <a:pt x="390" y="0"/>
                    <a:pt x="502" y="112"/>
                    <a:pt x="502" y="251"/>
                  </a:cubicBezTo>
                  <a:close/>
                  <a:moveTo>
                    <a:pt x="333" y="176"/>
                  </a:moveTo>
                  <a:cubicBezTo>
                    <a:pt x="335" y="176"/>
                    <a:pt x="337" y="170"/>
                    <a:pt x="338" y="169"/>
                  </a:cubicBezTo>
                  <a:cubicBezTo>
                    <a:pt x="340" y="166"/>
                    <a:pt x="342" y="165"/>
                    <a:pt x="345" y="164"/>
                  </a:cubicBezTo>
                  <a:cubicBezTo>
                    <a:pt x="350" y="162"/>
                    <a:pt x="356" y="161"/>
                    <a:pt x="362" y="160"/>
                  </a:cubicBezTo>
                  <a:cubicBezTo>
                    <a:pt x="367" y="159"/>
                    <a:pt x="374" y="159"/>
                    <a:pt x="378" y="164"/>
                  </a:cubicBezTo>
                  <a:cubicBezTo>
                    <a:pt x="377" y="163"/>
                    <a:pt x="385" y="156"/>
                    <a:pt x="386" y="155"/>
                  </a:cubicBezTo>
                  <a:cubicBezTo>
                    <a:pt x="389" y="154"/>
                    <a:pt x="394" y="154"/>
                    <a:pt x="396" y="151"/>
                  </a:cubicBezTo>
                  <a:cubicBezTo>
                    <a:pt x="397" y="150"/>
                    <a:pt x="397" y="144"/>
                    <a:pt x="397" y="144"/>
                  </a:cubicBezTo>
                  <a:cubicBezTo>
                    <a:pt x="391" y="145"/>
                    <a:pt x="389" y="140"/>
                    <a:pt x="389" y="135"/>
                  </a:cubicBezTo>
                  <a:cubicBezTo>
                    <a:pt x="389" y="135"/>
                    <a:pt x="388" y="136"/>
                    <a:pt x="387" y="138"/>
                  </a:cubicBezTo>
                  <a:cubicBezTo>
                    <a:pt x="387" y="133"/>
                    <a:pt x="381" y="136"/>
                    <a:pt x="379" y="136"/>
                  </a:cubicBezTo>
                  <a:cubicBezTo>
                    <a:pt x="371" y="134"/>
                    <a:pt x="372" y="129"/>
                    <a:pt x="370" y="123"/>
                  </a:cubicBezTo>
                  <a:cubicBezTo>
                    <a:pt x="369" y="120"/>
                    <a:pt x="365" y="119"/>
                    <a:pt x="364" y="116"/>
                  </a:cubicBezTo>
                  <a:cubicBezTo>
                    <a:pt x="362" y="114"/>
                    <a:pt x="362" y="110"/>
                    <a:pt x="359" y="110"/>
                  </a:cubicBezTo>
                  <a:cubicBezTo>
                    <a:pt x="357" y="109"/>
                    <a:pt x="353" y="116"/>
                    <a:pt x="353" y="116"/>
                  </a:cubicBezTo>
                  <a:cubicBezTo>
                    <a:pt x="350" y="115"/>
                    <a:pt x="348" y="117"/>
                    <a:pt x="346" y="118"/>
                  </a:cubicBezTo>
                  <a:cubicBezTo>
                    <a:pt x="344" y="119"/>
                    <a:pt x="343" y="119"/>
                    <a:pt x="341" y="120"/>
                  </a:cubicBezTo>
                  <a:cubicBezTo>
                    <a:pt x="346" y="118"/>
                    <a:pt x="338" y="115"/>
                    <a:pt x="335" y="115"/>
                  </a:cubicBezTo>
                  <a:cubicBezTo>
                    <a:pt x="340" y="114"/>
                    <a:pt x="337" y="109"/>
                    <a:pt x="335" y="107"/>
                  </a:cubicBezTo>
                  <a:cubicBezTo>
                    <a:pt x="335" y="107"/>
                    <a:pt x="336" y="107"/>
                    <a:pt x="336" y="107"/>
                  </a:cubicBezTo>
                  <a:cubicBezTo>
                    <a:pt x="336" y="104"/>
                    <a:pt x="327" y="101"/>
                    <a:pt x="324" y="99"/>
                  </a:cubicBezTo>
                  <a:cubicBezTo>
                    <a:pt x="321" y="97"/>
                    <a:pt x="305" y="94"/>
                    <a:pt x="302" y="96"/>
                  </a:cubicBezTo>
                  <a:cubicBezTo>
                    <a:pt x="298" y="98"/>
                    <a:pt x="303" y="105"/>
                    <a:pt x="303" y="108"/>
                  </a:cubicBezTo>
                  <a:cubicBezTo>
                    <a:pt x="303" y="112"/>
                    <a:pt x="299" y="113"/>
                    <a:pt x="299" y="116"/>
                  </a:cubicBezTo>
                  <a:cubicBezTo>
                    <a:pt x="299" y="122"/>
                    <a:pt x="309" y="121"/>
                    <a:pt x="307" y="128"/>
                  </a:cubicBezTo>
                  <a:cubicBezTo>
                    <a:pt x="305" y="133"/>
                    <a:pt x="299" y="134"/>
                    <a:pt x="296" y="137"/>
                  </a:cubicBezTo>
                  <a:cubicBezTo>
                    <a:pt x="294" y="141"/>
                    <a:pt x="296" y="147"/>
                    <a:pt x="299" y="149"/>
                  </a:cubicBezTo>
                  <a:cubicBezTo>
                    <a:pt x="302" y="151"/>
                    <a:pt x="294" y="154"/>
                    <a:pt x="294" y="155"/>
                  </a:cubicBezTo>
                  <a:cubicBezTo>
                    <a:pt x="288" y="157"/>
                    <a:pt x="284" y="149"/>
                    <a:pt x="282" y="144"/>
                  </a:cubicBezTo>
                  <a:cubicBezTo>
                    <a:pt x="281" y="141"/>
                    <a:pt x="281" y="136"/>
                    <a:pt x="277" y="134"/>
                  </a:cubicBezTo>
                  <a:cubicBezTo>
                    <a:pt x="275" y="134"/>
                    <a:pt x="269" y="133"/>
                    <a:pt x="268" y="135"/>
                  </a:cubicBezTo>
                  <a:cubicBezTo>
                    <a:pt x="266" y="130"/>
                    <a:pt x="259" y="128"/>
                    <a:pt x="254" y="126"/>
                  </a:cubicBezTo>
                  <a:cubicBezTo>
                    <a:pt x="248" y="124"/>
                    <a:pt x="242" y="124"/>
                    <a:pt x="235" y="125"/>
                  </a:cubicBezTo>
                  <a:cubicBezTo>
                    <a:pt x="238" y="125"/>
                    <a:pt x="235" y="115"/>
                    <a:pt x="229" y="116"/>
                  </a:cubicBezTo>
                  <a:cubicBezTo>
                    <a:pt x="231" y="113"/>
                    <a:pt x="230" y="109"/>
                    <a:pt x="231" y="106"/>
                  </a:cubicBezTo>
                  <a:cubicBezTo>
                    <a:pt x="231" y="103"/>
                    <a:pt x="233" y="101"/>
                    <a:pt x="235" y="99"/>
                  </a:cubicBezTo>
                  <a:cubicBezTo>
                    <a:pt x="235" y="97"/>
                    <a:pt x="243" y="90"/>
                    <a:pt x="240" y="89"/>
                  </a:cubicBezTo>
                  <a:cubicBezTo>
                    <a:pt x="246" y="90"/>
                    <a:pt x="252" y="90"/>
                    <a:pt x="257" y="86"/>
                  </a:cubicBezTo>
                  <a:cubicBezTo>
                    <a:pt x="260" y="83"/>
                    <a:pt x="261" y="78"/>
                    <a:pt x="264" y="75"/>
                  </a:cubicBezTo>
                  <a:cubicBezTo>
                    <a:pt x="268" y="70"/>
                    <a:pt x="273" y="76"/>
                    <a:pt x="278" y="76"/>
                  </a:cubicBezTo>
                  <a:cubicBezTo>
                    <a:pt x="284" y="77"/>
                    <a:pt x="284" y="69"/>
                    <a:pt x="280" y="66"/>
                  </a:cubicBezTo>
                  <a:cubicBezTo>
                    <a:pt x="285" y="66"/>
                    <a:pt x="281" y="59"/>
                    <a:pt x="279" y="58"/>
                  </a:cubicBezTo>
                  <a:cubicBezTo>
                    <a:pt x="276" y="57"/>
                    <a:pt x="265" y="60"/>
                    <a:pt x="271" y="62"/>
                  </a:cubicBezTo>
                  <a:cubicBezTo>
                    <a:pt x="269" y="61"/>
                    <a:pt x="261" y="78"/>
                    <a:pt x="257" y="69"/>
                  </a:cubicBezTo>
                  <a:cubicBezTo>
                    <a:pt x="256" y="68"/>
                    <a:pt x="255" y="61"/>
                    <a:pt x="252" y="61"/>
                  </a:cubicBezTo>
                  <a:cubicBezTo>
                    <a:pt x="249" y="61"/>
                    <a:pt x="248" y="64"/>
                    <a:pt x="247" y="66"/>
                  </a:cubicBezTo>
                  <a:cubicBezTo>
                    <a:pt x="248" y="61"/>
                    <a:pt x="238" y="58"/>
                    <a:pt x="235" y="58"/>
                  </a:cubicBezTo>
                  <a:cubicBezTo>
                    <a:pt x="240" y="55"/>
                    <a:pt x="236" y="51"/>
                    <a:pt x="233" y="49"/>
                  </a:cubicBezTo>
                  <a:cubicBezTo>
                    <a:pt x="230" y="48"/>
                    <a:pt x="222" y="46"/>
                    <a:pt x="220" y="49"/>
                  </a:cubicBezTo>
                  <a:cubicBezTo>
                    <a:pt x="213" y="56"/>
                    <a:pt x="226" y="57"/>
                    <a:pt x="229" y="59"/>
                  </a:cubicBezTo>
                  <a:cubicBezTo>
                    <a:pt x="230" y="60"/>
                    <a:pt x="234" y="62"/>
                    <a:pt x="232" y="64"/>
                  </a:cubicBezTo>
                  <a:cubicBezTo>
                    <a:pt x="230" y="65"/>
                    <a:pt x="224" y="66"/>
                    <a:pt x="224" y="68"/>
                  </a:cubicBezTo>
                  <a:cubicBezTo>
                    <a:pt x="222" y="71"/>
                    <a:pt x="226" y="74"/>
                    <a:pt x="223" y="77"/>
                  </a:cubicBezTo>
                  <a:cubicBezTo>
                    <a:pt x="220" y="74"/>
                    <a:pt x="220" y="69"/>
                    <a:pt x="218" y="66"/>
                  </a:cubicBezTo>
                  <a:cubicBezTo>
                    <a:pt x="221" y="69"/>
                    <a:pt x="206" y="67"/>
                    <a:pt x="206" y="67"/>
                  </a:cubicBezTo>
                  <a:cubicBezTo>
                    <a:pt x="201" y="67"/>
                    <a:pt x="194" y="71"/>
                    <a:pt x="190" y="66"/>
                  </a:cubicBezTo>
                  <a:cubicBezTo>
                    <a:pt x="189" y="65"/>
                    <a:pt x="189" y="57"/>
                    <a:pt x="191" y="59"/>
                  </a:cubicBezTo>
                  <a:cubicBezTo>
                    <a:pt x="188" y="56"/>
                    <a:pt x="186" y="54"/>
                    <a:pt x="184" y="53"/>
                  </a:cubicBezTo>
                  <a:cubicBezTo>
                    <a:pt x="174" y="56"/>
                    <a:pt x="163" y="61"/>
                    <a:pt x="154" y="66"/>
                  </a:cubicBezTo>
                  <a:cubicBezTo>
                    <a:pt x="155" y="66"/>
                    <a:pt x="156" y="66"/>
                    <a:pt x="158" y="66"/>
                  </a:cubicBezTo>
                  <a:cubicBezTo>
                    <a:pt x="160" y="65"/>
                    <a:pt x="162" y="63"/>
                    <a:pt x="165" y="62"/>
                  </a:cubicBezTo>
                  <a:cubicBezTo>
                    <a:pt x="168" y="61"/>
                    <a:pt x="175" y="57"/>
                    <a:pt x="179" y="60"/>
                  </a:cubicBezTo>
                  <a:cubicBezTo>
                    <a:pt x="179" y="59"/>
                    <a:pt x="180" y="58"/>
                    <a:pt x="180" y="58"/>
                  </a:cubicBezTo>
                  <a:cubicBezTo>
                    <a:pt x="183" y="61"/>
                    <a:pt x="185" y="63"/>
                    <a:pt x="187" y="66"/>
                  </a:cubicBezTo>
                  <a:cubicBezTo>
                    <a:pt x="184" y="65"/>
                    <a:pt x="180" y="66"/>
                    <a:pt x="177" y="66"/>
                  </a:cubicBezTo>
                  <a:cubicBezTo>
                    <a:pt x="175" y="66"/>
                    <a:pt x="171" y="67"/>
                    <a:pt x="170" y="70"/>
                  </a:cubicBezTo>
                  <a:cubicBezTo>
                    <a:pt x="171" y="71"/>
                    <a:pt x="172" y="74"/>
                    <a:pt x="172" y="76"/>
                  </a:cubicBezTo>
                  <a:cubicBezTo>
                    <a:pt x="167" y="73"/>
                    <a:pt x="164" y="68"/>
                    <a:pt x="158" y="67"/>
                  </a:cubicBezTo>
                  <a:cubicBezTo>
                    <a:pt x="156" y="67"/>
                    <a:pt x="153" y="67"/>
                    <a:pt x="151" y="67"/>
                  </a:cubicBezTo>
                  <a:cubicBezTo>
                    <a:pt x="120" y="85"/>
                    <a:pt x="93" y="110"/>
                    <a:pt x="74" y="140"/>
                  </a:cubicBezTo>
                  <a:cubicBezTo>
                    <a:pt x="76" y="141"/>
                    <a:pt x="77" y="142"/>
                    <a:pt x="78" y="143"/>
                  </a:cubicBezTo>
                  <a:cubicBezTo>
                    <a:pt x="81" y="144"/>
                    <a:pt x="78" y="153"/>
                    <a:pt x="84" y="148"/>
                  </a:cubicBezTo>
                  <a:cubicBezTo>
                    <a:pt x="86" y="150"/>
                    <a:pt x="87" y="152"/>
                    <a:pt x="85" y="154"/>
                  </a:cubicBezTo>
                  <a:cubicBezTo>
                    <a:pt x="86" y="154"/>
                    <a:pt x="99" y="163"/>
                    <a:pt x="100" y="163"/>
                  </a:cubicBezTo>
                  <a:cubicBezTo>
                    <a:pt x="102" y="165"/>
                    <a:pt x="106" y="167"/>
                    <a:pt x="107" y="170"/>
                  </a:cubicBezTo>
                  <a:cubicBezTo>
                    <a:pt x="107" y="172"/>
                    <a:pt x="105" y="175"/>
                    <a:pt x="103" y="176"/>
                  </a:cubicBezTo>
                  <a:cubicBezTo>
                    <a:pt x="103" y="175"/>
                    <a:pt x="98" y="170"/>
                    <a:pt x="97" y="172"/>
                  </a:cubicBezTo>
                  <a:cubicBezTo>
                    <a:pt x="96" y="173"/>
                    <a:pt x="97" y="182"/>
                    <a:pt x="101" y="182"/>
                  </a:cubicBezTo>
                  <a:cubicBezTo>
                    <a:pt x="96" y="182"/>
                    <a:pt x="98" y="202"/>
                    <a:pt x="97" y="206"/>
                  </a:cubicBezTo>
                  <a:cubicBezTo>
                    <a:pt x="97" y="207"/>
                    <a:pt x="97" y="207"/>
                    <a:pt x="97" y="207"/>
                  </a:cubicBezTo>
                  <a:cubicBezTo>
                    <a:pt x="96" y="211"/>
                    <a:pt x="100" y="226"/>
                    <a:pt x="106" y="224"/>
                  </a:cubicBezTo>
                  <a:cubicBezTo>
                    <a:pt x="102" y="225"/>
                    <a:pt x="114" y="240"/>
                    <a:pt x="115" y="241"/>
                  </a:cubicBezTo>
                  <a:cubicBezTo>
                    <a:pt x="120" y="244"/>
                    <a:pt x="125" y="246"/>
                    <a:pt x="128" y="250"/>
                  </a:cubicBezTo>
                  <a:cubicBezTo>
                    <a:pt x="131" y="255"/>
                    <a:pt x="131" y="262"/>
                    <a:pt x="135" y="265"/>
                  </a:cubicBezTo>
                  <a:cubicBezTo>
                    <a:pt x="134" y="269"/>
                    <a:pt x="142" y="274"/>
                    <a:pt x="142" y="280"/>
                  </a:cubicBezTo>
                  <a:cubicBezTo>
                    <a:pt x="141" y="280"/>
                    <a:pt x="141" y="280"/>
                    <a:pt x="140" y="280"/>
                  </a:cubicBezTo>
                  <a:cubicBezTo>
                    <a:pt x="142" y="285"/>
                    <a:pt x="148" y="285"/>
                    <a:pt x="150" y="289"/>
                  </a:cubicBezTo>
                  <a:cubicBezTo>
                    <a:pt x="152" y="292"/>
                    <a:pt x="150" y="298"/>
                    <a:pt x="155" y="296"/>
                  </a:cubicBezTo>
                  <a:cubicBezTo>
                    <a:pt x="155" y="289"/>
                    <a:pt x="150" y="282"/>
                    <a:pt x="147" y="276"/>
                  </a:cubicBezTo>
                  <a:cubicBezTo>
                    <a:pt x="145" y="273"/>
                    <a:pt x="143" y="270"/>
                    <a:pt x="141" y="267"/>
                  </a:cubicBezTo>
                  <a:cubicBezTo>
                    <a:pt x="140" y="264"/>
                    <a:pt x="139" y="260"/>
                    <a:pt x="138" y="257"/>
                  </a:cubicBezTo>
                  <a:cubicBezTo>
                    <a:pt x="139" y="257"/>
                    <a:pt x="146" y="260"/>
                    <a:pt x="146" y="261"/>
                  </a:cubicBezTo>
                  <a:cubicBezTo>
                    <a:pt x="143" y="267"/>
                    <a:pt x="156" y="279"/>
                    <a:pt x="160" y="283"/>
                  </a:cubicBezTo>
                  <a:cubicBezTo>
                    <a:pt x="161" y="284"/>
                    <a:pt x="168" y="294"/>
                    <a:pt x="164" y="294"/>
                  </a:cubicBezTo>
                  <a:cubicBezTo>
                    <a:pt x="169" y="294"/>
                    <a:pt x="175" y="300"/>
                    <a:pt x="177" y="304"/>
                  </a:cubicBezTo>
                  <a:cubicBezTo>
                    <a:pt x="179" y="309"/>
                    <a:pt x="179" y="315"/>
                    <a:pt x="181" y="320"/>
                  </a:cubicBezTo>
                  <a:cubicBezTo>
                    <a:pt x="183" y="327"/>
                    <a:pt x="192" y="330"/>
                    <a:pt x="197" y="332"/>
                  </a:cubicBezTo>
                  <a:cubicBezTo>
                    <a:pt x="202" y="335"/>
                    <a:pt x="206" y="338"/>
                    <a:pt x="210" y="340"/>
                  </a:cubicBezTo>
                  <a:cubicBezTo>
                    <a:pt x="217" y="342"/>
                    <a:pt x="219" y="340"/>
                    <a:pt x="225" y="339"/>
                  </a:cubicBezTo>
                  <a:cubicBezTo>
                    <a:pt x="233" y="338"/>
                    <a:pt x="234" y="347"/>
                    <a:pt x="241" y="351"/>
                  </a:cubicBezTo>
                  <a:cubicBezTo>
                    <a:pt x="245" y="353"/>
                    <a:pt x="254" y="356"/>
                    <a:pt x="259" y="354"/>
                  </a:cubicBezTo>
                  <a:cubicBezTo>
                    <a:pt x="257" y="355"/>
                    <a:pt x="266" y="368"/>
                    <a:pt x="266" y="369"/>
                  </a:cubicBezTo>
                  <a:cubicBezTo>
                    <a:pt x="269" y="373"/>
                    <a:pt x="275" y="375"/>
                    <a:pt x="278" y="379"/>
                  </a:cubicBezTo>
                  <a:cubicBezTo>
                    <a:pt x="279" y="379"/>
                    <a:pt x="280" y="378"/>
                    <a:pt x="280" y="376"/>
                  </a:cubicBezTo>
                  <a:cubicBezTo>
                    <a:pt x="279" y="380"/>
                    <a:pt x="285" y="387"/>
                    <a:pt x="289" y="386"/>
                  </a:cubicBezTo>
                  <a:cubicBezTo>
                    <a:pt x="292" y="385"/>
                    <a:pt x="293" y="378"/>
                    <a:pt x="293" y="376"/>
                  </a:cubicBezTo>
                  <a:cubicBezTo>
                    <a:pt x="287" y="379"/>
                    <a:pt x="281" y="376"/>
                    <a:pt x="277" y="370"/>
                  </a:cubicBezTo>
                  <a:cubicBezTo>
                    <a:pt x="277" y="368"/>
                    <a:pt x="271" y="359"/>
                    <a:pt x="276" y="359"/>
                  </a:cubicBezTo>
                  <a:cubicBezTo>
                    <a:pt x="282" y="359"/>
                    <a:pt x="278" y="354"/>
                    <a:pt x="277" y="349"/>
                  </a:cubicBezTo>
                  <a:cubicBezTo>
                    <a:pt x="277" y="345"/>
                    <a:pt x="272" y="342"/>
                    <a:pt x="270" y="338"/>
                  </a:cubicBezTo>
                  <a:cubicBezTo>
                    <a:pt x="268" y="342"/>
                    <a:pt x="261" y="341"/>
                    <a:pt x="259" y="338"/>
                  </a:cubicBezTo>
                  <a:cubicBezTo>
                    <a:pt x="259" y="339"/>
                    <a:pt x="258" y="340"/>
                    <a:pt x="258" y="342"/>
                  </a:cubicBezTo>
                  <a:cubicBezTo>
                    <a:pt x="257" y="342"/>
                    <a:pt x="255" y="342"/>
                    <a:pt x="253" y="341"/>
                  </a:cubicBezTo>
                  <a:cubicBezTo>
                    <a:pt x="254" y="337"/>
                    <a:pt x="254" y="332"/>
                    <a:pt x="255" y="328"/>
                  </a:cubicBezTo>
                  <a:cubicBezTo>
                    <a:pt x="257" y="322"/>
                    <a:pt x="268" y="311"/>
                    <a:pt x="254" y="312"/>
                  </a:cubicBezTo>
                  <a:cubicBezTo>
                    <a:pt x="249" y="312"/>
                    <a:pt x="247" y="314"/>
                    <a:pt x="245" y="318"/>
                  </a:cubicBezTo>
                  <a:cubicBezTo>
                    <a:pt x="244" y="322"/>
                    <a:pt x="244" y="326"/>
                    <a:pt x="240" y="328"/>
                  </a:cubicBezTo>
                  <a:cubicBezTo>
                    <a:pt x="237" y="329"/>
                    <a:pt x="227" y="328"/>
                    <a:pt x="224" y="327"/>
                  </a:cubicBezTo>
                  <a:cubicBezTo>
                    <a:pt x="218" y="323"/>
                    <a:pt x="213" y="312"/>
                    <a:pt x="213" y="305"/>
                  </a:cubicBezTo>
                  <a:cubicBezTo>
                    <a:pt x="213" y="296"/>
                    <a:pt x="218" y="288"/>
                    <a:pt x="213" y="280"/>
                  </a:cubicBezTo>
                  <a:cubicBezTo>
                    <a:pt x="215" y="279"/>
                    <a:pt x="217" y="275"/>
                    <a:pt x="220" y="274"/>
                  </a:cubicBezTo>
                  <a:cubicBezTo>
                    <a:pt x="222" y="272"/>
                    <a:pt x="224" y="275"/>
                    <a:pt x="225" y="271"/>
                  </a:cubicBezTo>
                  <a:cubicBezTo>
                    <a:pt x="224" y="270"/>
                    <a:pt x="223" y="269"/>
                    <a:pt x="222" y="269"/>
                  </a:cubicBezTo>
                  <a:cubicBezTo>
                    <a:pt x="227" y="271"/>
                    <a:pt x="236" y="265"/>
                    <a:pt x="241" y="269"/>
                  </a:cubicBezTo>
                  <a:cubicBezTo>
                    <a:pt x="243" y="271"/>
                    <a:pt x="246" y="271"/>
                    <a:pt x="248" y="268"/>
                  </a:cubicBezTo>
                  <a:cubicBezTo>
                    <a:pt x="248" y="267"/>
                    <a:pt x="245" y="263"/>
                    <a:pt x="247" y="261"/>
                  </a:cubicBezTo>
                  <a:cubicBezTo>
                    <a:pt x="248" y="266"/>
                    <a:pt x="251" y="267"/>
                    <a:pt x="256" y="264"/>
                  </a:cubicBezTo>
                  <a:cubicBezTo>
                    <a:pt x="258" y="265"/>
                    <a:pt x="263" y="265"/>
                    <a:pt x="267" y="267"/>
                  </a:cubicBezTo>
                  <a:cubicBezTo>
                    <a:pt x="271" y="269"/>
                    <a:pt x="271" y="273"/>
                    <a:pt x="276" y="268"/>
                  </a:cubicBezTo>
                  <a:cubicBezTo>
                    <a:pt x="278" y="272"/>
                    <a:pt x="278" y="272"/>
                    <a:pt x="279" y="276"/>
                  </a:cubicBezTo>
                  <a:cubicBezTo>
                    <a:pt x="280" y="279"/>
                    <a:pt x="282" y="288"/>
                    <a:pt x="286" y="290"/>
                  </a:cubicBezTo>
                  <a:cubicBezTo>
                    <a:pt x="293" y="294"/>
                    <a:pt x="291" y="283"/>
                    <a:pt x="290" y="279"/>
                  </a:cubicBezTo>
                  <a:cubicBezTo>
                    <a:pt x="290" y="279"/>
                    <a:pt x="290" y="268"/>
                    <a:pt x="290" y="268"/>
                  </a:cubicBezTo>
                  <a:cubicBezTo>
                    <a:pt x="279" y="265"/>
                    <a:pt x="283" y="257"/>
                    <a:pt x="289" y="252"/>
                  </a:cubicBezTo>
                  <a:cubicBezTo>
                    <a:pt x="290" y="251"/>
                    <a:pt x="297" y="248"/>
                    <a:pt x="301" y="246"/>
                  </a:cubicBezTo>
                  <a:cubicBezTo>
                    <a:pt x="304" y="243"/>
                    <a:pt x="307" y="239"/>
                    <a:pt x="306" y="234"/>
                  </a:cubicBezTo>
                  <a:cubicBezTo>
                    <a:pt x="307" y="234"/>
                    <a:pt x="309" y="233"/>
                    <a:pt x="309" y="231"/>
                  </a:cubicBezTo>
                  <a:cubicBezTo>
                    <a:pt x="308" y="231"/>
                    <a:pt x="304" y="228"/>
                    <a:pt x="304" y="228"/>
                  </a:cubicBezTo>
                  <a:cubicBezTo>
                    <a:pt x="306" y="227"/>
                    <a:pt x="306" y="225"/>
                    <a:pt x="304" y="223"/>
                  </a:cubicBezTo>
                  <a:cubicBezTo>
                    <a:pt x="308" y="221"/>
                    <a:pt x="306" y="217"/>
                    <a:pt x="309" y="216"/>
                  </a:cubicBezTo>
                  <a:cubicBezTo>
                    <a:pt x="313" y="221"/>
                    <a:pt x="320" y="215"/>
                    <a:pt x="316" y="212"/>
                  </a:cubicBezTo>
                  <a:cubicBezTo>
                    <a:pt x="320" y="207"/>
                    <a:pt x="327" y="209"/>
                    <a:pt x="329" y="205"/>
                  </a:cubicBezTo>
                  <a:cubicBezTo>
                    <a:pt x="334" y="206"/>
                    <a:pt x="330" y="200"/>
                    <a:pt x="333" y="197"/>
                  </a:cubicBezTo>
                  <a:cubicBezTo>
                    <a:pt x="335" y="194"/>
                    <a:pt x="339" y="194"/>
                    <a:pt x="342" y="192"/>
                  </a:cubicBezTo>
                  <a:cubicBezTo>
                    <a:pt x="342" y="192"/>
                    <a:pt x="350" y="187"/>
                    <a:pt x="348" y="187"/>
                  </a:cubicBezTo>
                  <a:cubicBezTo>
                    <a:pt x="353" y="188"/>
                    <a:pt x="364" y="182"/>
                    <a:pt x="356" y="177"/>
                  </a:cubicBezTo>
                  <a:cubicBezTo>
                    <a:pt x="357" y="174"/>
                    <a:pt x="353" y="173"/>
                    <a:pt x="350" y="172"/>
                  </a:cubicBezTo>
                  <a:cubicBezTo>
                    <a:pt x="352" y="171"/>
                    <a:pt x="355" y="173"/>
                    <a:pt x="357" y="171"/>
                  </a:cubicBezTo>
                  <a:cubicBezTo>
                    <a:pt x="361" y="168"/>
                    <a:pt x="359" y="167"/>
                    <a:pt x="355" y="166"/>
                  </a:cubicBezTo>
                  <a:cubicBezTo>
                    <a:pt x="350" y="165"/>
                    <a:pt x="344" y="168"/>
                    <a:pt x="341" y="170"/>
                  </a:cubicBezTo>
                  <a:cubicBezTo>
                    <a:pt x="338" y="172"/>
                    <a:pt x="337" y="176"/>
                    <a:pt x="333" y="176"/>
                  </a:cubicBezTo>
                  <a:close/>
                  <a:moveTo>
                    <a:pt x="402" y="395"/>
                  </a:moveTo>
                  <a:cubicBezTo>
                    <a:pt x="400" y="393"/>
                    <a:pt x="397" y="394"/>
                    <a:pt x="394" y="392"/>
                  </a:cubicBezTo>
                  <a:cubicBezTo>
                    <a:pt x="392" y="391"/>
                    <a:pt x="390" y="390"/>
                    <a:pt x="386" y="390"/>
                  </a:cubicBezTo>
                  <a:cubicBezTo>
                    <a:pt x="387" y="383"/>
                    <a:pt x="380" y="381"/>
                    <a:pt x="375" y="378"/>
                  </a:cubicBezTo>
                  <a:cubicBezTo>
                    <a:pt x="371" y="374"/>
                    <a:pt x="368" y="371"/>
                    <a:pt x="362" y="372"/>
                  </a:cubicBezTo>
                  <a:cubicBezTo>
                    <a:pt x="361" y="372"/>
                    <a:pt x="355" y="375"/>
                    <a:pt x="356" y="376"/>
                  </a:cubicBezTo>
                  <a:cubicBezTo>
                    <a:pt x="352" y="372"/>
                    <a:pt x="350" y="370"/>
                    <a:pt x="344" y="369"/>
                  </a:cubicBezTo>
                  <a:cubicBezTo>
                    <a:pt x="339" y="367"/>
                    <a:pt x="336" y="361"/>
                    <a:pt x="330" y="366"/>
                  </a:cubicBezTo>
                  <a:cubicBezTo>
                    <a:pt x="328" y="369"/>
                    <a:pt x="329" y="373"/>
                    <a:pt x="328" y="376"/>
                  </a:cubicBezTo>
                  <a:cubicBezTo>
                    <a:pt x="324" y="372"/>
                    <a:pt x="332" y="368"/>
                    <a:pt x="328" y="364"/>
                  </a:cubicBezTo>
                  <a:cubicBezTo>
                    <a:pt x="325" y="359"/>
                    <a:pt x="318" y="367"/>
                    <a:pt x="314" y="369"/>
                  </a:cubicBezTo>
                  <a:cubicBezTo>
                    <a:pt x="312" y="370"/>
                    <a:pt x="310" y="371"/>
                    <a:pt x="309" y="373"/>
                  </a:cubicBezTo>
                  <a:cubicBezTo>
                    <a:pt x="307" y="375"/>
                    <a:pt x="307" y="378"/>
                    <a:pt x="305" y="380"/>
                  </a:cubicBezTo>
                  <a:cubicBezTo>
                    <a:pt x="304" y="378"/>
                    <a:pt x="299" y="379"/>
                    <a:pt x="298" y="377"/>
                  </a:cubicBezTo>
                  <a:cubicBezTo>
                    <a:pt x="300" y="384"/>
                    <a:pt x="300" y="393"/>
                    <a:pt x="301" y="400"/>
                  </a:cubicBezTo>
                  <a:cubicBezTo>
                    <a:pt x="302" y="405"/>
                    <a:pt x="301" y="412"/>
                    <a:pt x="297" y="416"/>
                  </a:cubicBezTo>
                  <a:cubicBezTo>
                    <a:pt x="294" y="420"/>
                    <a:pt x="289" y="424"/>
                    <a:pt x="288" y="429"/>
                  </a:cubicBezTo>
                  <a:cubicBezTo>
                    <a:pt x="287" y="433"/>
                    <a:pt x="288" y="437"/>
                    <a:pt x="292" y="438"/>
                  </a:cubicBezTo>
                  <a:cubicBezTo>
                    <a:pt x="292" y="443"/>
                    <a:pt x="287" y="446"/>
                    <a:pt x="287" y="451"/>
                  </a:cubicBezTo>
                  <a:cubicBezTo>
                    <a:pt x="287" y="452"/>
                    <a:pt x="287" y="455"/>
                    <a:pt x="288" y="457"/>
                  </a:cubicBezTo>
                  <a:cubicBezTo>
                    <a:pt x="332" y="449"/>
                    <a:pt x="372" y="427"/>
                    <a:pt x="402" y="39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2195234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493513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2667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1F90E9B-2927-4D7D-A8C8-845E3021785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1B001EA-2D31-4FDA-A6F7-352FFD160A4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4A126B-0145-471B-895C-55EDB724998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0759437E-DD65-47AE-A718-65B9481C0A9E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6438BA9-9D04-49C0-A286-F1E4351275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8001" y="1473200"/>
            <a:ext cx="11424817" cy="4931835"/>
          </a:xfrm>
          <a:prstGeom prst="rect">
            <a:avLst/>
          </a:prstGeom>
        </p:spPr>
        <p:txBody>
          <a:bodyPr/>
          <a:lstStyle>
            <a:lvl1pPr marL="474121" indent="-474121" rtl="0">
              <a:buClr>
                <a:srgbClr val="003865"/>
              </a:buClr>
              <a:buFont typeface="Wingdings" panose="05000000000000000000" pitchFamily="2" charset="2"/>
              <a:buChar char="§"/>
              <a:defRPr sz="1867" b="0">
                <a:solidFill>
                  <a:schemeClr val="tx1"/>
                </a:solidFill>
              </a:defRPr>
            </a:lvl1pPr>
            <a:lvl2pPr marL="855112" indent="-380990" rtl="0">
              <a:buClr>
                <a:srgbClr val="003865"/>
              </a:buClr>
              <a:buFont typeface="Symbol" panose="05050102010706020507" pitchFamily="18" charset="2"/>
              <a:buChar char="-"/>
              <a:defRPr sz="1867" b="0">
                <a:solidFill>
                  <a:schemeClr val="tx1"/>
                </a:solidFill>
              </a:defRPr>
            </a:lvl2pPr>
            <a:lvl3pPr marL="1432948" indent="-474121" rtl="0">
              <a:buClr>
                <a:schemeClr val="accent2"/>
              </a:buClr>
              <a:buFont typeface="Wingdings" panose="05000000000000000000" pitchFamily="2" charset="2"/>
              <a:buChar char="§"/>
              <a:defRPr sz="1867" b="0">
                <a:solidFill>
                  <a:schemeClr val="tx1"/>
                </a:solidFill>
              </a:defRPr>
            </a:lvl3pPr>
            <a:lvl4pPr marL="1915536" indent="-482588" rtl="0">
              <a:buClr>
                <a:schemeClr val="accent2"/>
              </a:buClr>
              <a:buFont typeface="Symbol" panose="05050102010706020507" pitchFamily="18" charset="2"/>
              <a:buChar char="-"/>
              <a:defRPr sz="1867" b="0">
                <a:solidFill>
                  <a:schemeClr val="tx1"/>
                </a:solidFill>
              </a:defRPr>
            </a:lvl4pPr>
            <a:lvl5pPr marL="1915536" indent="0">
              <a:buClr>
                <a:srgbClr val="003865"/>
              </a:buClr>
              <a:buFont typeface="Wingdings" panose="05000000000000000000" pitchFamily="2" charset="2"/>
              <a:buNone/>
              <a:defRPr sz="2133" b="0">
                <a:solidFill>
                  <a:schemeClr val="tx1"/>
                </a:solidFill>
              </a:defRPr>
            </a:lvl5pPr>
            <a:lvl6pPr marL="2874361" indent="-484705">
              <a:buClr>
                <a:srgbClr val="003865"/>
              </a:buClr>
              <a:buFont typeface="Wingdings" panose="05000000000000000000" pitchFamily="2" charset="2"/>
              <a:buChar char="§"/>
              <a:defRPr sz="2133"/>
            </a:lvl6pPr>
            <a:lvl7pPr marL="3348483" indent="-474121">
              <a:buClr>
                <a:srgbClr val="003865"/>
              </a:buClr>
              <a:buFont typeface="Wingdings" panose="05000000000000000000" pitchFamily="2" charset="2"/>
              <a:buChar char="§"/>
              <a:defRPr sz="2133"/>
            </a:lvl7pPr>
            <a:lvl8pPr marL="3831071" indent="-482588">
              <a:buClr>
                <a:srgbClr val="003865"/>
              </a:buClr>
              <a:buFont typeface="Wingdings" panose="05000000000000000000" pitchFamily="2" charset="2"/>
              <a:buChar char="§"/>
              <a:defRPr sz="2133"/>
            </a:lvl8pPr>
            <a:lvl9pPr marL="4876678" indent="0">
              <a:buClr>
                <a:srgbClr val="003865"/>
              </a:buClr>
              <a:buFont typeface="Wingdings" panose="05000000000000000000" pitchFamily="2" charset="2"/>
              <a:buNone/>
              <a:defRPr sz="2133"/>
            </a:lvl9pPr>
          </a:lstStyle>
          <a:p>
            <a:pPr lvl="0"/>
            <a:r>
              <a:rPr lang="en-US"/>
              <a:t>Text hinzufügen</a:t>
            </a:r>
          </a:p>
          <a:p>
            <a:pPr lvl="1"/>
            <a:r>
              <a:rPr lang="en-US"/>
              <a:t>Zweite Ebene	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C3B699EE-8426-4B19-B22A-ABB7C1AE46A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7050" y="6405035"/>
            <a:ext cx="11424815" cy="176199"/>
          </a:xfrm>
          <a:prstGeom prst="rect">
            <a:avLst/>
          </a:prstGeom>
        </p:spPr>
        <p:txBody>
          <a:bodyPr anchor="ctr"/>
          <a:lstStyle>
            <a:lvl1pPr marL="0" indent="0" algn="r" rtl="0">
              <a:buFont typeface="Arial" panose="020B0604020202020204" pitchFamily="34" charset="0"/>
              <a:buNone/>
              <a:defRPr lang="en-US" sz="933" b="0" kern="1200" dirty="0">
                <a:solidFill>
                  <a:srgbClr val="98A4AE"/>
                </a:solidFill>
                <a:latin typeface="+mn-lt"/>
                <a:ea typeface="+mn-ea"/>
                <a:cs typeface="+mn-cs"/>
              </a:defRPr>
            </a:lvl1pPr>
            <a:lvl2pPr marL="609585" indent="0">
              <a:buFont typeface="Arial" panose="020B0604020202020204" pitchFamily="34" charset="0"/>
              <a:buNone/>
              <a:defRPr sz="1067"/>
            </a:lvl2pPr>
            <a:lvl3pPr marL="1219170" indent="0">
              <a:buFont typeface="Arial" panose="020B0604020202020204" pitchFamily="34" charset="0"/>
              <a:buNone/>
              <a:defRPr sz="1067"/>
            </a:lvl3pPr>
            <a:lvl4pPr marL="1828754" indent="0">
              <a:buNone/>
              <a:defRPr sz="1067"/>
            </a:lvl4pPr>
            <a:lvl5pPr marL="2438339" indent="0">
              <a:buNone/>
              <a:defRPr sz="1067"/>
            </a:lvl5pPr>
          </a:lstStyle>
          <a:p>
            <a:pPr marL="0" lvl="0" indent="0" algn="r" defTabSz="1219170" rtl="0" eaLnBrk="1" latinLnBrk="0" hangingPunct="1">
              <a:spcBef>
                <a:spcPct val="20000"/>
              </a:spcBef>
              <a:buFont typeface="+mj-lt"/>
              <a:buNone/>
            </a:pPr>
            <a:r>
              <a:rPr lang="en-US"/>
              <a:t>Quelle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A192A89-EDAA-4924-B58F-5AACAB47DB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4628" y="867173"/>
            <a:ext cx="10031424" cy="427444"/>
          </a:xfrm>
          <a:prstGeom prst="rect">
            <a:avLst/>
          </a:prstGeom>
        </p:spPr>
        <p:txBody>
          <a:bodyPr lIns="36000" tIns="0" rIns="36000" bIns="0"/>
          <a:lstStyle>
            <a:lvl1pPr marL="0" indent="0" rtl="0" eaLnBrk="1">
              <a:buNone/>
              <a:defRPr sz="2133" b="0">
                <a:solidFill>
                  <a:srgbClr val="8D1429"/>
                </a:solidFill>
              </a:defRPr>
            </a:lvl1pPr>
          </a:lstStyle>
          <a:p>
            <a:pPr lvl="0"/>
            <a:r>
              <a:rPr lang="en-US" noProof="0"/>
              <a:t>[Subtitle]: Zusammenfassung in Stichwörtern, keine Sätze</a:t>
            </a:r>
          </a:p>
        </p:txBody>
      </p:sp>
      <p:sp>
        <p:nvSpPr>
          <p:cNvPr id="15" name="Titel 6">
            <a:extLst>
              <a:ext uri="{FF2B5EF4-FFF2-40B4-BE49-F238E27FC236}">
                <a16:creationId xmlns:a16="http://schemas.microsoft.com/office/drawing/2014/main" id="{18205B39-F792-4658-83F4-BDEC4C082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4628" y="0"/>
            <a:ext cx="10032257" cy="839299"/>
          </a:xfrm>
          <a:prstGeom prst="rect">
            <a:avLst/>
          </a:prstGeom>
        </p:spPr>
        <p:txBody>
          <a:bodyPr vert="horz" lIns="36000" anchor="ctr">
            <a:noAutofit/>
          </a:bodyPr>
          <a:lstStyle>
            <a:lvl1pPr rtl="0" eaLnBrk="1">
              <a:defRPr sz="2667" b="1" baseline="0">
                <a:solidFill>
                  <a:srgbClr val="003366"/>
                </a:solidFill>
              </a:defRPr>
            </a:lvl1pPr>
          </a:lstStyle>
          <a:p>
            <a:r>
              <a:rPr lang="en-US" noProof="0"/>
              <a:t>[Action-Title]: Kernaussage des Bilds ausdrücken, </a:t>
            </a:r>
            <a:br>
              <a:rPr lang="en-US" noProof="0"/>
            </a:br>
            <a:r>
              <a:rPr lang="en-US" noProof="0"/>
              <a:t>maximal zwei Zeilen, „sprechende Titel“</a:t>
            </a:r>
          </a:p>
        </p:txBody>
      </p:sp>
    </p:spTree>
    <p:extLst>
      <p:ext uri="{BB962C8B-B14F-4D97-AF65-F5344CB8AC3E}">
        <p14:creationId xmlns:p14="http://schemas.microsoft.com/office/powerpoint/2010/main" val="12591878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3E7786-5C07-FF48-EBF3-A4C5C384E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AF87447-8717-A590-0D52-640435A6F5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EFF7234-54D9-B85F-5445-BC0D7CA4AD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CC300-D21E-C240-BC68-2B07EB6A8AD5}" type="datetimeFigureOut">
              <a:rPr lang="de-DE" smtClean="0"/>
              <a:t>13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3179CD4-393C-11B3-E3E7-6FE27D74B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26959BC-8C1E-5D89-6608-097061EFE2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90396-6A52-8E43-BCE7-528C980B7A9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02096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7"/>
            <a:ext cx="12192000" cy="5229225"/>
          </a:xfrm>
          <a:gradFill>
            <a:gsLst>
              <a:gs pos="50000">
                <a:schemeClr val="accent4">
                  <a:alpha val="50000"/>
                </a:schemeClr>
              </a:gs>
              <a:gs pos="5000">
                <a:schemeClr val="accent4"/>
              </a:gs>
              <a:gs pos="100000">
                <a:schemeClr val="accent4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36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/>
              <a:t> </a:t>
            </a:r>
          </a:p>
        </p:txBody>
      </p:sp>
      <p:sp>
        <p:nvSpPr>
          <p:cNvPr id="165" name="Bildplatzhalter 60">
            <a:extLst>
              <a:ext uri="{FF2B5EF4-FFF2-40B4-BE49-F238E27FC236}">
                <a16:creationId xmlns:a16="http://schemas.microsoft.com/office/drawing/2014/main" id="{F018B551-27B5-4B00-BF39-7527999917A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1DC1BF-B7B9-4143-AFEB-7D1D6C73E8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4" y="2913732"/>
            <a:ext cx="4480137" cy="927562"/>
          </a:xfrm>
        </p:spPr>
        <p:txBody>
          <a:bodyPr wrap="none" tIns="0" rIns="0"/>
          <a:lstStyle>
            <a:lvl1pPr algn="l">
              <a:lnSpc>
                <a:spcPct val="110000"/>
              </a:lnSpc>
              <a:defRPr sz="5940">
                <a:solidFill>
                  <a:schemeClr val="tx1"/>
                </a:solidFill>
              </a:defRPr>
            </a:lvl1pPr>
          </a:lstStyle>
          <a:p>
            <a:r>
              <a:rPr lang="de-DE"/>
              <a:t>Willkommen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929994FB-5DBF-40C3-99B7-BCB45F80FCBA}"/>
              </a:ext>
            </a:extLst>
          </p:cNvPr>
          <p:cNvSpPr/>
          <p:nvPr userDrawn="1"/>
        </p:nvSpPr>
        <p:spPr>
          <a:xfrm>
            <a:off x="518400" y="1196733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20"/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5"/>
            <a:ext cx="1619126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620"/>
          </a:p>
        </p:txBody>
      </p: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A67BB0E1-5E7F-46E5-9D87-74249FA80151}"/>
              </a:ext>
            </a:extLst>
          </p:cNvPr>
          <p:cNvGrpSpPr/>
          <p:nvPr userDrawn="1"/>
        </p:nvGrpSpPr>
        <p:grpSpPr>
          <a:xfrm>
            <a:off x="-390525" y="160153"/>
            <a:ext cx="333376" cy="136812"/>
            <a:chOff x="-133350" y="2711163"/>
            <a:chExt cx="333375" cy="136812"/>
          </a:xfrm>
        </p:grpSpPr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735EC3F0-D52F-43D8-9D20-FC4F70B1922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D73E6E84-A759-4118-9971-2B614D3FE504}"/>
                </a:ext>
              </a:extLst>
            </p:cNvPr>
            <p:cNvSpPr txBox="1"/>
            <p:nvPr userDrawn="1"/>
          </p:nvSpPr>
          <p:spPr>
            <a:xfrm>
              <a:off x="-82078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F1FCC803-A93B-423F-B835-B52876B2721B}"/>
              </a:ext>
            </a:extLst>
          </p:cNvPr>
          <p:cNvGrpSpPr/>
          <p:nvPr userDrawn="1"/>
        </p:nvGrpSpPr>
        <p:grpSpPr>
          <a:xfrm>
            <a:off x="-390525" y="1131703"/>
            <a:ext cx="333376" cy="136812"/>
            <a:chOff x="-133350" y="2711163"/>
            <a:chExt cx="333375" cy="136812"/>
          </a:xfrm>
        </p:grpSpPr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94D29247-DB20-40F1-888F-155F9E5ABC8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5E32A3F3-E989-43F3-A16F-94173C632533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44D22F83-A0F5-4FE2-9D6C-012542F7E2B8}"/>
              </a:ext>
            </a:extLst>
          </p:cNvPr>
          <p:cNvGrpSpPr/>
          <p:nvPr userDrawn="1"/>
        </p:nvGrpSpPr>
        <p:grpSpPr>
          <a:xfrm>
            <a:off x="-390525" y="1491963"/>
            <a:ext cx="333376" cy="136812"/>
            <a:chOff x="-133350" y="2711163"/>
            <a:chExt cx="333375" cy="136812"/>
          </a:xfrm>
        </p:grpSpPr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BA2BC1BF-6FE4-4475-BE69-6D37CBD51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88D7DDBE-C865-4F05-B6F5-3E2BBB15FDA7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5BF365C6-4DF1-469F-A081-5BB981472333}"/>
              </a:ext>
            </a:extLst>
          </p:cNvPr>
          <p:cNvGrpSpPr/>
          <p:nvPr userDrawn="1"/>
        </p:nvGrpSpPr>
        <p:grpSpPr>
          <a:xfrm>
            <a:off x="-390525" y="3292188"/>
            <a:ext cx="333376" cy="136812"/>
            <a:chOff x="-133350" y="2711163"/>
            <a:chExt cx="333375" cy="136812"/>
          </a:xfrm>
        </p:grpSpPr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9CA1C573-E95F-4CC5-A4BE-0E74960DBC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02A35681-195F-407A-BB6C-7E3B4E241132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BF6DC0B3-1B79-4824-B73B-DC9B7AA77A08}"/>
              </a:ext>
            </a:extLst>
          </p:cNvPr>
          <p:cNvGrpSpPr/>
          <p:nvPr userDrawn="1"/>
        </p:nvGrpSpPr>
        <p:grpSpPr>
          <a:xfrm>
            <a:off x="-390525" y="6063963"/>
            <a:ext cx="333376" cy="136812"/>
            <a:chOff x="-133350" y="2711163"/>
            <a:chExt cx="333375" cy="136812"/>
          </a:xfrm>
        </p:grpSpPr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439D9EA3-D6F8-4D8A-8C91-B7BCDD4883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EF8776E0-353D-4DBE-918C-2BE4D9ED22C0}"/>
                </a:ext>
              </a:extLst>
            </p:cNvPr>
            <p:cNvSpPr txBox="1"/>
            <p:nvPr userDrawn="1"/>
          </p:nvSpPr>
          <p:spPr>
            <a:xfrm>
              <a:off x="-82076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EB1A981A-C15F-48BC-856D-45BFDE402164}"/>
              </a:ext>
            </a:extLst>
          </p:cNvPr>
          <p:cNvGrpSpPr/>
          <p:nvPr userDrawn="1"/>
        </p:nvGrpSpPr>
        <p:grpSpPr>
          <a:xfrm>
            <a:off x="-390525" y="6495763"/>
            <a:ext cx="333376" cy="136812"/>
            <a:chOff x="-133350" y="2711163"/>
            <a:chExt cx="333375" cy="136812"/>
          </a:xfrm>
        </p:grpSpPr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CA1B7D91-52B4-4C4E-9872-DAE627C5BD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DD5301F3-CDC0-4F62-A7F3-64DF1FAFB6C3}"/>
                </a:ext>
              </a:extLst>
            </p:cNvPr>
            <p:cNvSpPr txBox="1"/>
            <p:nvPr userDrawn="1"/>
          </p:nvSpPr>
          <p:spPr>
            <a:xfrm>
              <a:off x="-82075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C5363AC9-A7FE-4ED9-A4AE-BF1F41479440}"/>
              </a:ext>
            </a:extLst>
          </p:cNvPr>
          <p:cNvGrpSpPr/>
          <p:nvPr userDrawn="1"/>
        </p:nvGrpSpPr>
        <p:grpSpPr>
          <a:xfrm rot="16200000">
            <a:off x="284750" y="-296027"/>
            <a:ext cx="333375" cy="130588"/>
            <a:chOff x="-133350" y="2717387"/>
            <a:chExt cx="333375" cy="130588"/>
          </a:xfrm>
        </p:grpSpPr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A5C058E5-1B77-4F37-8A90-6C2DB0C9F0D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3F3FD432-7B0C-441D-887D-260F088129D6}"/>
                </a:ext>
              </a:extLst>
            </p:cNvPr>
            <p:cNvSpPr txBox="1"/>
            <p:nvPr userDrawn="1"/>
          </p:nvSpPr>
          <p:spPr>
            <a:xfrm>
              <a:off x="-82079" y="2717387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11D3348D-CD05-48E5-89ED-528A62DA8118}"/>
              </a:ext>
            </a:extLst>
          </p:cNvPr>
          <p:cNvGrpSpPr/>
          <p:nvPr userDrawn="1"/>
        </p:nvGrpSpPr>
        <p:grpSpPr>
          <a:xfrm rot="16200000">
            <a:off x="5756070" y="-296028"/>
            <a:ext cx="333375" cy="130584"/>
            <a:chOff x="-133350" y="2717391"/>
            <a:chExt cx="333375" cy="130584"/>
          </a:xfrm>
        </p:grpSpPr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8C904B9B-CFB8-4878-BE89-64B7783A68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C15810B6-1DFF-43DE-849F-E24988A1AC21}"/>
                </a:ext>
              </a:extLst>
            </p:cNvPr>
            <p:cNvSpPr txBox="1"/>
            <p:nvPr userDrawn="1"/>
          </p:nvSpPr>
          <p:spPr>
            <a:xfrm>
              <a:off x="-82076" y="2717391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CFDE3FDD-B76C-49E7-81B4-7302EAE01430}"/>
              </a:ext>
            </a:extLst>
          </p:cNvPr>
          <p:cNvGrpSpPr/>
          <p:nvPr userDrawn="1"/>
        </p:nvGrpSpPr>
        <p:grpSpPr>
          <a:xfrm>
            <a:off x="6203945" y="-397424"/>
            <a:ext cx="118684" cy="333375"/>
            <a:chOff x="6416681" y="-397424"/>
            <a:chExt cx="118684" cy="333375"/>
          </a:xfrm>
        </p:grpSpPr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CC2966EC-F4C0-41FC-88ED-2E5F725EA0B2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92230FDE-430C-429C-A396-DFCEF2CE147E}"/>
                </a:ext>
              </a:extLst>
            </p:cNvPr>
            <p:cNvSpPr txBox="1"/>
            <p:nvPr userDrawn="1"/>
          </p:nvSpPr>
          <p:spPr>
            <a:xfrm rot="16200000">
              <a:off x="6363716" y="-286972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53056242-C21F-4347-8E6E-305C959935E8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4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Gruppieren 84">
            <a:extLst>
              <a:ext uri="{FF2B5EF4-FFF2-40B4-BE49-F238E27FC236}">
                <a16:creationId xmlns:a16="http://schemas.microsoft.com/office/drawing/2014/main" id="{A954A2AB-7A1B-4F20-8556-0C283B584BE2}"/>
              </a:ext>
            </a:extLst>
          </p:cNvPr>
          <p:cNvGrpSpPr/>
          <p:nvPr userDrawn="1"/>
        </p:nvGrpSpPr>
        <p:grpSpPr>
          <a:xfrm rot="16200000">
            <a:off x="11450432" y="-296031"/>
            <a:ext cx="333375" cy="130580"/>
            <a:chOff x="-133350" y="2717395"/>
            <a:chExt cx="333375" cy="130580"/>
          </a:xfrm>
        </p:grpSpPr>
        <p:cxnSp>
          <p:nvCxnSpPr>
            <p:cNvPr id="86" name="Gerader Verbinder 85">
              <a:extLst>
                <a:ext uri="{FF2B5EF4-FFF2-40B4-BE49-F238E27FC236}">
                  <a16:creationId xmlns:a16="http://schemas.microsoft.com/office/drawing/2014/main" id="{C31D32E9-A207-4C49-AAE0-5A541EE5B56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0027A521-04C3-4807-A55B-38087BBBA705}"/>
                </a:ext>
              </a:extLst>
            </p:cNvPr>
            <p:cNvSpPr txBox="1"/>
            <p:nvPr userDrawn="1"/>
          </p:nvSpPr>
          <p:spPr>
            <a:xfrm>
              <a:off x="-82072" y="2717395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213" name="Grafik 3">
            <a:extLst>
              <a:ext uri="{FF2B5EF4-FFF2-40B4-BE49-F238E27FC236}">
                <a16:creationId xmlns:a16="http://schemas.microsoft.com/office/drawing/2014/main" id="{1809E430-A4A0-4F14-BD9A-92AA8E11E120}"/>
              </a:ext>
            </a:extLst>
          </p:cNvPr>
          <p:cNvGrpSpPr/>
          <p:nvPr userDrawn="1"/>
        </p:nvGrpSpPr>
        <p:grpSpPr>
          <a:xfrm>
            <a:off x="510640" y="293688"/>
            <a:ext cx="2631832" cy="563562"/>
            <a:chOff x="4011188" y="1936931"/>
            <a:chExt cx="6776742" cy="1451124"/>
          </a:xfrm>
          <a:solidFill>
            <a:schemeClr val="tx1"/>
          </a:solidFill>
        </p:grpSpPr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8F6D4EE4-085A-459C-82C9-AF72AB235F3A}"/>
                </a:ext>
              </a:extLst>
            </p:cNvPr>
            <p:cNvSpPr/>
            <p:nvPr/>
          </p:nvSpPr>
          <p:spPr>
            <a:xfrm>
              <a:off x="4034676" y="1955336"/>
              <a:ext cx="203537" cy="324184"/>
            </a:xfrm>
            <a:custGeom>
              <a:avLst/>
              <a:gdLst>
                <a:gd name="connsiteX0" fmla="*/ 203538 w 203537"/>
                <a:gd name="connsiteY0" fmla="*/ 52963 h 324184"/>
                <a:gd name="connsiteX1" fmla="*/ 57561 w 203537"/>
                <a:gd name="connsiteY1" fmla="*/ 52963 h 324184"/>
                <a:gd name="connsiteX2" fmla="*/ 57561 w 203537"/>
                <a:gd name="connsiteY2" fmla="*/ 133551 h 324184"/>
                <a:gd name="connsiteX3" fmla="*/ 166694 w 203537"/>
                <a:gd name="connsiteY3" fmla="*/ 133551 h 324184"/>
                <a:gd name="connsiteX4" fmla="*/ 166694 w 203537"/>
                <a:gd name="connsiteY4" fmla="*/ 186045 h 324184"/>
                <a:gd name="connsiteX5" fmla="*/ 57561 w 203537"/>
                <a:gd name="connsiteY5" fmla="*/ 186045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63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63"/>
                  </a:moveTo>
                  <a:lnTo>
                    <a:pt x="57561" y="52963"/>
                  </a:lnTo>
                  <a:lnTo>
                    <a:pt x="57561" y="133551"/>
                  </a:lnTo>
                  <a:lnTo>
                    <a:pt x="166694" y="133551"/>
                  </a:lnTo>
                  <a:lnTo>
                    <a:pt x="166694" y="186045"/>
                  </a:lnTo>
                  <a:lnTo>
                    <a:pt x="57561" y="186045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D1EFA498-5D6C-4949-A057-45EACB161715}"/>
                </a:ext>
              </a:extLst>
            </p:cNvPr>
            <p:cNvSpPr/>
            <p:nvPr/>
          </p:nvSpPr>
          <p:spPr>
            <a:xfrm>
              <a:off x="426950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94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84 w 141832"/>
                <a:gd name="connsiteY7" fmla="*/ 5979 h 240364"/>
                <a:gd name="connsiteX8" fmla="*/ 53884 w 141832"/>
                <a:gd name="connsiteY8" fmla="*/ 35454 h 240364"/>
                <a:gd name="connsiteX9" fmla="*/ 54797 w 141832"/>
                <a:gd name="connsiteY9" fmla="*/ 35454 h 240364"/>
                <a:gd name="connsiteX10" fmla="*/ 116041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800" y="56631"/>
                    <a:pt x="114668" y="53868"/>
                    <a:pt x="102694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84" y="5979"/>
                  </a:lnTo>
                  <a:lnTo>
                    <a:pt x="53884" y="35454"/>
                  </a:lnTo>
                  <a:lnTo>
                    <a:pt x="54797" y="35454"/>
                  </a:lnTo>
                  <a:cubicBezTo>
                    <a:pt x="67232" y="13348"/>
                    <a:pt x="89338" y="0"/>
                    <a:pt x="116041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226BEB46-8DDC-4F31-84D5-43C1D428FD87}"/>
                </a:ext>
              </a:extLst>
            </p:cNvPr>
            <p:cNvSpPr/>
            <p:nvPr/>
          </p:nvSpPr>
          <p:spPr>
            <a:xfrm>
              <a:off x="4450268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5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5 w 69542"/>
                <a:gd name="connsiteY8" fmla="*/ 104076 h 338461"/>
                <a:gd name="connsiteX9" fmla="*/ 62175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76" y="0"/>
                    <a:pt x="69543" y="14277"/>
                    <a:pt x="69543" y="33160"/>
                  </a:cubicBezTo>
                  <a:close/>
                  <a:moveTo>
                    <a:pt x="6217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5" y="104076"/>
                  </a:lnTo>
                  <a:lnTo>
                    <a:pt x="6217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24E98491-A86C-43A3-8589-BB48949DBB2B}"/>
                </a:ext>
              </a:extLst>
            </p:cNvPr>
            <p:cNvSpPr/>
            <p:nvPr/>
          </p:nvSpPr>
          <p:spPr>
            <a:xfrm>
              <a:off x="4570153" y="2039148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6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8"/>
                    <a:pt x="83360" y="198924"/>
                    <a:pt x="116511" y="198924"/>
                  </a:cubicBezTo>
                  <a:cubicBezTo>
                    <a:pt x="138157" y="198924"/>
                    <a:pt x="155657" y="190634"/>
                    <a:pt x="174079" y="171291"/>
                  </a:cubicBezTo>
                  <a:lnTo>
                    <a:pt x="208152" y="207214"/>
                  </a:lnTo>
                  <a:cubicBezTo>
                    <a:pt x="181431" y="233465"/>
                    <a:pt x="151495" y="245900"/>
                    <a:pt x="116042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6"/>
                    <a:pt x="109125" y="45126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86586E11-2F38-4E90-98CE-782A08295553}"/>
                </a:ext>
              </a:extLst>
            </p:cNvPr>
            <p:cNvSpPr/>
            <p:nvPr/>
          </p:nvSpPr>
          <p:spPr>
            <a:xfrm>
              <a:off x="4831929" y="1936931"/>
              <a:ext cx="219187" cy="348116"/>
            </a:xfrm>
            <a:custGeom>
              <a:avLst/>
              <a:gdLst>
                <a:gd name="connsiteX0" fmla="*/ 0 w 219187"/>
                <a:gd name="connsiteY0" fmla="*/ 224706 h 348116"/>
                <a:gd name="connsiteX1" fmla="*/ 95317 w 219187"/>
                <a:gd name="connsiteY1" fmla="*/ 102217 h 348116"/>
                <a:gd name="connsiteX2" fmla="*/ 163478 w 219187"/>
                <a:gd name="connsiteY2" fmla="*/ 133986 h 348116"/>
                <a:gd name="connsiteX3" fmla="*/ 164391 w 219187"/>
                <a:gd name="connsiteY3" fmla="*/ 133986 h 348116"/>
                <a:gd name="connsiteX4" fmla="*/ 164391 w 219187"/>
                <a:gd name="connsiteY4" fmla="*/ 13808 h 348116"/>
                <a:gd name="connsiteX5" fmla="*/ 219188 w 219187"/>
                <a:gd name="connsiteY5" fmla="*/ 0 h 348116"/>
                <a:gd name="connsiteX6" fmla="*/ 219188 w 219187"/>
                <a:gd name="connsiteY6" fmla="*/ 342590 h 348116"/>
                <a:gd name="connsiteX7" fmla="*/ 165773 w 219187"/>
                <a:gd name="connsiteY7" fmla="*/ 342590 h 348116"/>
                <a:gd name="connsiteX8" fmla="*/ 165773 w 219187"/>
                <a:gd name="connsiteY8" fmla="*/ 314957 h 348116"/>
                <a:gd name="connsiteX9" fmla="*/ 164851 w 219187"/>
                <a:gd name="connsiteY9" fmla="*/ 314957 h 348116"/>
                <a:gd name="connsiteX10" fmla="*/ 94404 w 219187"/>
                <a:gd name="connsiteY10" fmla="*/ 348117 h 348116"/>
                <a:gd name="connsiteX11" fmla="*/ 0 w 219187"/>
                <a:gd name="connsiteY11" fmla="*/ 224706 h 348116"/>
                <a:gd name="connsiteX12" fmla="*/ 54328 w 219187"/>
                <a:gd name="connsiteY12" fmla="*/ 224706 h 348116"/>
                <a:gd name="connsiteX13" fmla="*/ 108664 w 219187"/>
                <a:gd name="connsiteY13" fmla="*/ 299767 h 348116"/>
                <a:gd name="connsiteX14" fmla="*/ 164383 w 219187"/>
                <a:gd name="connsiteY14" fmla="*/ 268911 h 348116"/>
                <a:gd name="connsiteX15" fmla="*/ 164383 w 219187"/>
                <a:gd name="connsiteY15" fmla="*/ 183265 h 348116"/>
                <a:gd name="connsiteX16" fmla="*/ 108664 w 219187"/>
                <a:gd name="connsiteY16" fmla="*/ 151956 h 348116"/>
                <a:gd name="connsiteX17" fmla="*/ 54328 w 219187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87" h="348116">
                  <a:moveTo>
                    <a:pt x="0" y="224706"/>
                  </a:moveTo>
                  <a:cubicBezTo>
                    <a:pt x="0" y="149185"/>
                    <a:pt x="38217" y="102217"/>
                    <a:pt x="95317" y="102217"/>
                  </a:cubicBezTo>
                  <a:cubicBezTo>
                    <a:pt x="124792" y="102217"/>
                    <a:pt x="147819" y="114643"/>
                    <a:pt x="163478" y="133986"/>
                  </a:cubicBezTo>
                  <a:lnTo>
                    <a:pt x="164391" y="133986"/>
                  </a:lnTo>
                  <a:lnTo>
                    <a:pt x="164391" y="13808"/>
                  </a:lnTo>
                  <a:lnTo>
                    <a:pt x="219188" y="0"/>
                  </a:lnTo>
                  <a:lnTo>
                    <a:pt x="219188" y="342590"/>
                  </a:lnTo>
                  <a:lnTo>
                    <a:pt x="165773" y="342590"/>
                  </a:lnTo>
                  <a:lnTo>
                    <a:pt x="165773" y="314957"/>
                  </a:lnTo>
                  <a:lnTo>
                    <a:pt x="164851" y="314957"/>
                  </a:lnTo>
                  <a:cubicBezTo>
                    <a:pt x="147819" y="335682"/>
                    <a:pt x="123410" y="348117"/>
                    <a:pt x="94404" y="348117"/>
                  </a:cubicBezTo>
                  <a:cubicBezTo>
                    <a:pt x="38677" y="348117"/>
                    <a:pt x="0" y="300689"/>
                    <a:pt x="0" y="224706"/>
                  </a:cubicBezTo>
                  <a:close/>
                  <a:moveTo>
                    <a:pt x="54328" y="224706"/>
                  </a:moveTo>
                  <a:cubicBezTo>
                    <a:pt x="54328" y="272595"/>
                    <a:pt x="74131" y="299767"/>
                    <a:pt x="108664" y="299767"/>
                  </a:cubicBezTo>
                  <a:cubicBezTo>
                    <a:pt x="129849" y="299767"/>
                    <a:pt x="147351" y="289635"/>
                    <a:pt x="164383" y="268911"/>
                  </a:cubicBezTo>
                  <a:lnTo>
                    <a:pt x="164383" y="183265"/>
                  </a:lnTo>
                  <a:cubicBezTo>
                    <a:pt x="148732" y="162088"/>
                    <a:pt x="130762" y="151956"/>
                    <a:pt x="108664" y="151956"/>
                  </a:cubicBezTo>
                  <a:cubicBezTo>
                    <a:pt x="73210" y="151956"/>
                    <a:pt x="54328" y="177739"/>
                    <a:pt x="54328" y="224706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F67D1AD5-99F8-4263-A1A6-71A982D72E61}"/>
                </a:ext>
              </a:extLst>
            </p:cNvPr>
            <p:cNvSpPr/>
            <p:nvPr/>
          </p:nvSpPr>
          <p:spPr>
            <a:xfrm>
              <a:off x="512248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86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7 w 141832"/>
                <a:gd name="connsiteY9" fmla="*/ 35454 h 240364"/>
                <a:gd name="connsiteX10" fmla="*/ 116033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792" y="56631"/>
                    <a:pt x="114660" y="53868"/>
                    <a:pt x="102686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3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BF8B1A12-11A7-42FF-8F31-2FFE11ECE0C2}"/>
                </a:ext>
              </a:extLst>
            </p:cNvPr>
            <p:cNvSpPr/>
            <p:nvPr/>
          </p:nvSpPr>
          <p:spPr>
            <a:xfrm>
              <a:off x="5303239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5BF2A515-E766-41FF-8C27-C9003567EAC7}"/>
                </a:ext>
              </a:extLst>
            </p:cNvPr>
            <p:cNvSpPr/>
            <p:nvPr/>
          </p:nvSpPr>
          <p:spPr>
            <a:xfrm>
              <a:off x="5424179" y="2039156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2"/>
                    <a:pt x="112809" y="50192"/>
                  </a:cubicBezTo>
                  <a:cubicBezTo>
                    <a:pt x="78277" y="50192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71" y="196161"/>
                    <a:pt x="145509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7F510EBB-F96A-4861-B8B5-E1218516CEB6}"/>
                </a:ext>
              </a:extLst>
            </p:cNvPr>
            <p:cNvSpPr/>
            <p:nvPr/>
          </p:nvSpPr>
          <p:spPr>
            <a:xfrm>
              <a:off x="5668731" y="1936931"/>
              <a:ext cx="201695" cy="342590"/>
            </a:xfrm>
            <a:custGeom>
              <a:avLst/>
              <a:gdLst>
                <a:gd name="connsiteX0" fmla="*/ 201695 w 201695"/>
                <a:gd name="connsiteY0" fmla="*/ 342590 h 342590"/>
                <a:gd name="connsiteX1" fmla="*/ 146898 w 201695"/>
                <a:gd name="connsiteY1" fmla="*/ 342590 h 342590"/>
                <a:gd name="connsiteX2" fmla="*/ 146898 w 201695"/>
                <a:gd name="connsiteY2" fmla="*/ 208587 h 342590"/>
                <a:gd name="connsiteX3" fmla="*/ 103607 w 201695"/>
                <a:gd name="connsiteY3" fmla="*/ 151487 h 342590"/>
                <a:gd name="connsiteX4" fmla="*/ 54797 w 201695"/>
                <a:gd name="connsiteY4" fmla="*/ 208135 h 342590"/>
                <a:gd name="connsiteX5" fmla="*/ 54797 w 201695"/>
                <a:gd name="connsiteY5" fmla="*/ 342590 h 342590"/>
                <a:gd name="connsiteX6" fmla="*/ 0 w 201695"/>
                <a:gd name="connsiteY6" fmla="*/ 342590 h 342590"/>
                <a:gd name="connsiteX7" fmla="*/ 0 w 201695"/>
                <a:gd name="connsiteY7" fmla="*/ 13808 h 342590"/>
                <a:gd name="connsiteX8" fmla="*/ 54797 w 201695"/>
                <a:gd name="connsiteY8" fmla="*/ 0 h 342590"/>
                <a:gd name="connsiteX9" fmla="*/ 54797 w 201695"/>
                <a:gd name="connsiteY9" fmla="*/ 136298 h 342590"/>
                <a:gd name="connsiteX10" fmla="*/ 55718 w 201695"/>
                <a:gd name="connsiteY10" fmla="*/ 136298 h 342590"/>
                <a:gd name="connsiteX11" fmla="*/ 124323 w 201695"/>
                <a:gd name="connsiteY11" fmla="*/ 102225 h 342590"/>
                <a:gd name="connsiteX12" fmla="*/ 201687 w 201695"/>
                <a:gd name="connsiteY12" fmla="*/ 197082 h 342590"/>
                <a:gd name="connsiteX13" fmla="*/ 201687 w 201695"/>
                <a:gd name="connsiteY13" fmla="*/ 342590 h 34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0">
                  <a:moveTo>
                    <a:pt x="201695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297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0"/>
                  </a:lnTo>
                  <a:lnTo>
                    <a:pt x="0" y="342590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F4C5C431-4D27-4E94-8A72-9F5026A0DB92}"/>
                </a:ext>
              </a:extLst>
            </p:cNvPr>
            <p:cNvSpPr/>
            <p:nvPr/>
          </p:nvSpPr>
          <p:spPr>
            <a:xfrm>
              <a:off x="5933312" y="2109603"/>
              <a:ext cx="115120" cy="52033"/>
            </a:xfrm>
            <a:custGeom>
              <a:avLst/>
              <a:gdLst>
                <a:gd name="connsiteX0" fmla="*/ 115121 w 115120"/>
                <a:gd name="connsiteY0" fmla="*/ 52034 h 52033"/>
                <a:gd name="connsiteX1" fmla="*/ 0 w 115120"/>
                <a:gd name="connsiteY1" fmla="*/ 52034 h 52033"/>
                <a:gd name="connsiteX2" fmla="*/ 0 w 115120"/>
                <a:gd name="connsiteY2" fmla="*/ 0 h 52033"/>
                <a:gd name="connsiteX3" fmla="*/ 115121 w 115120"/>
                <a:gd name="connsiteY3" fmla="*/ 0 h 52033"/>
                <a:gd name="connsiteX4" fmla="*/ 115121 w 115120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20" h="52033">
                  <a:moveTo>
                    <a:pt x="115121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1" y="0"/>
                  </a:lnTo>
                  <a:lnTo>
                    <a:pt x="115121" y="52034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C7807AF4-2931-4060-8651-FAE57D3A1697}"/>
                </a:ext>
              </a:extLst>
            </p:cNvPr>
            <p:cNvSpPr/>
            <p:nvPr/>
          </p:nvSpPr>
          <p:spPr>
            <a:xfrm>
              <a:off x="6076636" y="1955336"/>
              <a:ext cx="302078" cy="324184"/>
            </a:xfrm>
            <a:custGeom>
              <a:avLst/>
              <a:gdLst>
                <a:gd name="connsiteX0" fmla="*/ 120647 w 302078"/>
                <a:gd name="connsiteY0" fmla="*/ 0 h 324184"/>
                <a:gd name="connsiteX1" fmla="*/ 181431 w 302078"/>
                <a:gd name="connsiteY1" fmla="*/ 0 h 324184"/>
                <a:gd name="connsiteX2" fmla="*/ 302079 w 302078"/>
                <a:gd name="connsiteY2" fmla="*/ 324185 h 324184"/>
                <a:gd name="connsiteX3" fmla="*/ 238991 w 302078"/>
                <a:gd name="connsiteY3" fmla="*/ 324185 h 324184"/>
                <a:gd name="connsiteX4" fmla="*/ 215503 w 302078"/>
                <a:gd name="connsiteY4" fmla="*/ 255111 h 324184"/>
                <a:gd name="connsiteX5" fmla="*/ 84732 w 302078"/>
                <a:gd name="connsiteY5" fmla="*/ 255111 h 324184"/>
                <a:gd name="connsiteX6" fmla="*/ 61244 w 302078"/>
                <a:gd name="connsiteY6" fmla="*/ 324185 h 324184"/>
                <a:gd name="connsiteX7" fmla="*/ 0 w 302078"/>
                <a:gd name="connsiteY7" fmla="*/ 324185 h 324184"/>
                <a:gd name="connsiteX8" fmla="*/ 120647 w 302078"/>
                <a:gd name="connsiteY8" fmla="*/ 0 h 324184"/>
                <a:gd name="connsiteX9" fmla="*/ 102686 w 302078"/>
                <a:gd name="connsiteY9" fmla="*/ 203538 h 324184"/>
                <a:gd name="connsiteX10" fmla="*/ 197542 w 302078"/>
                <a:gd name="connsiteY10" fmla="*/ 203538 h 324184"/>
                <a:gd name="connsiteX11" fmla="*/ 150575 w 302078"/>
                <a:gd name="connsiteY11" fmla="*/ 65859 h 324184"/>
                <a:gd name="connsiteX12" fmla="*/ 149654 w 302078"/>
                <a:gd name="connsiteY12" fmla="*/ 65859 h 324184"/>
                <a:gd name="connsiteX13" fmla="*/ 102686 w 302078"/>
                <a:gd name="connsiteY13" fmla="*/ 203538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2078" h="324184">
                  <a:moveTo>
                    <a:pt x="120647" y="0"/>
                  </a:moveTo>
                  <a:lnTo>
                    <a:pt x="181431" y="0"/>
                  </a:lnTo>
                  <a:lnTo>
                    <a:pt x="302079" y="324185"/>
                  </a:lnTo>
                  <a:lnTo>
                    <a:pt x="238991" y="324185"/>
                  </a:lnTo>
                  <a:lnTo>
                    <a:pt x="215503" y="255111"/>
                  </a:lnTo>
                  <a:lnTo>
                    <a:pt x="84732" y="255111"/>
                  </a:lnTo>
                  <a:lnTo>
                    <a:pt x="61244" y="324185"/>
                  </a:lnTo>
                  <a:lnTo>
                    <a:pt x="0" y="324185"/>
                  </a:lnTo>
                  <a:lnTo>
                    <a:pt x="120647" y="0"/>
                  </a:lnTo>
                  <a:close/>
                  <a:moveTo>
                    <a:pt x="102686" y="203538"/>
                  </a:moveTo>
                  <a:lnTo>
                    <a:pt x="197542" y="203538"/>
                  </a:lnTo>
                  <a:lnTo>
                    <a:pt x="150575" y="65859"/>
                  </a:lnTo>
                  <a:lnTo>
                    <a:pt x="149654" y="65859"/>
                  </a:lnTo>
                  <a:lnTo>
                    <a:pt x="102686" y="20353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0A540DAF-3F4A-4E60-AB20-08DE835AAC1F}"/>
                </a:ext>
              </a:extLst>
            </p:cNvPr>
            <p:cNvSpPr/>
            <p:nvPr/>
          </p:nvSpPr>
          <p:spPr>
            <a:xfrm>
              <a:off x="6426787" y="1937383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B740F740-2C9D-4EB2-B492-298181006824}"/>
                </a:ext>
              </a:extLst>
            </p:cNvPr>
            <p:cNvSpPr/>
            <p:nvPr/>
          </p:nvSpPr>
          <p:spPr>
            <a:xfrm>
              <a:off x="6541003" y="2039148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0 w 214130"/>
                <a:gd name="connsiteY3" fmla="*/ 119266 h 245899"/>
                <a:gd name="connsiteX4" fmla="*/ 213209 w 214130"/>
                <a:gd name="connsiteY4" fmla="*/ 141824 h 245899"/>
                <a:gd name="connsiteX5" fmla="*/ 55726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6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0" y="46968"/>
                    <a:pt x="214130" y="119266"/>
                  </a:cubicBezTo>
                  <a:cubicBezTo>
                    <a:pt x="214130" y="127095"/>
                    <a:pt x="213670" y="135385"/>
                    <a:pt x="213209" y="141824"/>
                  </a:cubicBezTo>
                  <a:lnTo>
                    <a:pt x="55726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31" y="233465"/>
                    <a:pt x="151487" y="245900"/>
                    <a:pt x="116033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72" y="65850"/>
                    <a:pt x="139990" y="45126"/>
                    <a:pt x="109134" y="45126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653C23F7-BCC6-448A-B74E-783CC86F6845}"/>
                </a:ext>
              </a:extLst>
            </p:cNvPr>
            <p:cNvSpPr/>
            <p:nvPr/>
          </p:nvSpPr>
          <p:spPr>
            <a:xfrm>
              <a:off x="6784224" y="2045127"/>
              <a:ext cx="224245" cy="234394"/>
            </a:xfrm>
            <a:custGeom>
              <a:avLst/>
              <a:gdLst>
                <a:gd name="connsiteX0" fmla="*/ 224245 w 224245"/>
                <a:gd name="connsiteY0" fmla="*/ 234395 h 234394"/>
                <a:gd name="connsiteX1" fmla="*/ 161619 w 224245"/>
                <a:gd name="connsiteY1" fmla="*/ 234395 h 234394"/>
                <a:gd name="connsiteX2" fmla="*/ 111427 w 224245"/>
                <a:gd name="connsiteY2" fmla="*/ 153346 h 234394"/>
                <a:gd name="connsiteX3" fmla="*/ 110515 w 224245"/>
                <a:gd name="connsiteY3" fmla="*/ 153346 h 234394"/>
                <a:gd name="connsiteX4" fmla="*/ 61697 w 224245"/>
                <a:gd name="connsiteY4" fmla="*/ 234395 h 234394"/>
                <a:gd name="connsiteX5" fmla="*/ 0 w 224245"/>
                <a:gd name="connsiteY5" fmla="*/ 234395 h 234394"/>
                <a:gd name="connsiteX6" fmla="*/ 80119 w 224245"/>
                <a:gd name="connsiteY6" fmla="*/ 112826 h 234394"/>
                <a:gd name="connsiteX7" fmla="*/ 5979 w 224245"/>
                <a:gd name="connsiteY7" fmla="*/ 0 h 234394"/>
                <a:gd name="connsiteX8" fmla="*/ 67684 w 224245"/>
                <a:gd name="connsiteY8" fmla="*/ 0 h 234394"/>
                <a:gd name="connsiteX9" fmla="*/ 111888 w 224245"/>
                <a:gd name="connsiteY9" fmla="*/ 71837 h 234394"/>
                <a:gd name="connsiteX10" fmla="*/ 112801 w 224245"/>
                <a:gd name="connsiteY10" fmla="*/ 71837 h 234394"/>
                <a:gd name="connsiteX11" fmla="*/ 156553 w 224245"/>
                <a:gd name="connsiteY11" fmla="*/ 0 h 234394"/>
                <a:gd name="connsiteX12" fmla="*/ 217337 w 224245"/>
                <a:gd name="connsiteY12" fmla="*/ 0 h 234394"/>
                <a:gd name="connsiteX13" fmla="*/ 143657 w 224245"/>
                <a:gd name="connsiteY13" fmla="*/ 111897 h 234394"/>
                <a:gd name="connsiteX14" fmla="*/ 224245 w 224245"/>
                <a:gd name="connsiteY14" fmla="*/ 234395 h 234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4245" h="234394">
                  <a:moveTo>
                    <a:pt x="224245" y="234395"/>
                  </a:moveTo>
                  <a:lnTo>
                    <a:pt x="161619" y="234395"/>
                  </a:lnTo>
                  <a:lnTo>
                    <a:pt x="111427" y="153346"/>
                  </a:lnTo>
                  <a:lnTo>
                    <a:pt x="110515" y="153346"/>
                  </a:lnTo>
                  <a:lnTo>
                    <a:pt x="61697" y="234395"/>
                  </a:lnTo>
                  <a:lnTo>
                    <a:pt x="0" y="234395"/>
                  </a:lnTo>
                  <a:lnTo>
                    <a:pt x="80119" y="112826"/>
                  </a:lnTo>
                  <a:lnTo>
                    <a:pt x="5979" y="0"/>
                  </a:lnTo>
                  <a:lnTo>
                    <a:pt x="67684" y="0"/>
                  </a:lnTo>
                  <a:lnTo>
                    <a:pt x="111888" y="71837"/>
                  </a:lnTo>
                  <a:lnTo>
                    <a:pt x="112801" y="71837"/>
                  </a:lnTo>
                  <a:lnTo>
                    <a:pt x="156553" y="0"/>
                  </a:lnTo>
                  <a:lnTo>
                    <a:pt x="217337" y="0"/>
                  </a:lnTo>
                  <a:lnTo>
                    <a:pt x="143657" y="111897"/>
                  </a:lnTo>
                  <a:lnTo>
                    <a:pt x="224245" y="23439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1884E293-5900-4629-A460-9B364230A0D1}"/>
                </a:ext>
              </a:extLst>
            </p:cNvPr>
            <p:cNvSpPr/>
            <p:nvPr/>
          </p:nvSpPr>
          <p:spPr>
            <a:xfrm>
              <a:off x="7037149" y="2039148"/>
              <a:ext cx="198924" cy="245899"/>
            </a:xfrm>
            <a:custGeom>
              <a:avLst/>
              <a:gdLst>
                <a:gd name="connsiteX0" fmla="*/ 100835 w 198924"/>
                <a:gd name="connsiteY0" fmla="*/ 94856 h 245899"/>
                <a:gd name="connsiteX1" fmla="*/ 145039 w 198924"/>
                <a:gd name="connsiteY1" fmla="*/ 99922 h 245899"/>
                <a:gd name="connsiteX2" fmla="*/ 145039 w 198924"/>
                <a:gd name="connsiteY2" fmla="*/ 91633 h 245899"/>
                <a:gd name="connsiteX3" fmla="*/ 93466 w 198924"/>
                <a:gd name="connsiteY3" fmla="*/ 46047 h 245899"/>
                <a:gd name="connsiteX4" fmla="*/ 34064 w 198924"/>
                <a:gd name="connsiteY4" fmla="*/ 59402 h 245899"/>
                <a:gd name="connsiteX5" fmla="*/ 22090 w 198924"/>
                <a:gd name="connsiteY5" fmla="*/ 13356 h 245899"/>
                <a:gd name="connsiteX6" fmla="*/ 98993 w 198924"/>
                <a:gd name="connsiteY6" fmla="*/ 0 h 245899"/>
                <a:gd name="connsiteX7" fmla="*/ 198924 w 198924"/>
                <a:gd name="connsiteY7" fmla="*/ 90712 h 245899"/>
                <a:gd name="connsiteX8" fmla="*/ 198924 w 198924"/>
                <a:gd name="connsiteY8" fmla="*/ 240373 h 245899"/>
                <a:gd name="connsiteX9" fmla="*/ 146882 w 198924"/>
                <a:gd name="connsiteY9" fmla="*/ 240373 h 245899"/>
                <a:gd name="connsiteX10" fmla="*/ 146882 w 198924"/>
                <a:gd name="connsiteY10" fmla="*/ 215504 h 245899"/>
                <a:gd name="connsiteX11" fmla="*/ 145969 w 198924"/>
                <a:gd name="connsiteY11" fmla="*/ 215504 h 245899"/>
                <a:gd name="connsiteX12" fmla="*/ 77356 w 198924"/>
                <a:gd name="connsiteY12" fmla="*/ 245900 h 245899"/>
                <a:gd name="connsiteX13" fmla="*/ 0 w 198924"/>
                <a:gd name="connsiteY13" fmla="*/ 171299 h 245899"/>
                <a:gd name="connsiteX14" fmla="*/ 100835 w 198924"/>
                <a:gd name="connsiteY14" fmla="*/ 94856 h 245899"/>
                <a:gd name="connsiteX15" fmla="*/ 91624 w 198924"/>
                <a:gd name="connsiteY15" fmla="*/ 204919 h 245899"/>
                <a:gd name="connsiteX16" fmla="*/ 145039 w 198924"/>
                <a:gd name="connsiteY16" fmla="*/ 176834 h 245899"/>
                <a:gd name="connsiteX17" fmla="*/ 145039 w 198924"/>
                <a:gd name="connsiteY17" fmla="*/ 135845 h 245899"/>
                <a:gd name="connsiteX18" fmla="*/ 106823 w 198924"/>
                <a:gd name="connsiteY18" fmla="*/ 131240 h 245899"/>
                <a:gd name="connsiteX19" fmla="*/ 52486 w 198924"/>
                <a:gd name="connsiteY19" fmla="*/ 169918 h 245899"/>
                <a:gd name="connsiteX20" fmla="*/ 91624 w 198924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4" h="245899">
                  <a:moveTo>
                    <a:pt x="100835" y="94856"/>
                  </a:moveTo>
                  <a:cubicBezTo>
                    <a:pt x="116025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2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46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0" y="204919"/>
                    <a:pt x="129842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9" y="131240"/>
                    <a:pt x="106823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8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623F20C0-5C72-4745-BADF-2EB5DE6FD209}"/>
                </a:ext>
              </a:extLst>
            </p:cNvPr>
            <p:cNvSpPr/>
            <p:nvPr/>
          </p:nvSpPr>
          <p:spPr>
            <a:xfrm>
              <a:off x="7305540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0 w 201695"/>
                <a:gd name="connsiteY1" fmla="*/ 240373 h 240373"/>
                <a:gd name="connsiteX2" fmla="*/ 146890 w 201695"/>
                <a:gd name="connsiteY2" fmla="*/ 106370 h 240373"/>
                <a:gd name="connsiteX3" fmla="*/ 103607 w 201695"/>
                <a:gd name="connsiteY3" fmla="*/ 49270 h 240373"/>
                <a:gd name="connsiteX4" fmla="*/ 54797 w 201695"/>
                <a:gd name="connsiteY4" fmla="*/ 105918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0" y="240373"/>
                  </a:lnTo>
                  <a:lnTo>
                    <a:pt x="146890" y="106370"/>
                  </a:lnTo>
                  <a:cubicBezTo>
                    <a:pt x="146890" y="72298"/>
                    <a:pt x="136767" y="49270"/>
                    <a:pt x="103607" y="49270"/>
                  </a:cubicBezTo>
                  <a:cubicBezTo>
                    <a:pt x="65390" y="49270"/>
                    <a:pt x="54797" y="80588"/>
                    <a:pt x="54797" y="105918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7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81B2BEC0-46F8-4083-986B-0DCD70E8F6DB}"/>
                </a:ext>
              </a:extLst>
            </p:cNvPr>
            <p:cNvSpPr/>
            <p:nvPr/>
          </p:nvSpPr>
          <p:spPr>
            <a:xfrm>
              <a:off x="7565198" y="1936931"/>
              <a:ext cx="219195" cy="348116"/>
            </a:xfrm>
            <a:custGeom>
              <a:avLst/>
              <a:gdLst>
                <a:gd name="connsiteX0" fmla="*/ 0 w 219195"/>
                <a:gd name="connsiteY0" fmla="*/ 224706 h 348116"/>
                <a:gd name="connsiteX1" fmla="*/ 95325 w 219195"/>
                <a:gd name="connsiteY1" fmla="*/ 102217 h 348116"/>
                <a:gd name="connsiteX2" fmla="*/ 163478 w 219195"/>
                <a:gd name="connsiteY2" fmla="*/ 133986 h 348116"/>
                <a:gd name="connsiteX3" fmla="*/ 164399 w 219195"/>
                <a:gd name="connsiteY3" fmla="*/ 133986 h 348116"/>
                <a:gd name="connsiteX4" fmla="*/ 164399 w 219195"/>
                <a:gd name="connsiteY4" fmla="*/ 13808 h 348116"/>
                <a:gd name="connsiteX5" fmla="*/ 219196 w 219195"/>
                <a:gd name="connsiteY5" fmla="*/ 0 h 348116"/>
                <a:gd name="connsiteX6" fmla="*/ 219196 w 219195"/>
                <a:gd name="connsiteY6" fmla="*/ 342590 h 348116"/>
                <a:gd name="connsiteX7" fmla="*/ 165781 w 219195"/>
                <a:gd name="connsiteY7" fmla="*/ 342590 h 348116"/>
                <a:gd name="connsiteX8" fmla="*/ 165781 w 219195"/>
                <a:gd name="connsiteY8" fmla="*/ 314957 h 348116"/>
                <a:gd name="connsiteX9" fmla="*/ 164859 w 219195"/>
                <a:gd name="connsiteY9" fmla="*/ 314957 h 348116"/>
                <a:gd name="connsiteX10" fmla="*/ 94404 w 219195"/>
                <a:gd name="connsiteY10" fmla="*/ 348117 h 348116"/>
                <a:gd name="connsiteX11" fmla="*/ 0 w 219195"/>
                <a:gd name="connsiteY11" fmla="*/ 224706 h 348116"/>
                <a:gd name="connsiteX12" fmla="*/ 54336 w 219195"/>
                <a:gd name="connsiteY12" fmla="*/ 224706 h 348116"/>
                <a:gd name="connsiteX13" fmla="*/ 108673 w 219195"/>
                <a:gd name="connsiteY13" fmla="*/ 299767 h 348116"/>
                <a:gd name="connsiteX14" fmla="*/ 164391 w 219195"/>
                <a:gd name="connsiteY14" fmla="*/ 268911 h 348116"/>
                <a:gd name="connsiteX15" fmla="*/ 164391 w 219195"/>
                <a:gd name="connsiteY15" fmla="*/ 183265 h 348116"/>
                <a:gd name="connsiteX16" fmla="*/ 108673 w 219195"/>
                <a:gd name="connsiteY16" fmla="*/ 151956 h 348116"/>
                <a:gd name="connsiteX17" fmla="*/ 54336 w 219195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5" h="348116">
                  <a:moveTo>
                    <a:pt x="0" y="224706"/>
                  </a:moveTo>
                  <a:cubicBezTo>
                    <a:pt x="0" y="149185"/>
                    <a:pt x="38217" y="102217"/>
                    <a:pt x="95325" y="102217"/>
                  </a:cubicBezTo>
                  <a:cubicBezTo>
                    <a:pt x="124800" y="102217"/>
                    <a:pt x="147828" y="114643"/>
                    <a:pt x="163478" y="133986"/>
                  </a:cubicBezTo>
                  <a:lnTo>
                    <a:pt x="164399" y="133986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0"/>
                  </a:lnTo>
                  <a:lnTo>
                    <a:pt x="165781" y="342590"/>
                  </a:lnTo>
                  <a:lnTo>
                    <a:pt x="165781" y="314957"/>
                  </a:lnTo>
                  <a:lnTo>
                    <a:pt x="164859" y="314957"/>
                  </a:lnTo>
                  <a:cubicBezTo>
                    <a:pt x="147828" y="335682"/>
                    <a:pt x="123418" y="348117"/>
                    <a:pt x="94404" y="348117"/>
                  </a:cubicBezTo>
                  <a:cubicBezTo>
                    <a:pt x="38686" y="348117"/>
                    <a:pt x="0" y="300689"/>
                    <a:pt x="0" y="224706"/>
                  </a:cubicBezTo>
                  <a:close/>
                  <a:moveTo>
                    <a:pt x="54336" y="224706"/>
                  </a:moveTo>
                  <a:cubicBezTo>
                    <a:pt x="54336" y="272595"/>
                    <a:pt x="74140" y="299767"/>
                    <a:pt x="108673" y="299767"/>
                  </a:cubicBezTo>
                  <a:cubicBezTo>
                    <a:pt x="129850" y="299767"/>
                    <a:pt x="147351" y="289635"/>
                    <a:pt x="164391" y="268911"/>
                  </a:cubicBezTo>
                  <a:lnTo>
                    <a:pt x="164391" y="183265"/>
                  </a:lnTo>
                  <a:cubicBezTo>
                    <a:pt x="148733" y="162088"/>
                    <a:pt x="130771" y="151956"/>
                    <a:pt x="108673" y="151956"/>
                  </a:cubicBezTo>
                  <a:cubicBezTo>
                    <a:pt x="73219" y="151956"/>
                    <a:pt x="54336" y="177739"/>
                    <a:pt x="54336" y="224706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A81ACECC-FB3B-4FA3-9E6E-79B4642A0158}"/>
                </a:ext>
              </a:extLst>
            </p:cNvPr>
            <p:cNvSpPr/>
            <p:nvPr/>
          </p:nvSpPr>
          <p:spPr>
            <a:xfrm>
              <a:off x="7843881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89 w 214130"/>
                <a:gd name="connsiteY10" fmla="*/ 101765 h 245899"/>
                <a:gd name="connsiteX11" fmla="*/ 161160 w 214130"/>
                <a:gd name="connsiteY11" fmla="*/ 101765 h 245899"/>
                <a:gd name="connsiteX12" fmla="*/ 109125 w 214130"/>
                <a:gd name="connsiteY12" fmla="*/ 45126 h 245899"/>
                <a:gd name="connsiteX13" fmla="*/ 54789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23" y="233465"/>
                    <a:pt x="151496" y="245900"/>
                    <a:pt x="116034" y="245900"/>
                  </a:cubicBezTo>
                  <a:close/>
                  <a:moveTo>
                    <a:pt x="54789" y="101765"/>
                  </a:moveTo>
                  <a:lnTo>
                    <a:pt x="161160" y="101765"/>
                  </a:lnTo>
                  <a:cubicBezTo>
                    <a:pt x="158857" y="65850"/>
                    <a:pt x="139982" y="45126"/>
                    <a:pt x="109125" y="45126"/>
                  </a:cubicBezTo>
                  <a:cubicBezTo>
                    <a:pt x="78738" y="45134"/>
                    <a:pt x="59394" y="65390"/>
                    <a:pt x="54789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39689E31-9B66-44E7-B47F-C666C38FB7EF}"/>
                </a:ext>
              </a:extLst>
            </p:cNvPr>
            <p:cNvSpPr/>
            <p:nvPr/>
          </p:nvSpPr>
          <p:spPr>
            <a:xfrm>
              <a:off x="8117849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86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801" y="56631"/>
                    <a:pt x="114668" y="53868"/>
                    <a:pt x="102686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8" y="35454"/>
                  </a:lnTo>
                  <a:cubicBezTo>
                    <a:pt x="67224" y="13348"/>
                    <a:pt x="89330" y="0"/>
                    <a:pt x="116042" y="0"/>
                  </a:cubicBezTo>
                  <a:cubicBezTo>
                    <a:pt x="123871" y="-8"/>
                    <a:pt x="133534" y="1373"/>
                    <a:pt x="141832" y="5058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E38D45FB-93D8-44DA-AE4F-CA723C7C76CB}"/>
                </a:ext>
              </a:extLst>
            </p:cNvPr>
            <p:cNvSpPr/>
            <p:nvPr/>
          </p:nvSpPr>
          <p:spPr>
            <a:xfrm>
              <a:off x="8293771" y="2109603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F690CF57-2C49-4051-84D6-F1216B22B26E}"/>
                </a:ext>
              </a:extLst>
            </p:cNvPr>
            <p:cNvSpPr/>
            <p:nvPr/>
          </p:nvSpPr>
          <p:spPr>
            <a:xfrm>
              <a:off x="8478811" y="1955336"/>
              <a:ext cx="253268" cy="329711"/>
            </a:xfrm>
            <a:custGeom>
              <a:avLst/>
              <a:gdLst>
                <a:gd name="connsiteX0" fmla="*/ 253268 w 253268"/>
                <a:gd name="connsiteY0" fmla="*/ 195708 h 329711"/>
                <a:gd name="connsiteX1" fmla="*/ 126174 w 253268"/>
                <a:gd name="connsiteY1" fmla="*/ 329712 h 329711"/>
                <a:gd name="connsiteX2" fmla="*/ 0 w 253268"/>
                <a:gd name="connsiteY2" fmla="*/ 195708 h 329711"/>
                <a:gd name="connsiteX3" fmla="*/ 0 w 253268"/>
                <a:gd name="connsiteY3" fmla="*/ 0 h 329711"/>
                <a:gd name="connsiteX4" fmla="*/ 58941 w 253268"/>
                <a:gd name="connsiteY4" fmla="*/ 0 h 329711"/>
                <a:gd name="connsiteX5" fmla="*/ 58941 w 253268"/>
                <a:gd name="connsiteY5" fmla="*/ 192485 h 329711"/>
                <a:gd name="connsiteX6" fmla="*/ 128016 w 253268"/>
                <a:gd name="connsiteY6" fmla="*/ 274446 h 329711"/>
                <a:gd name="connsiteX7" fmla="*/ 194795 w 253268"/>
                <a:gd name="connsiteY7" fmla="*/ 192485 h 329711"/>
                <a:gd name="connsiteX8" fmla="*/ 194795 w 253268"/>
                <a:gd name="connsiteY8" fmla="*/ 0 h 329711"/>
                <a:gd name="connsiteX9" fmla="*/ 253268 w 253268"/>
                <a:gd name="connsiteY9" fmla="*/ 0 h 329711"/>
                <a:gd name="connsiteX10" fmla="*/ 253268 w 253268"/>
                <a:gd name="connsiteY10" fmla="*/ 195708 h 32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268" h="329711">
                  <a:moveTo>
                    <a:pt x="253268" y="195708"/>
                  </a:moveTo>
                  <a:cubicBezTo>
                    <a:pt x="253268" y="273993"/>
                    <a:pt x="213209" y="329712"/>
                    <a:pt x="126174" y="329712"/>
                  </a:cubicBezTo>
                  <a:cubicBezTo>
                    <a:pt x="39599" y="329712"/>
                    <a:pt x="0" y="274446"/>
                    <a:pt x="0" y="195708"/>
                  </a:cubicBezTo>
                  <a:lnTo>
                    <a:pt x="0" y="0"/>
                  </a:lnTo>
                  <a:lnTo>
                    <a:pt x="58941" y="0"/>
                  </a:lnTo>
                  <a:lnTo>
                    <a:pt x="58941" y="192485"/>
                  </a:lnTo>
                  <a:cubicBezTo>
                    <a:pt x="58941" y="241294"/>
                    <a:pt x="80127" y="274446"/>
                    <a:pt x="128016" y="274446"/>
                  </a:cubicBezTo>
                  <a:cubicBezTo>
                    <a:pt x="175913" y="274446"/>
                    <a:pt x="194795" y="241755"/>
                    <a:pt x="194795" y="192485"/>
                  </a:cubicBezTo>
                  <a:lnTo>
                    <a:pt x="194795" y="0"/>
                  </a:lnTo>
                  <a:lnTo>
                    <a:pt x="253268" y="0"/>
                  </a:lnTo>
                  <a:lnTo>
                    <a:pt x="253268" y="19570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9FC1199D-1BE6-423F-ADAC-1B7CBAF1DB91}"/>
                </a:ext>
              </a:extLst>
            </p:cNvPr>
            <p:cNvSpPr/>
            <p:nvPr/>
          </p:nvSpPr>
          <p:spPr>
            <a:xfrm>
              <a:off x="8804838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8 w 201695"/>
                <a:gd name="connsiteY1" fmla="*/ 240373 h 240373"/>
                <a:gd name="connsiteX2" fmla="*/ 146898 w 201695"/>
                <a:gd name="connsiteY2" fmla="*/ 106370 h 240373"/>
                <a:gd name="connsiteX3" fmla="*/ 103607 w 201695"/>
                <a:gd name="connsiteY3" fmla="*/ 49270 h 240373"/>
                <a:gd name="connsiteX4" fmla="*/ 54798 w 201695"/>
                <a:gd name="connsiteY4" fmla="*/ 105918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8" y="240373"/>
                  </a:lnTo>
                  <a:lnTo>
                    <a:pt x="146898" y="106370"/>
                  </a:lnTo>
                  <a:cubicBezTo>
                    <a:pt x="146898" y="72298"/>
                    <a:pt x="136767" y="49270"/>
                    <a:pt x="103607" y="49270"/>
                  </a:cubicBezTo>
                  <a:cubicBezTo>
                    <a:pt x="65390" y="49270"/>
                    <a:pt x="54798" y="80588"/>
                    <a:pt x="54798" y="105918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7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E7191C5F-FC93-4748-9A11-EDA7A6612882}"/>
                </a:ext>
              </a:extLst>
            </p:cNvPr>
            <p:cNvSpPr/>
            <p:nvPr/>
          </p:nvSpPr>
          <p:spPr>
            <a:xfrm>
              <a:off x="9068273" y="1941059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2 w 69534"/>
                <a:gd name="connsiteY1" fmla="*/ 66311 h 338461"/>
                <a:gd name="connsiteX2" fmla="*/ 0 w 69534"/>
                <a:gd name="connsiteY2" fmla="*/ 33160 h 338461"/>
                <a:gd name="connsiteX3" fmla="*/ 34532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2" y="66311"/>
                  </a:cubicBezTo>
                  <a:cubicBezTo>
                    <a:pt x="15649" y="66311"/>
                    <a:pt x="0" y="52503"/>
                    <a:pt x="0" y="33160"/>
                  </a:cubicBezTo>
                  <a:cubicBezTo>
                    <a:pt x="0" y="14277"/>
                    <a:pt x="15649" y="0"/>
                    <a:pt x="34532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4361EF3F-FE70-4257-87A6-E598180320B3}"/>
                </a:ext>
              </a:extLst>
            </p:cNvPr>
            <p:cNvSpPr/>
            <p:nvPr/>
          </p:nvSpPr>
          <p:spPr>
            <a:xfrm>
              <a:off x="9176921" y="2045135"/>
              <a:ext cx="227478" cy="234386"/>
            </a:xfrm>
            <a:custGeom>
              <a:avLst/>
              <a:gdLst>
                <a:gd name="connsiteX0" fmla="*/ 227478 w 227478"/>
                <a:gd name="connsiteY0" fmla="*/ 0 h 234386"/>
                <a:gd name="connsiteX1" fmla="*/ 142284 w 227478"/>
                <a:gd name="connsiteY1" fmla="*/ 234386 h 234386"/>
                <a:gd name="connsiteX2" fmla="*/ 85185 w 227478"/>
                <a:gd name="connsiteY2" fmla="*/ 234386 h 234386"/>
                <a:gd name="connsiteX3" fmla="*/ 0 w 227478"/>
                <a:gd name="connsiteY3" fmla="*/ 0 h 234386"/>
                <a:gd name="connsiteX4" fmla="*/ 60323 w 227478"/>
                <a:gd name="connsiteY4" fmla="*/ 0 h 234386"/>
                <a:gd name="connsiteX5" fmla="*/ 114199 w 227478"/>
                <a:gd name="connsiteY5" fmla="*/ 170387 h 234386"/>
                <a:gd name="connsiteX6" fmla="*/ 115120 w 227478"/>
                <a:gd name="connsiteY6" fmla="*/ 170387 h 234386"/>
                <a:gd name="connsiteX7" fmla="*/ 168997 w 227478"/>
                <a:gd name="connsiteY7" fmla="*/ 0 h 234386"/>
                <a:gd name="connsiteX8" fmla="*/ 227478 w 227478"/>
                <a:gd name="connsiteY8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478" h="234386">
                  <a:moveTo>
                    <a:pt x="227478" y="0"/>
                  </a:moveTo>
                  <a:lnTo>
                    <a:pt x="142284" y="234386"/>
                  </a:lnTo>
                  <a:lnTo>
                    <a:pt x="85185" y="234386"/>
                  </a:lnTo>
                  <a:lnTo>
                    <a:pt x="0" y="0"/>
                  </a:lnTo>
                  <a:lnTo>
                    <a:pt x="60323" y="0"/>
                  </a:lnTo>
                  <a:lnTo>
                    <a:pt x="114199" y="170387"/>
                  </a:lnTo>
                  <a:lnTo>
                    <a:pt x="115120" y="170387"/>
                  </a:lnTo>
                  <a:lnTo>
                    <a:pt x="168997" y="0"/>
                  </a:lnTo>
                  <a:lnTo>
                    <a:pt x="227478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C6AB41A3-EE45-4F8B-8561-4F2BFDDA1013}"/>
                </a:ext>
              </a:extLst>
            </p:cNvPr>
            <p:cNvSpPr/>
            <p:nvPr/>
          </p:nvSpPr>
          <p:spPr>
            <a:xfrm>
              <a:off x="9429904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27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8 w 214130"/>
                <a:gd name="connsiteY10" fmla="*/ 101765 h 245899"/>
                <a:gd name="connsiteX11" fmla="*/ 161168 w 214130"/>
                <a:gd name="connsiteY11" fmla="*/ 101765 h 245899"/>
                <a:gd name="connsiteX12" fmla="*/ 109134 w 214130"/>
                <a:gd name="connsiteY12" fmla="*/ 45126 h 245899"/>
                <a:gd name="connsiteX13" fmla="*/ 5479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500" y="245900"/>
                    <a:pt x="0" y="196621"/>
                    <a:pt x="0" y="122489"/>
                  </a:cubicBezTo>
                  <a:cubicBezTo>
                    <a:pt x="0" y="49739"/>
                    <a:pt x="44666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27" y="141824"/>
                  </a:lnTo>
                  <a:cubicBezTo>
                    <a:pt x="61714" y="178208"/>
                    <a:pt x="83352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31" y="233465"/>
                    <a:pt x="151488" y="245900"/>
                    <a:pt x="116034" y="245900"/>
                  </a:cubicBezTo>
                  <a:close/>
                  <a:moveTo>
                    <a:pt x="54798" y="101765"/>
                  </a:moveTo>
                  <a:lnTo>
                    <a:pt x="161168" y="101765"/>
                  </a:lnTo>
                  <a:cubicBezTo>
                    <a:pt x="158873" y="65850"/>
                    <a:pt x="139990" y="45126"/>
                    <a:pt x="109134" y="45126"/>
                  </a:cubicBezTo>
                  <a:cubicBezTo>
                    <a:pt x="78738" y="45134"/>
                    <a:pt x="59394" y="65390"/>
                    <a:pt x="54798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3FC3A2DF-C2B1-4B25-B534-F5E1D59A3F0F}"/>
                </a:ext>
              </a:extLst>
            </p:cNvPr>
            <p:cNvSpPr/>
            <p:nvPr/>
          </p:nvSpPr>
          <p:spPr>
            <a:xfrm>
              <a:off x="9703872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94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7 w 141832"/>
                <a:gd name="connsiteY7" fmla="*/ 5979 h 240364"/>
                <a:gd name="connsiteX8" fmla="*/ 53877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793" y="56631"/>
                    <a:pt x="114669" y="53868"/>
                    <a:pt x="102694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7" y="5979"/>
                  </a:lnTo>
                  <a:lnTo>
                    <a:pt x="53877" y="35454"/>
                  </a:lnTo>
                  <a:lnTo>
                    <a:pt x="54798" y="35454"/>
                  </a:lnTo>
                  <a:cubicBezTo>
                    <a:pt x="67224" y="13348"/>
                    <a:pt x="89331" y="0"/>
                    <a:pt x="116042" y="0"/>
                  </a:cubicBezTo>
                  <a:cubicBezTo>
                    <a:pt x="123872" y="-8"/>
                    <a:pt x="133543" y="1373"/>
                    <a:pt x="141832" y="5058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E566DD13-4817-4C91-96FC-CBC0466BB0D8}"/>
                </a:ext>
              </a:extLst>
            </p:cNvPr>
            <p:cNvSpPr/>
            <p:nvPr/>
          </p:nvSpPr>
          <p:spPr>
            <a:xfrm>
              <a:off x="9871287" y="2039148"/>
              <a:ext cx="180510" cy="245891"/>
            </a:xfrm>
            <a:custGeom>
              <a:avLst/>
              <a:gdLst>
                <a:gd name="connsiteX0" fmla="*/ 26234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2 h 245891"/>
                <a:gd name="connsiteX11" fmla="*/ 0 w 180510"/>
                <a:gd name="connsiteY11" fmla="*/ 217337 h 245891"/>
                <a:gd name="connsiteX12" fmla="*/ 26234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4" y="174063"/>
                  </a:moveTo>
                  <a:cubicBezTo>
                    <a:pt x="49261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82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2"/>
                    <a:pt x="90251" y="245892"/>
                  </a:cubicBezTo>
                  <a:cubicBezTo>
                    <a:pt x="58941" y="245892"/>
                    <a:pt x="27172" y="236220"/>
                    <a:pt x="0" y="217337"/>
                  </a:cubicBezTo>
                  <a:lnTo>
                    <a:pt x="26234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821DC2DB-ABD3-4652-A841-4D1E6F29828B}"/>
                </a:ext>
              </a:extLst>
            </p:cNvPr>
            <p:cNvSpPr/>
            <p:nvPr/>
          </p:nvSpPr>
          <p:spPr>
            <a:xfrm>
              <a:off x="10103018" y="1941059"/>
              <a:ext cx="69535" cy="338461"/>
            </a:xfrm>
            <a:custGeom>
              <a:avLst/>
              <a:gdLst>
                <a:gd name="connsiteX0" fmla="*/ 69535 w 69535"/>
                <a:gd name="connsiteY0" fmla="*/ 33160 h 338461"/>
                <a:gd name="connsiteX1" fmla="*/ 34533 w 69535"/>
                <a:gd name="connsiteY1" fmla="*/ 66311 h 338461"/>
                <a:gd name="connsiteX2" fmla="*/ 0 w 69535"/>
                <a:gd name="connsiteY2" fmla="*/ 33160 h 338461"/>
                <a:gd name="connsiteX3" fmla="*/ 34533 w 69535"/>
                <a:gd name="connsiteY3" fmla="*/ 0 h 338461"/>
                <a:gd name="connsiteX4" fmla="*/ 69535 w 69535"/>
                <a:gd name="connsiteY4" fmla="*/ 33160 h 338461"/>
                <a:gd name="connsiteX5" fmla="*/ 62166 w 69535"/>
                <a:gd name="connsiteY5" fmla="*/ 338462 h 338461"/>
                <a:gd name="connsiteX6" fmla="*/ 7369 w 69535"/>
                <a:gd name="connsiteY6" fmla="*/ 338462 h 338461"/>
                <a:gd name="connsiteX7" fmla="*/ 7369 w 69535"/>
                <a:gd name="connsiteY7" fmla="*/ 104076 h 338461"/>
                <a:gd name="connsiteX8" fmla="*/ 62166 w 69535"/>
                <a:gd name="connsiteY8" fmla="*/ 104076 h 338461"/>
                <a:gd name="connsiteX9" fmla="*/ 62166 w 69535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5" h="338461">
                  <a:moveTo>
                    <a:pt x="69535" y="33160"/>
                  </a:moveTo>
                  <a:cubicBezTo>
                    <a:pt x="69535" y="52503"/>
                    <a:pt x="53877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7" y="0"/>
                    <a:pt x="69535" y="14277"/>
                    <a:pt x="69535" y="33160"/>
                  </a:cubicBezTo>
                  <a:close/>
                  <a:moveTo>
                    <a:pt x="62166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6" y="104076"/>
                  </a:lnTo>
                  <a:lnTo>
                    <a:pt x="62166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2A137A4D-DCD1-498A-9B30-BA8A264D1628}"/>
                </a:ext>
              </a:extLst>
            </p:cNvPr>
            <p:cNvSpPr/>
            <p:nvPr/>
          </p:nvSpPr>
          <p:spPr>
            <a:xfrm>
              <a:off x="10211675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67736D99-481F-43E1-A439-6D53814FD4AF}"/>
                </a:ext>
              </a:extLst>
            </p:cNvPr>
            <p:cNvSpPr/>
            <p:nvPr/>
          </p:nvSpPr>
          <p:spPr>
            <a:xfrm>
              <a:off x="10400449" y="1944744"/>
              <a:ext cx="198923" cy="340304"/>
            </a:xfrm>
            <a:custGeom>
              <a:avLst/>
              <a:gdLst>
                <a:gd name="connsiteX0" fmla="*/ 100835 w 198923"/>
                <a:gd name="connsiteY0" fmla="*/ 189261 h 340304"/>
                <a:gd name="connsiteX1" fmla="*/ 145040 w 198923"/>
                <a:gd name="connsiteY1" fmla="*/ 194327 h 340304"/>
                <a:gd name="connsiteX2" fmla="*/ 145040 w 198923"/>
                <a:gd name="connsiteY2" fmla="*/ 186037 h 340304"/>
                <a:gd name="connsiteX3" fmla="*/ 93466 w 198923"/>
                <a:gd name="connsiteY3" fmla="*/ 140451 h 340304"/>
                <a:gd name="connsiteX4" fmla="*/ 34064 w 198923"/>
                <a:gd name="connsiteY4" fmla="*/ 153807 h 340304"/>
                <a:gd name="connsiteX5" fmla="*/ 22090 w 198923"/>
                <a:gd name="connsiteY5" fmla="*/ 107760 h 340304"/>
                <a:gd name="connsiteX6" fmla="*/ 98993 w 198923"/>
                <a:gd name="connsiteY6" fmla="*/ 94404 h 340304"/>
                <a:gd name="connsiteX7" fmla="*/ 198924 w 198923"/>
                <a:gd name="connsiteY7" fmla="*/ 185116 h 340304"/>
                <a:gd name="connsiteX8" fmla="*/ 198924 w 198923"/>
                <a:gd name="connsiteY8" fmla="*/ 334778 h 340304"/>
                <a:gd name="connsiteX9" fmla="*/ 146882 w 198923"/>
                <a:gd name="connsiteY9" fmla="*/ 334778 h 340304"/>
                <a:gd name="connsiteX10" fmla="*/ 146882 w 198923"/>
                <a:gd name="connsiteY10" fmla="*/ 309908 h 340304"/>
                <a:gd name="connsiteX11" fmla="*/ 145969 w 198923"/>
                <a:gd name="connsiteY11" fmla="*/ 309908 h 340304"/>
                <a:gd name="connsiteX12" fmla="*/ 77356 w 198923"/>
                <a:gd name="connsiteY12" fmla="*/ 340304 h 340304"/>
                <a:gd name="connsiteX13" fmla="*/ 0 w 198923"/>
                <a:gd name="connsiteY13" fmla="*/ 265703 h 340304"/>
                <a:gd name="connsiteX14" fmla="*/ 100835 w 198923"/>
                <a:gd name="connsiteY14" fmla="*/ 189261 h 340304"/>
                <a:gd name="connsiteX15" fmla="*/ 56170 w 198923"/>
                <a:gd name="connsiteY15" fmla="*/ 64008 h 340304"/>
                <a:gd name="connsiteX16" fmla="*/ 23480 w 198923"/>
                <a:gd name="connsiteY16" fmla="*/ 32238 h 340304"/>
                <a:gd name="connsiteX17" fmla="*/ 56170 w 198923"/>
                <a:gd name="connsiteY17" fmla="*/ 0 h 340304"/>
                <a:gd name="connsiteX18" fmla="*/ 88861 w 198923"/>
                <a:gd name="connsiteY18" fmla="*/ 32238 h 340304"/>
                <a:gd name="connsiteX19" fmla="*/ 56170 w 198923"/>
                <a:gd name="connsiteY19" fmla="*/ 64008 h 340304"/>
                <a:gd name="connsiteX20" fmla="*/ 91624 w 198923"/>
                <a:gd name="connsiteY20" fmla="*/ 299324 h 340304"/>
                <a:gd name="connsiteX21" fmla="*/ 145040 w 198923"/>
                <a:gd name="connsiteY21" fmla="*/ 271238 h 340304"/>
                <a:gd name="connsiteX22" fmla="*/ 145040 w 198923"/>
                <a:gd name="connsiteY22" fmla="*/ 230250 h 340304"/>
                <a:gd name="connsiteX23" fmla="*/ 106823 w 198923"/>
                <a:gd name="connsiteY23" fmla="*/ 225644 h 340304"/>
                <a:gd name="connsiteX24" fmla="*/ 52486 w 198923"/>
                <a:gd name="connsiteY24" fmla="*/ 264322 h 340304"/>
                <a:gd name="connsiteX25" fmla="*/ 91624 w 198923"/>
                <a:gd name="connsiteY25" fmla="*/ 299324 h 340304"/>
                <a:gd name="connsiteX26" fmla="*/ 151948 w 198923"/>
                <a:gd name="connsiteY26" fmla="*/ 64008 h 340304"/>
                <a:gd name="connsiteX27" fmla="*/ 119258 w 198923"/>
                <a:gd name="connsiteY27" fmla="*/ 32238 h 340304"/>
                <a:gd name="connsiteX28" fmla="*/ 151948 w 198923"/>
                <a:gd name="connsiteY28" fmla="*/ 0 h 340304"/>
                <a:gd name="connsiteX29" fmla="*/ 184639 w 198923"/>
                <a:gd name="connsiteY29" fmla="*/ 32238 h 340304"/>
                <a:gd name="connsiteX30" fmla="*/ 151948 w 198923"/>
                <a:gd name="connsiteY30" fmla="*/ 64008 h 3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923" h="340304">
                  <a:moveTo>
                    <a:pt x="100835" y="189261"/>
                  </a:moveTo>
                  <a:cubicBezTo>
                    <a:pt x="116026" y="189261"/>
                    <a:pt x="129851" y="190182"/>
                    <a:pt x="145040" y="194327"/>
                  </a:cubicBezTo>
                  <a:lnTo>
                    <a:pt x="145040" y="186037"/>
                  </a:lnTo>
                  <a:cubicBezTo>
                    <a:pt x="145040" y="156109"/>
                    <a:pt x="127539" y="140451"/>
                    <a:pt x="93466" y="140451"/>
                  </a:cubicBezTo>
                  <a:cubicBezTo>
                    <a:pt x="74584" y="140451"/>
                    <a:pt x="53407" y="145056"/>
                    <a:pt x="34064" y="153807"/>
                  </a:cubicBezTo>
                  <a:lnTo>
                    <a:pt x="22090" y="107760"/>
                  </a:lnTo>
                  <a:cubicBezTo>
                    <a:pt x="43727" y="99470"/>
                    <a:pt x="72282" y="94404"/>
                    <a:pt x="98993" y="94404"/>
                  </a:cubicBezTo>
                  <a:cubicBezTo>
                    <a:pt x="164844" y="94404"/>
                    <a:pt x="198924" y="125261"/>
                    <a:pt x="198924" y="185116"/>
                  </a:cubicBezTo>
                  <a:lnTo>
                    <a:pt x="198924" y="334778"/>
                  </a:lnTo>
                  <a:lnTo>
                    <a:pt x="146882" y="334778"/>
                  </a:lnTo>
                  <a:lnTo>
                    <a:pt x="146882" y="309908"/>
                  </a:lnTo>
                  <a:lnTo>
                    <a:pt x="145969" y="309908"/>
                  </a:lnTo>
                  <a:cubicBezTo>
                    <a:pt x="125705" y="330633"/>
                    <a:pt x="104528" y="340304"/>
                    <a:pt x="77356" y="340304"/>
                  </a:cubicBezTo>
                  <a:cubicBezTo>
                    <a:pt x="30388" y="340304"/>
                    <a:pt x="0" y="311290"/>
                    <a:pt x="0" y="265703"/>
                  </a:cubicBezTo>
                  <a:cubicBezTo>
                    <a:pt x="-8" y="215973"/>
                    <a:pt x="35446" y="189261"/>
                    <a:pt x="100835" y="189261"/>
                  </a:cubicBezTo>
                  <a:close/>
                  <a:moveTo>
                    <a:pt x="56170" y="64008"/>
                  </a:moveTo>
                  <a:cubicBezTo>
                    <a:pt x="38670" y="64008"/>
                    <a:pt x="23480" y="49270"/>
                    <a:pt x="23480" y="32238"/>
                  </a:cubicBezTo>
                  <a:cubicBezTo>
                    <a:pt x="23480" y="15198"/>
                    <a:pt x="38670" y="0"/>
                    <a:pt x="56170" y="0"/>
                  </a:cubicBezTo>
                  <a:cubicBezTo>
                    <a:pt x="73671" y="0"/>
                    <a:pt x="88861" y="15190"/>
                    <a:pt x="88861" y="32238"/>
                  </a:cubicBezTo>
                  <a:cubicBezTo>
                    <a:pt x="88861" y="49270"/>
                    <a:pt x="73671" y="64008"/>
                    <a:pt x="56170" y="64008"/>
                  </a:cubicBezTo>
                  <a:close/>
                  <a:moveTo>
                    <a:pt x="91624" y="299324"/>
                  </a:moveTo>
                  <a:cubicBezTo>
                    <a:pt x="111420" y="299324"/>
                    <a:pt x="129841" y="289652"/>
                    <a:pt x="145040" y="271238"/>
                  </a:cubicBezTo>
                  <a:lnTo>
                    <a:pt x="145040" y="230250"/>
                  </a:lnTo>
                  <a:cubicBezTo>
                    <a:pt x="132144" y="227026"/>
                    <a:pt x="118789" y="225644"/>
                    <a:pt x="106823" y="225644"/>
                  </a:cubicBezTo>
                  <a:cubicBezTo>
                    <a:pt x="72290" y="225644"/>
                    <a:pt x="52486" y="239452"/>
                    <a:pt x="52486" y="264322"/>
                  </a:cubicBezTo>
                  <a:cubicBezTo>
                    <a:pt x="52477" y="285968"/>
                    <a:pt x="67684" y="299324"/>
                    <a:pt x="91624" y="299324"/>
                  </a:cubicBezTo>
                  <a:close/>
                  <a:moveTo>
                    <a:pt x="151948" y="64008"/>
                  </a:moveTo>
                  <a:cubicBezTo>
                    <a:pt x="134447" y="64008"/>
                    <a:pt x="119258" y="49270"/>
                    <a:pt x="119258" y="32238"/>
                  </a:cubicBezTo>
                  <a:cubicBezTo>
                    <a:pt x="119258" y="15198"/>
                    <a:pt x="134447" y="0"/>
                    <a:pt x="151948" y="0"/>
                  </a:cubicBezTo>
                  <a:cubicBezTo>
                    <a:pt x="169448" y="0"/>
                    <a:pt x="184639" y="15190"/>
                    <a:pt x="184639" y="32238"/>
                  </a:cubicBezTo>
                  <a:cubicBezTo>
                    <a:pt x="184647" y="49270"/>
                    <a:pt x="169448" y="64008"/>
                    <a:pt x="151948" y="64008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05A64505-32AC-4527-AEA0-AB1174EA690E}"/>
                </a:ext>
              </a:extLst>
            </p:cNvPr>
            <p:cNvSpPr/>
            <p:nvPr/>
          </p:nvSpPr>
          <p:spPr>
            <a:xfrm>
              <a:off x="10641954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67" y="264791"/>
                    <a:pt x="145977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C65FFDEA-1A26-4BE3-A84A-5A46C9E7B5FE}"/>
                </a:ext>
              </a:extLst>
            </p:cNvPr>
            <p:cNvSpPr/>
            <p:nvPr/>
          </p:nvSpPr>
          <p:spPr>
            <a:xfrm>
              <a:off x="4034676" y="2461949"/>
              <a:ext cx="203537" cy="324184"/>
            </a:xfrm>
            <a:custGeom>
              <a:avLst/>
              <a:gdLst>
                <a:gd name="connsiteX0" fmla="*/ 203538 w 203537"/>
                <a:gd name="connsiteY0" fmla="*/ 52955 h 324184"/>
                <a:gd name="connsiteX1" fmla="*/ 57561 w 203537"/>
                <a:gd name="connsiteY1" fmla="*/ 52955 h 324184"/>
                <a:gd name="connsiteX2" fmla="*/ 57561 w 203537"/>
                <a:gd name="connsiteY2" fmla="*/ 133543 h 324184"/>
                <a:gd name="connsiteX3" fmla="*/ 166694 w 203537"/>
                <a:gd name="connsiteY3" fmla="*/ 133543 h 324184"/>
                <a:gd name="connsiteX4" fmla="*/ 166694 w 203537"/>
                <a:gd name="connsiteY4" fmla="*/ 186037 h 324184"/>
                <a:gd name="connsiteX5" fmla="*/ 57561 w 203537"/>
                <a:gd name="connsiteY5" fmla="*/ 186037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55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55"/>
                  </a:moveTo>
                  <a:lnTo>
                    <a:pt x="57561" y="52955"/>
                  </a:lnTo>
                  <a:lnTo>
                    <a:pt x="57561" y="133543"/>
                  </a:lnTo>
                  <a:lnTo>
                    <a:pt x="166694" y="133543"/>
                  </a:lnTo>
                  <a:lnTo>
                    <a:pt x="166694" y="186037"/>
                  </a:lnTo>
                  <a:lnTo>
                    <a:pt x="57561" y="186037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5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CFC9BF65-D528-4810-BC56-4CD8988DC0C8}"/>
                </a:ext>
              </a:extLst>
            </p:cNvPr>
            <p:cNvSpPr/>
            <p:nvPr/>
          </p:nvSpPr>
          <p:spPr>
            <a:xfrm>
              <a:off x="4248564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94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5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7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52" y="132621"/>
                    <a:pt x="118796" y="131240"/>
                    <a:pt x="106822" y="131240"/>
                  </a:cubicBezTo>
                  <a:cubicBezTo>
                    <a:pt x="72289" y="131240"/>
                    <a:pt x="52494" y="145048"/>
                    <a:pt x="52494" y="169918"/>
                  </a:cubicBezTo>
                  <a:cubicBezTo>
                    <a:pt x="52494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BB62778A-CBC0-461E-B274-DB517F0546E3}"/>
                </a:ext>
              </a:extLst>
            </p:cNvPr>
            <p:cNvSpPr/>
            <p:nvPr/>
          </p:nvSpPr>
          <p:spPr>
            <a:xfrm>
              <a:off x="4504663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1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09" y="50191"/>
                  </a:cubicBezTo>
                  <a:cubicBezTo>
                    <a:pt x="78276" y="50191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71" y="196161"/>
                    <a:pt x="145509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48" name="Freihandform: Form 247">
              <a:extLst>
                <a:ext uri="{FF2B5EF4-FFF2-40B4-BE49-F238E27FC236}">
                  <a16:creationId xmlns:a16="http://schemas.microsoft.com/office/drawing/2014/main" id="{337ABDD6-BAFD-497D-BA4B-D32E663BBB93}"/>
                </a:ext>
              </a:extLst>
            </p:cNvPr>
            <p:cNvSpPr/>
            <p:nvPr/>
          </p:nvSpPr>
          <p:spPr>
            <a:xfrm>
              <a:off x="4749206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8 w 201695"/>
                <a:gd name="connsiteY10" fmla="*/ 136298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298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49" name="Freihandform: Form 248">
              <a:extLst>
                <a:ext uri="{FF2B5EF4-FFF2-40B4-BE49-F238E27FC236}">
                  <a16:creationId xmlns:a16="http://schemas.microsoft.com/office/drawing/2014/main" id="{F912D02F-D665-4FC7-ACBE-AFD64A4892B2}"/>
                </a:ext>
              </a:extLst>
            </p:cNvPr>
            <p:cNvSpPr/>
            <p:nvPr/>
          </p:nvSpPr>
          <p:spPr>
            <a:xfrm>
              <a:off x="5020788" y="2443535"/>
              <a:ext cx="218735" cy="348125"/>
            </a:xfrm>
            <a:custGeom>
              <a:avLst/>
              <a:gdLst>
                <a:gd name="connsiteX0" fmla="*/ 218736 w 218735"/>
                <a:gd name="connsiteY0" fmla="*/ 223785 h 348125"/>
                <a:gd name="connsiteX1" fmla="*/ 122959 w 218735"/>
                <a:gd name="connsiteY1" fmla="*/ 348125 h 348125"/>
                <a:gd name="connsiteX2" fmla="*/ 53424 w 218735"/>
                <a:gd name="connsiteY2" fmla="*/ 315434 h 348125"/>
                <a:gd name="connsiteX3" fmla="*/ 52503 w 218735"/>
                <a:gd name="connsiteY3" fmla="*/ 315434 h 348125"/>
                <a:gd name="connsiteX4" fmla="*/ 52503 w 218735"/>
                <a:gd name="connsiteY4" fmla="*/ 342599 h 348125"/>
                <a:gd name="connsiteX5" fmla="*/ 0 w 218735"/>
                <a:gd name="connsiteY5" fmla="*/ 342599 h 348125"/>
                <a:gd name="connsiteX6" fmla="*/ 0 w 218735"/>
                <a:gd name="connsiteY6" fmla="*/ 13808 h 348125"/>
                <a:gd name="connsiteX7" fmla="*/ 54806 w 218735"/>
                <a:gd name="connsiteY7" fmla="*/ 0 h 348125"/>
                <a:gd name="connsiteX8" fmla="*/ 54806 w 218735"/>
                <a:gd name="connsiteY8" fmla="*/ 135376 h 348125"/>
                <a:gd name="connsiteX9" fmla="*/ 55719 w 218735"/>
                <a:gd name="connsiteY9" fmla="*/ 135376 h 348125"/>
                <a:gd name="connsiteX10" fmla="*/ 124332 w 218735"/>
                <a:gd name="connsiteY10" fmla="*/ 102225 h 348125"/>
                <a:gd name="connsiteX11" fmla="*/ 218736 w 218735"/>
                <a:gd name="connsiteY11" fmla="*/ 223785 h 348125"/>
                <a:gd name="connsiteX12" fmla="*/ 164852 w 218735"/>
                <a:gd name="connsiteY12" fmla="*/ 225167 h 348125"/>
                <a:gd name="connsiteX13" fmla="*/ 110055 w 218735"/>
                <a:gd name="connsiteY13" fmla="*/ 151487 h 348125"/>
                <a:gd name="connsiteX14" fmla="*/ 54797 w 218735"/>
                <a:gd name="connsiteY14" fmla="*/ 181883 h 348125"/>
                <a:gd name="connsiteX15" fmla="*/ 54797 w 218735"/>
                <a:gd name="connsiteY15" fmla="*/ 267537 h 348125"/>
                <a:gd name="connsiteX16" fmla="*/ 110507 w 218735"/>
                <a:gd name="connsiteY16" fmla="*/ 299315 h 348125"/>
                <a:gd name="connsiteX17" fmla="*/ 164852 w 218735"/>
                <a:gd name="connsiteY17" fmla="*/ 225167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8735" h="348125">
                  <a:moveTo>
                    <a:pt x="218736" y="223785"/>
                  </a:moveTo>
                  <a:cubicBezTo>
                    <a:pt x="218736" y="299315"/>
                    <a:pt x="180519" y="348125"/>
                    <a:pt x="122959" y="348125"/>
                  </a:cubicBezTo>
                  <a:cubicBezTo>
                    <a:pt x="93483" y="348125"/>
                    <a:pt x="69074" y="335690"/>
                    <a:pt x="53424" y="315434"/>
                  </a:cubicBezTo>
                  <a:lnTo>
                    <a:pt x="52503" y="315434"/>
                  </a:lnTo>
                  <a:lnTo>
                    <a:pt x="52503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806" y="0"/>
                  </a:lnTo>
                  <a:lnTo>
                    <a:pt x="54806" y="135376"/>
                  </a:lnTo>
                  <a:lnTo>
                    <a:pt x="55719" y="135376"/>
                  </a:lnTo>
                  <a:cubicBezTo>
                    <a:pt x="71377" y="114652"/>
                    <a:pt x="95317" y="102225"/>
                    <a:pt x="124332" y="102225"/>
                  </a:cubicBezTo>
                  <a:cubicBezTo>
                    <a:pt x="180510" y="102217"/>
                    <a:pt x="218736" y="147803"/>
                    <a:pt x="218736" y="223785"/>
                  </a:cubicBezTo>
                  <a:close/>
                  <a:moveTo>
                    <a:pt x="164852" y="225167"/>
                  </a:moveTo>
                  <a:cubicBezTo>
                    <a:pt x="164852" y="176826"/>
                    <a:pt x="145056" y="151487"/>
                    <a:pt x="110055" y="151487"/>
                  </a:cubicBezTo>
                  <a:cubicBezTo>
                    <a:pt x="88878" y="151487"/>
                    <a:pt x="71838" y="160707"/>
                    <a:pt x="54797" y="181883"/>
                  </a:cubicBezTo>
                  <a:lnTo>
                    <a:pt x="54797" y="267537"/>
                  </a:lnTo>
                  <a:cubicBezTo>
                    <a:pt x="70448" y="288262"/>
                    <a:pt x="87949" y="299315"/>
                    <a:pt x="110507" y="299315"/>
                  </a:cubicBezTo>
                  <a:cubicBezTo>
                    <a:pt x="145969" y="299307"/>
                    <a:pt x="164852" y="272134"/>
                    <a:pt x="164852" y="225167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50" name="Freihandform: Form 249">
              <a:extLst>
                <a:ext uri="{FF2B5EF4-FFF2-40B4-BE49-F238E27FC236}">
                  <a16:creationId xmlns:a16="http://schemas.microsoft.com/office/drawing/2014/main" id="{ED3D0B6C-CF30-40F6-9994-049DE2F09E77}"/>
                </a:ext>
              </a:extLst>
            </p:cNvPr>
            <p:cNvSpPr/>
            <p:nvPr/>
          </p:nvSpPr>
          <p:spPr>
            <a:xfrm>
              <a:off x="5287630" y="2545752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806 w 214138"/>
                <a:gd name="connsiteY10" fmla="*/ 101765 h 245899"/>
                <a:gd name="connsiteX11" fmla="*/ 161176 w 214138"/>
                <a:gd name="connsiteY11" fmla="*/ 101765 h 245899"/>
                <a:gd name="connsiteX12" fmla="*/ 109134 w 214138"/>
                <a:gd name="connsiteY12" fmla="*/ 45125 h 245899"/>
                <a:gd name="connsiteX13" fmla="*/ 54806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7" y="198924"/>
                    <a:pt x="155658" y="190634"/>
                    <a:pt x="174079" y="171291"/>
                  </a:cubicBezTo>
                  <a:lnTo>
                    <a:pt x="208152" y="207214"/>
                  </a:lnTo>
                  <a:cubicBezTo>
                    <a:pt x="181440" y="233465"/>
                    <a:pt x="151504" y="245900"/>
                    <a:pt x="116042" y="245900"/>
                  </a:cubicBezTo>
                  <a:close/>
                  <a:moveTo>
                    <a:pt x="54806" y="101765"/>
                  </a:moveTo>
                  <a:lnTo>
                    <a:pt x="161176" y="101765"/>
                  </a:lnTo>
                  <a:cubicBezTo>
                    <a:pt x="158873" y="65850"/>
                    <a:pt x="139990" y="45125"/>
                    <a:pt x="109134" y="45125"/>
                  </a:cubicBezTo>
                  <a:cubicBezTo>
                    <a:pt x="78746" y="45134"/>
                    <a:pt x="59411" y="65390"/>
                    <a:pt x="54806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51" name="Freihandform: Form 250">
              <a:extLst>
                <a:ext uri="{FF2B5EF4-FFF2-40B4-BE49-F238E27FC236}">
                  <a16:creationId xmlns:a16="http://schemas.microsoft.com/office/drawing/2014/main" id="{2F102745-C89E-4457-AB2E-9882F7EDF638}"/>
                </a:ext>
              </a:extLst>
            </p:cNvPr>
            <p:cNvSpPr/>
            <p:nvPr/>
          </p:nvSpPr>
          <p:spPr>
            <a:xfrm>
              <a:off x="5561607" y="2545769"/>
              <a:ext cx="141832" cy="240365"/>
            </a:xfrm>
            <a:custGeom>
              <a:avLst/>
              <a:gdLst>
                <a:gd name="connsiteX0" fmla="*/ 141833 w 141832"/>
                <a:gd name="connsiteY0" fmla="*/ 5049 h 240365"/>
                <a:gd name="connsiteX1" fmla="*/ 133082 w 141832"/>
                <a:gd name="connsiteY1" fmla="*/ 61228 h 240365"/>
                <a:gd name="connsiteX2" fmla="*/ 102686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34 w 141832"/>
                <a:gd name="connsiteY10" fmla="*/ 0 h 240365"/>
                <a:gd name="connsiteX11" fmla="*/ 141833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3" y="5049"/>
                  </a:moveTo>
                  <a:lnTo>
                    <a:pt x="133082" y="61228"/>
                  </a:lnTo>
                  <a:cubicBezTo>
                    <a:pt x="124792" y="56623"/>
                    <a:pt x="114661" y="53859"/>
                    <a:pt x="102686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4" y="0"/>
                  </a:cubicBezTo>
                  <a:cubicBezTo>
                    <a:pt x="123879" y="-17"/>
                    <a:pt x="133543" y="1365"/>
                    <a:pt x="141833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52" name="Freihandform: Form 251">
              <a:extLst>
                <a:ext uri="{FF2B5EF4-FFF2-40B4-BE49-F238E27FC236}">
                  <a16:creationId xmlns:a16="http://schemas.microsoft.com/office/drawing/2014/main" id="{20B8CF65-3C7E-40C9-9359-73514BB8968F}"/>
                </a:ext>
              </a:extLst>
            </p:cNvPr>
            <p:cNvSpPr/>
            <p:nvPr/>
          </p:nvSpPr>
          <p:spPr>
            <a:xfrm>
              <a:off x="5733668" y="2545752"/>
              <a:ext cx="214138" cy="245899"/>
            </a:xfrm>
            <a:custGeom>
              <a:avLst/>
              <a:gdLst>
                <a:gd name="connsiteX0" fmla="*/ 116041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6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1 w 214138"/>
                <a:gd name="connsiteY8" fmla="*/ 207214 h 245899"/>
                <a:gd name="connsiteX9" fmla="*/ 116041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5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1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6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6" y="198924"/>
                    <a:pt x="155657" y="190634"/>
                    <a:pt x="174079" y="171291"/>
                  </a:cubicBezTo>
                  <a:lnTo>
                    <a:pt x="208151" y="207214"/>
                  </a:lnTo>
                  <a:cubicBezTo>
                    <a:pt x="181431" y="233465"/>
                    <a:pt x="151495" y="245900"/>
                    <a:pt x="116041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5"/>
                    <a:pt x="109125" y="45125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53" name="Freihandform: Form 252">
              <a:extLst>
                <a:ext uri="{FF2B5EF4-FFF2-40B4-BE49-F238E27FC236}">
                  <a16:creationId xmlns:a16="http://schemas.microsoft.com/office/drawing/2014/main" id="{C90F29F1-CEB1-4699-829E-DC7991CA70DB}"/>
                </a:ext>
              </a:extLst>
            </p:cNvPr>
            <p:cNvSpPr/>
            <p:nvPr/>
          </p:nvSpPr>
          <p:spPr>
            <a:xfrm>
              <a:off x="5999489" y="2447663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2DF19D42-3ABB-4580-B25F-F2837990BD84}"/>
                </a:ext>
              </a:extLst>
            </p:cNvPr>
            <p:cNvSpPr/>
            <p:nvPr/>
          </p:nvSpPr>
          <p:spPr>
            <a:xfrm>
              <a:off x="6120438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8 w 197542"/>
                <a:gd name="connsiteY5" fmla="*/ 75974 h 245899"/>
                <a:gd name="connsiteX6" fmla="*/ 112810 w 197542"/>
                <a:gd name="connsiteY6" fmla="*/ 50191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8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63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E5998662-7726-4AF1-B7A1-4A9F52203D33}"/>
                </a:ext>
              </a:extLst>
            </p:cNvPr>
            <p:cNvSpPr/>
            <p:nvPr/>
          </p:nvSpPr>
          <p:spPr>
            <a:xfrm>
              <a:off x="6364973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9 w 201695"/>
                <a:gd name="connsiteY10" fmla="*/ 136298 h 342598"/>
                <a:gd name="connsiteX11" fmla="*/ 124324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9" y="136298"/>
                  </a:lnTo>
                  <a:cubicBezTo>
                    <a:pt x="69074" y="115573"/>
                    <a:pt x="93483" y="102225"/>
                    <a:pt x="124324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56" name="Freihandform: Form 255">
              <a:extLst>
                <a:ext uri="{FF2B5EF4-FFF2-40B4-BE49-F238E27FC236}">
                  <a16:creationId xmlns:a16="http://schemas.microsoft.com/office/drawing/2014/main" id="{2C67B4C5-66E7-4334-907E-BD17FDCA901F}"/>
                </a:ext>
              </a:extLst>
            </p:cNvPr>
            <p:cNvSpPr/>
            <p:nvPr/>
          </p:nvSpPr>
          <p:spPr>
            <a:xfrm>
              <a:off x="6751826" y="2461940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9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2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9 w 398768"/>
                <a:gd name="connsiteY9" fmla="*/ 0 h 324184"/>
                <a:gd name="connsiteX10" fmla="*/ 317260 w 398768"/>
                <a:gd name="connsiteY10" fmla="*/ 324185 h 324184"/>
                <a:gd name="connsiteX11" fmla="*/ 257858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9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2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9" y="0"/>
                  </a:lnTo>
                  <a:lnTo>
                    <a:pt x="317260" y="324185"/>
                  </a:lnTo>
                  <a:lnTo>
                    <a:pt x="257858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D1D81AEF-2530-4F8A-A1BA-E124FBEB83E3}"/>
                </a:ext>
              </a:extLst>
            </p:cNvPr>
            <p:cNvSpPr/>
            <p:nvPr/>
          </p:nvSpPr>
          <p:spPr>
            <a:xfrm>
              <a:off x="7196759" y="2447663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58" name="Freihandform: Form 257">
              <a:extLst>
                <a:ext uri="{FF2B5EF4-FFF2-40B4-BE49-F238E27FC236}">
                  <a16:creationId xmlns:a16="http://schemas.microsoft.com/office/drawing/2014/main" id="{91616AB2-66B8-4121-A36D-D023DFC7F416}"/>
                </a:ext>
              </a:extLst>
            </p:cNvPr>
            <p:cNvSpPr/>
            <p:nvPr/>
          </p:nvSpPr>
          <p:spPr>
            <a:xfrm>
              <a:off x="7330586" y="2545769"/>
              <a:ext cx="141832" cy="240365"/>
            </a:xfrm>
            <a:custGeom>
              <a:avLst/>
              <a:gdLst>
                <a:gd name="connsiteX0" fmla="*/ 141832 w 141832"/>
                <a:gd name="connsiteY0" fmla="*/ 5049 h 240365"/>
                <a:gd name="connsiteX1" fmla="*/ 133082 w 141832"/>
                <a:gd name="connsiteY1" fmla="*/ 61228 h 240365"/>
                <a:gd name="connsiteX2" fmla="*/ 102694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41 w 141832"/>
                <a:gd name="connsiteY10" fmla="*/ 0 h 240365"/>
                <a:gd name="connsiteX11" fmla="*/ 141832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2" y="5049"/>
                  </a:moveTo>
                  <a:lnTo>
                    <a:pt x="133082" y="61228"/>
                  </a:lnTo>
                  <a:cubicBezTo>
                    <a:pt x="124792" y="56623"/>
                    <a:pt x="114668" y="53859"/>
                    <a:pt x="102694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3" y="13348"/>
                    <a:pt x="89330" y="0"/>
                    <a:pt x="116041" y="0"/>
                  </a:cubicBezTo>
                  <a:cubicBezTo>
                    <a:pt x="123871" y="-17"/>
                    <a:pt x="133543" y="1365"/>
                    <a:pt x="141832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59" name="Freihandform: Form 258">
              <a:extLst>
                <a:ext uri="{FF2B5EF4-FFF2-40B4-BE49-F238E27FC236}">
                  <a16:creationId xmlns:a16="http://schemas.microsoft.com/office/drawing/2014/main" id="{CF224488-73D5-498B-8A6F-E508395322D3}"/>
                </a:ext>
              </a:extLst>
            </p:cNvPr>
            <p:cNvSpPr/>
            <p:nvPr/>
          </p:nvSpPr>
          <p:spPr>
            <a:xfrm>
              <a:off x="7506323" y="2475749"/>
              <a:ext cx="145977" cy="315903"/>
            </a:xfrm>
            <a:custGeom>
              <a:avLst/>
              <a:gdLst>
                <a:gd name="connsiteX0" fmla="*/ 145978 w 145977"/>
                <a:gd name="connsiteY0" fmla="*/ 260185 h 315903"/>
                <a:gd name="connsiteX1" fmla="*/ 145978 w 145977"/>
                <a:gd name="connsiteY1" fmla="*/ 307153 h 315903"/>
                <a:gd name="connsiteX2" fmla="*/ 99923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2 w 145977"/>
                <a:gd name="connsiteY15" fmla="*/ 268006 h 315903"/>
                <a:gd name="connsiteX16" fmla="*/ 145978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3" y="312680"/>
                    <a:pt x="116041" y="315903"/>
                    <a:pt x="99923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20" y="268006"/>
                    <a:pt x="115572" y="268006"/>
                  </a:cubicBezTo>
                  <a:cubicBezTo>
                    <a:pt x="125721" y="268015"/>
                    <a:pt x="136766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60" name="Freihandform: Form 259">
              <a:extLst>
                <a:ext uri="{FF2B5EF4-FFF2-40B4-BE49-F238E27FC236}">
                  <a16:creationId xmlns:a16="http://schemas.microsoft.com/office/drawing/2014/main" id="{3AE46D25-9359-4619-8055-B59B12C4E131}"/>
                </a:ext>
              </a:extLst>
            </p:cNvPr>
            <p:cNvSpPr/>
            <p:nvPr/>
          </p:nvSpPr>
          <p:spPr>
            <a:xfrm>
              <a:off x="7691154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3" y="53415"/>
                    <a:pt x="115121" y="46499"/>
                    <a:pt x="97159" y="46499"/>
                  </a:cubicBezTo>
                  <a:cubicBezTo>
                    <a:pt x="76896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06F838B5-38CC-47DF-BFBC-AF849845BCE1}"/>
                </a:ext>
              </a:extLst>
            </p:cNvPr>
            <p:cNvSpPr/>
            <p:nvPr/>
          </p:nvSpPr>
          <p:spPr>
            <a:xfrm>
              <a:off x="7916480" y="2545760"/>
              <a:ext cx="197541" cy="245899"/>
            </a:xfrm>
            <a:custGeom>
              <a:avLst/>
              <a:gdLst>
                <a:gd name="connsiteX0" fmla="*/ 196169 w 197541"/>
                <a:gd name="connsiteY0" fmla="*/ 208135 h 245899"/>
                <a:gd name="connsiteX1" fmla="*/ 112357 w 197541"/>
                <a:gd name="connsiteY1" fmla="*/ 245900 h 245899"/>
                <a:gd name="connsiteX2" fmla="*/ 0 w 197541"/>
                <a:gd name="connsiteY2" fmla="*/ 123871 h 245899"/>
                <a:gd name="connsiteX3" fmla="*/ 113278 w 197541"/>
                <a:gd name="connsiteY3" fmla="*/ 0 h 245899"/>
                <a:gd name="connsiteX4" fmla="*/ 197542 w 197541"/>
                <a:gd name="connsiteY4" fmla="*/ 40059 h 245899"/>
                <a:gd name="connsiteX5" fmla="*/ 159777 w 197541"/>
                <a:gd name="connsiteY5" fmla="*/ 75974 h 245899"/>
                <a:gd name="connsiteX6" fmla="*/ 112810 w 197541"/>
                <a:gd name="connsiteY6" fmla="*/ 50191 h 245899"/>
                <a:gd name="connsiteX7" fmla="*/ 54788 w 197541"/>
                <a:gd name="connsiteY7" fmla="*/ 122942 h 245899"/>
                <a:gd name="connsiteX8" fmla="*/ 112349 w 197541"/>
                <a:gd name="connsiteY8" fmla="*/ 196161 h 245899"/>
                <a:gd name="connsiteX9" fmla="*/ 160699 w 197541"/>
                <a:gd name="connsiteY9" fmla="*/ 170370 h 245899"/>
                <a:gd name="connsiteX10" fmla="*/ 196169 w 197541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1" h="245899">
                  <a:moveTo>
                    <a:pt x="196169" y="208135"/>
                  </a:moveTo>
                  <a:cubicBezTo>
                    <a:pt x="172680" y="233926"/>
                    <a:pt x="145977" y="245900"/>
                    <a:pt x="112357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8" y="78737"/>
                    <a:pt x="54788" y="122942"/>
                  </a:cubicBezTo>
                  <a:cubicBezTo>
                    <a:pt x="54788" y="166694"/>
                    <a:pt x="78277" y="196161"/>
                    <a:pt x="112349" y="196161"/>
                  </a:cubicBezTo>
                  <a:cubicBezTo>
                    <a:pt x="130762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EFD7FED8-140E-49CE-846B-FEC793083645}"/>
                </a:ext>
              </a:extLst>
            </p:cNvPr>
            <p:cNvSpPr/>
            <p:nvPr/>
          </p:nvSpPr>
          <p:spPr>
            <a:xfrm>
              <a:off x="8161024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8 w 201695"/>
                <a:gd name="connsiteY1" fmla="*/ 342590 h 342598"/>
                <a:gd name="connsiteX2" fmla="*/ 146898 w 201695"/>
                <a:gd name="connsiteY2" fmla="*/ 208587 h 342598"/>
                <a:gd name="connsiteX3" fmla="*/ 103607 w 201695"/>
                <a:gd name="connsiteY3" fmla="*/ 151487 h 342598"/>
                <a:gd name="connsiteX4" fmla="*/ 54798 w 201695"/>
                <a:gd name="connsiteY4" fmla="*/ 208135 h 342598"/>
                <a:gd name="connsiteX5" fmla="*/ 54798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8 w 201695"/>
                <a:gd name="connsiteY8" fmla="*/ 0 h 342598"/>
                <a:gd name="connsiteX9" fmla="*/ 54798 w 201695"/>
                <a:gd name="connsiteY9" fmla="*/ 136298 h 342598"/>
                <a:gd name="connsiteX10" fmla="*/ 55719 w 201695"/>
                <a:gd name="connsiteY10" fmla="*/ 136298 h 342598"/>
                <a:gd name="connsiteX11" fmla="*/ 124332 w 201695"/>
                <a:gd name="connsiteY11" fmla="*/ 102225 h 342598"/>
                <a:gd name="connsiteX12" fmla="*/ 201688 w 201695"/>
                <a:gd name="connsiteY12" fmla="*/ 197082 h 342598"/>
                <a:gd name="connsiteX13" fmla="*/ 201688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306" y="151487"/>
                    <a:pt x="103607" y="151487"/>
                  </a:cubicBezTo>
                  <a:cubicBezTo>
                    <a:pt x="65850" y="151487"/>
                    <a:pt x="54798" y="181423"/>
                    <a:pt x="54798" y="208135"/>
                  </a:cubicBezTo>
                  <a:lnTo>
                    <a:pt x="54798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8" y="0"/>
                  </a:lnTo>
                  <a:lnTo>
                    <a:pt x="54798" y="136298"/>
                  </a:lnTo>
                  <a:lnTo>
                    <a:pt x="55719" y="136298"/>
                  </a:lnTo>
                  <a:cubicBezTo>
                    <a:pt x="69074" y="115573"/>
                    <a:pt x="93484" y="102225"/>
                    <a:pt x="124332" y="102225"/>
                  </a:cubicBezTo>
                  <a:cubicBezTo>
                    <a:pt x="178660" y="102225"/>
                    <a:pt x="201688" y="142745"/>
                    <a:pt x="201688" y="197082"/>
                  </a:cubicBezTo>
                  <a:lnTo>
                    <a:pt x="201688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A901D558-23E5-4464-8A3C-15F371E6872B}"/>
                </a:ext>
              </a:extLst>
            </p:cNvPr>
            <p:cNvSpPr/>
            <p:nvPr/>
          </p:nvSpPr>
          <p:spPr>
            <a:xfrm>
              <a:off x="8416729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40 w 198923"/>
                <a:gd name="connsiteY1" fmla="*/ 99922 h 245899"/>
                <a:gd name="connsiteX2" fmla="*/ 145040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6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495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26" y="94856"/>
                    <a:pt x="129851" y="95778"/>
                    <a:pt x="145040" y="99922"/>
                  </a:cubicBezTo>
                  <a:lnTo>
                    <a:pt x="145040" y="91633"/>
                  </a:lnTo>
                  <a:cubicBezTo>
                    <a:pt x="145040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2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28" y="204919"/>
                    <a:pt x="129851" y="195248"/>
                    <a:pt x="145048" y="176834"/>
                  </a:cubicBezTo>
                  <a:lnTo>
                    <a:pt x="145048" y="135845"/>
                  </a:lnTo>
                  <a:cubicBezTo>
                    <a:pt x="132152" y="132621"/>
                    <a:pt x="118797" y="131240"/>
                    <a:pt x="106831" y="131240"/>
                  </a:cubicBezTo>
                  <a:cubicBezTo>
                    <a:pt x="72298" y="131240"/>
                    <a:pt x="52495" y="145048"/>
                    <a:pt x="52495" y="169918"/>
                  </a:cubicBezTo>
                  <a:cubicBezTo>
                    <a:pt x="52486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64" name="Freihandform: Form 263">
              <a:extLst>
                <a:ext uri="{FF2B5EF4-FFF2-40B4-BE49-F238E27FC236}">
                  <a16:creationId xmlns:a16="http://schemas.microsoft.com/office/drawing/2014/main" id="{1707B2C4-8F71-403B-9E15-A9883B7C2A1C}"/>
                </a:ext>
              </a:extLst>
            </p:cNvPr>
            <p:cNvSpPr/>
            <p:nvPr/>
          </p:nvSpPr>
          <p:spPr>
            <a:xfrm>
              <a:off x="8659530" y="2440295"/>
              <a:ext cx="143667" cy="345830"/>
            </a:xfrm>
            <a:custGeom>
              <a:avLst/>
              <a:gdLst>
                <a:gd name="connsiteX0" fmla="*/ 143667 w 143667"/>
                <a:gd name="connsiteY0" fmla="*/ 51582 h 345830"/>
                <a:gd name="connsiteX1" fmla="*/ 119727 w 143667"/>
                <a:gd name="connsiteY1" fmla="*/ 46976 h 345830"/>
                <a:gd name="connsiteX2" fmla="*/ 90712 w 143667"/>
                <a:gd name="connsiteY2" fmla="*/ 79667 h 345830"/>
                <a:gd name="connsiteX3" fmla="*/ 90712 w 143667"/>
                <a:gd name="connsiteY3" fmla="*/ 111445 h 345830"/>
                <a:gd name="connsiteX4" fmla="*/ 137228 w 143667"/>
                <a:gd name="connsiteY4" fmla="*/ 111445 h 345830"/>
                <a:gd name="connsiteX5" fmla="*/ 137228 w 143667"/>
                <a:gd name="connsiteY5" fmla="*/ 157031 h 345830"/>
                <a:gd name="connsiteX6" fmla="*/ 91173 w 143667"/>
                <a:gd name="connsiteY6" fmla="*/ 157031 h 345830"/>
                <a:gd name="connsiteX7" fmla="*/ 91173 w 143667"/>
                <a:gd name="connsiteY7" fmla="*/ 345831 h 345830"/>
                <a:gd name="connsiteX8" fmla="*/ 36375 w 143667"/>
                <a:gd name="connsiteY8" fmla="*/ 345831 h 345830"/>
                <a:gd name="connsiteX9" fmla="*/ 36375 w 143667"/>
                <a:gd name="connsiteY9" fmla="*/ 157031 h 345830"/>
                <a:gd name="connsiteX10" fmla="*/ 0 w 143667"/>
                <a:gd name="connsiteY10" fmla="*/ 157031 h 345830"/>
                <a:gd name="connsiteX11" fmla="*/ 0 w 143667"/>
                <a:gd name="connsiteY11" fmla="*/ 111445 h 345830"/>
                <a:gd name="connsiteX12" fmla="*/ 36375 w 143667"/>
                <a:gd name="connsiteY12" fmla="*/ 111445 h 345830"/>
                <a:gd name="connsiteX13" fmla="*/ 36375 w 143667"/>
                <a:gd name="connsiteY13" fmla="*/ 77824 h 345830"/>
                <a:gd name="connsiteX14" fmla="*/ 110976 w 143667"/>
                <a:gd name="connsiteY14" fmla="*/ 0 h 345830"/>
                <a:gd name="connsiteX15" fmla="*/ 143667 w 143667"/>
                <a:gd name="connsiteY15" fmla="*/ 5066 h 345830"/>
                <a:gd name="connsiteX16" fmla="*/ 143667 w 143667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67" h="345830">
                  <a:moveTo>
                    <a:pt x="143667" y="51582"/>
                  </a:moveTo>
                  <a:cubicBezTo>
                    <a:pt x="136298" y="48358"/>
                    <a:pt x="127548" y="46976"/>
                    <a:pt x="119727" y="46976"/>
                  </a:cubicBezTo>
                  <a:cubicBezTo>
                    <a:pt x="99001" y="46976"/>
                    <a:pt x="90712" y="57569"/>
                    <a:pt x="90712" y="79667"/>
                  </a:cubicBezTo>
                  <a:lnTo>
                    <a:pt x="90712" y="111445"/>
                  </a:lnTo>
                  <a:lnTo>
                    <a:pt x="137228" y="111445"/>
                  </a:lnTo>
                  <a:lnTo>
                    <a:pt x="137228" y="157031"/>
                  </a:lnTo>
                  <a:lnTo>
                    <a:pt x="91173" y="157031"/>
                  </a:lnTo>
                  <a:lnTo>
                    <a:pt x="91173" y="345831"/>
                  </a:lnTo>
                  <a:lnTo>
                    <a:pt x="36375" y="345831"/>
                  </a:lnTo>
                  <a:lnTo>
                    <a:pt x="36375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75" y="111445"/>
                  </a:lnTo>
                  <a:lnTo>
                    <a:pt x="36375" y="77824"/>
                  </a:lnTo>
                  <a:cubicBezTo>
                    <a:pt x="36375" y="29015"/>
                    <a:pt x="58481" y="0"/>
                    <a:pt x="110976" y="0"/>
                  </a:cubicBezTo>
                  <a:cubicBezTo>
                    <a:pt x="122951" y="0"/>
                    <a:pt x="134465" y="1382"/>
                    <a:pt x="143667" y="5066"/>
                  </a:cubicBezTo>
                  <a:lnTo>
                    <a:pt x="143667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65" name="Freihandform: Form 264">
              <a:extLst>
                <a:ext uri="{FF2B5EF4-FFF2-40B4-BE49-F238E27FC236}">
                  <a16:creationId xmlns:a16="http://schemas.microsoft.com/office/drawing/2014/main" id="{3A870182-1564-41CE-9E37-9ABD1DE9A6E3}"/>
                </a:ext>
              </a:extLst>
            </p:cNvPr>
            <p:cNvSpPr/>
            <p:nvPr/>
          </p:nvSpPr>
          <p:spPr>
            <a:xfrm>
              <a:off x="8832370" y="2475749"/>
              <a:ext cx="145978" cy="315903"/>
            </a:xfrm>
            <a:custGeom>
              <a:avLst/>
              <a:gdLst>
                <a:gd name="connsiteX0" fmla="*/ 145978 w 145978"/>
                <a:gd name="connsiteY0" fmla="*/ 260185 h 315903"/>
                <a:gd name="connsiteX1" fmla="*/ 145978 w 145978"/>
                <a:gd name="connsiteY1" fmla="*/ 307153 h 315903"/>
                <a:gd name="connsiteX2" fmla="*/ 99923 w 145978"/>
                <a:gd name="connsiteY2" fmla="*/ 315903 h 315903"/>
                <a:gd name="connsiteX3" fmla="*/ 35915 w 145978"/>
                <a:gd name="connsiteY3" fmla="*/ 250053 h 315903"/>
                <a:gd name="connsiteX4" fmla="*/ 35915 w 145978"/>
                <a:gd name="connsiteY4" fmla="*/ 121577 h 315903"/>
                <a:gd name="connsiteX5" fmla="*/ 0 w 145978"/>
                <a:gd name="connsiteY5" fmla="*/ 121577 h 315903"/>
                <a:gd name="connsiteX6" fmla="*/ 0 w 145978"/>
                <a:gd name="connsiteY6" fmla="*/ 75991 h 315903"/>
                <a:gd name="connsiteX7" fmla="*/ 35454 w 145978"/>
                <a:gd name="connsiteY7" fmla="*/ 75991 h 315903"/>
                <a:gd name="connsiteX8" fmla="*/ 35454 w 145978"/>
                <a:gd name="connsiteY8" fmla="*/ 11983 h 315903"/>
                <a:gd name="connsiteX9" fmla="*/ 90252 w 145978"/>
                <a:gd name="connsiteY9" fmla="*/ 0 h 315903"/>
                <a:gd name="connsiteX10" fmla="*/ 90252 w 145978"/>
                <a:gd name="connsiteY10" fmla="*/ 75982 h 315903"/>
                <a:gd name="connsiteX11" fmla="*/ 145969 w 145978"/>
                <a:gd name="connsiteY11" fmla="*/ 75982 h 315903"/>
                <a:gd name="connsiteX12" fmla="*/ 145969 w 145978"/>
                <a:gd name="connsiteY12" fmla="*/ 121568 h 315903"/>
                <a:gd name="connsiteX13" fmla="*/ 90252 w 145978"/>
                <a:gd name="connsiteY13" fmla="*/ 121568 h 315903"/>
                <a:gd name="connsiteX14" fmla="*/ 90252 w 145978"/>
                <a:gd name="connsiteY14" fmla="*/ 237149 h 315903"/>
                <a:gd name="connsiteX15" fmla="*/ 115573 w 145978"/>
                <a:gd name="connsiteY15" fmla="*/ 268006 h 315903"/>
                <a:gd name="connsiteX16" fmla="*/ 145978 w 145978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8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4" y="312680"/>
                    <a:pt x="116042" y="315903"/>
                    <a:pt x="99923" y="315903"/>
                  </a:cubicBezTo>
                  <a:cubicBezTo>
                    <a:pt x="58481" y="315903"/>
                    <a:pt x="35915" y="292876"/>
                    <a:pt x="35915" y="250053"/>
                  </a:cubicBezTo>
                  <a:lnTo>
                    <a:pt x="35915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2" y="0"/>
                  </a:lnTo>
                  <a:lnTo>
                    <a:pt x="90252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2" y="121568"/>
                  </a:lnTo>
                  <a:lnTo>
                    <a:pt x="90252" y="237149"/>
                  </a:lnTo>
                  <a:cubicBezTo>
                    <a:pt x="90252" y="258795"/>
                    <a:pt x="97620" y="268006"/>
                    <a:pt x="115573" y="268006"/>
                  </a:cubicBezTo>
                  <a:cubicBezTo>
                    <a:pt x="125714" y="268015"/>
                    <a:pt x="136758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66" name="Freihandform: Form 265">
              <a:extLst>
                <a:ext uri="{FF2B5EF4-FFF2-40B4-BE49-F238E27FC236}">
                  <a16:creationId xmlns:a16="http://schemas.microsoft.com/office/drawing/2014/main" id="{59DBD287-68CC-4F3F-90AB-A995B27E5A9B}"/>
                </a:ext>
              </a:extLst>
            </p:cNvPr>
            <p:cNvSpPr/>
            <p:nvPr/>
          </p:nvSpPr>
          <p:spPr>
            <a:xfrm>
              <a:off x="9017185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67" name="Freihandform: Form 266">
              <a:extLst>
                <a:ext uri="{FF2B5EF4-FFF2-40B4-BE49-F238E27FC236}">
                  <a16:creationId xmlns:a16="http://schemas.microsoft.com/office/drawing/2014/main" id="{B6287DF6-CA02-4DE1-AD71-4BF62EBE6396}"/>
                </a:ext>
              </a:extLst>
            </p:cNvPr>
            <p:cNvSpPr/>
            <p:nvPr/>
          </p:nvSpPr>
          <p:spPr>
            <a:xfrm>
              <a:off x="9240728" y="2616208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68" name="Freihandform: Form 267">
              <a:extLst>
                <a:ext uri="{FF2B5EF4-FFF2-40B4-BE49-F238E27FC236}">
                  <a16:creationId xmlns:a16="http://schemas.microsoft.com/office/drawing/2014/main" id="{A455995B-FF19-4248-94F5-EA453F5182BC}"/>
                </a:ext>
              </a:extLst>
            </p:cNvPr>
            <p:cNvSpPr/>
            <p:nvPr/>
          </p:nvSpPr>
          <p:spPr>
            <a:xfrm>
              <a:off x="9550208" y="2551739"/>
              <a:ext cx="201686" cy="239921"/>
            </a:xfrm>
            <a:custGeom>
              <a:avLst/>
              <a:gdLst>
                <a:gd name="connsiteX0" fmla="*/ 54797 w 201686"/>
                <a:gd name="connsiteY0" fmla="*/ 140911 h 239921"/>
                <a:gd name="connsiteX1" fmla="*/ 101304 w 201686"/>
                <a:gd name="connsiteY1" fmla="*/ 190182 h 239921"/>
                <a:gd name="connsiteX2" fmla="*/ 146890 w 201686"/>
                <a:gd name="connsiteY2" fmla="*/ 140451 h 239921"/>
                <a:gd name="connsiteX3" fmla="*/ 146890 w 201686"/>
                <a:gd name="connsiteY3" fmla="*/ 8 h 239921"/>
                <a:gd name="connsiteX4" fmla="*/ 201687 w 201686"/>
                <a:gd name="connsiteY4" fmla="*/ 8 h 239921"/>
                <a:gd name="connsiteX5" fmla="*/ 201687 w 201686"/>
                <a:gd name="connsiteY5" fmla="*/ 142301 h 239921"/>
                <a:gd name="connsiteX6" fmla="*/ 102685 w 201686"/>
                <a:gd name="connsiteY6" fmla="*/ 239921 h 239921"/>
                <a:gd name="connsiteX7" fmla="*/ 0 w 201686"/>
                <a:gd name="connsiteY7" fmla="*/ 142754 h 239921"/>
                <a:gd name="connsiteX8" fmla="*/ 0 w 201686"/>
                <a:gd name="connsiteY8" fmla="*/ 0 h 239921"/>
                <a:gd name="connsiteX9" fmla="*/ 54797 w 201686"/>
                <a:gd name="connsiteY9" fmla="*/ 0 h 239921"/>
                <a:gd name="connsiteX10" fmla="*/ 54797 w 201686"/>
                <a:gd name="connsiteY10" fmla="*/ 140911 h 23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1686" h="239921">
                  <a:moveTo>
                    <a:pt x="54797" y="140911"/>
                  </a:moveTo>
                  <a:cubicBezTo>
                    <a:pt x="54797" y="173141"/>
                    <a:pt x="70916" y="190182"/>
                    <a:pt x="101304" y="190182"/>
                  </a:cubicBezTo>
                  <a:cubicBezTo>
                    <a:pt x="131240" y="190182"/>
                    <a:pt x="146890" y="173610"/>
                    <a:pt x="146890" y="140451"/>
                  </a:cubicBezTo>
                  <a:lnTo>
                    <a:pt x="146890" y="8"/>
                  </a:lnTo>
                  <a:lnTo>
                    <a:pt x="201687" y="8"/>
                  </a:lnTo>
                  <a:lnTo>
                    <a:pt x="201687" y="142301"/>
                  </a:lnTo>
                  <a:cubicBezTo>
                    <a:pt x="201687" y="203998"/>
                    <a:pt x="167155" y="239921"/>
                    <a:pt x="102685" y="239921"/>
                  </a:cubicBezTo>
                  <a:cubicBezTo>
                    <a:pt x="38678" y="239921"/>
                    <a:pt x="0" y="203998"/>
                    <a:pt x="0" y="142754"/>
                  </a:cubicBezTo>
                  <a:lnTo>
                    <a:pt x="0" y="0"/>
                  </a:lnTo>
                  <a:lnTo>
                    <a:pt x="54797" y="0"/>
                  </a:lnTo>
                  <a:lnTo>
                    <a:pt x="54797" y="14091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69" name="Freihandform: Form 268">
              <a:extLst>
                <a:ext uri="{FF2B5EF4-FFF2-40B4-BE49-F238E27FC236}">
                  <a16:creationId xmlns:a16="http://schemas.microsoft.com/office/drawing/2014/main" id="{2A24E77D-343F-423D-A124-23142B96164A}"/>
                </a:ext>
              </a:extLst>
            </p:cNvPr>
            <p:cNvSpPr/>
            <p:nvPr/>
          </p:nvSpPr>
          <p:spPr>
            <a:xfrm>
              <a:off x="9821371" y="2545760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89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70" name="Freihandform: Form 269">
              <a:extLst>
                <a:ext uri="{FF2B5EF4-FFF2-40B4-BE49-F238E27FC236}">
                  <a16:creationId xmlns:a16="http://schemas.microsoft.com/office/drawing/2014/main" id="{83AE92AB-068D-4D77-910A-C243DEA3B7D8}"/>
                </a:ext>
              </a:extLst>
            </p:cNvPr>
            <p:cNvSpPr/>
            <p:nvPr/>
          </p:nvSpPr>
          <p:spPr>
            <a:xfrm>
              <a:off x="10081021" y="2443527"/>
              <a:ext cx="219196" cy="348125"/>
            </a:xfrm>
            <a:custGeom>
              <a:avLst/>
              <a:gdLst>
                <a:gd name="connsiteX0" fmla="*/ 0 w 219196"/>
                <a:gd name="connsiteY0" fmla="*/ 224715 h 348125"/>
                <a:gd name="connsiteX1" fmla="*/ 95326 w 219196"/>
                <a:gd name="connsiteY1" fmla="*/ 102225 h 348125"/>
                <a:gd name="connsiteX2" fmla="*/ 163478 w 219196"/>
                <a:gd name="connsiteY2" fmla="*/ 133995 h 348125"/>
                <a:gd name="connsiteX3" fmla="*/ 164399 w 219196"/>
                <a:gd name="connsiteY3" fmla="*/ 133995 h 348125"/>
                <a:gd name="connsiteX4" fmla="*/ 164399 w 219196"/>
                <a:gd name="connsiteY4" fmla="*/ 13808 h 348125"/>
                <a:gd name="connsiteX5" fmla="*/ 219196 w 219196"/>
                <a:gd name="connsiteY5" fmla="*/ 0 h 348125"/>
                <a:gd name="connsiteX6" fmla="*/ 219196 w 219196"/>
                <a:gd name="connsiteY6" fmla="*/ 342598 h 348125"/>
                <a:gd name="connsiteX7" fmla="*/ 165781 w 219196"/>
                <a:gd name="connsiteY7" fmla="*/ 342598 h 348125"/>
                <a:gd name="connsiteX8" fmla="*/ 165781 w 219196"/>
                <a:gd name="connsiteY8" fmla="*/ 314965 h 348125"/>
                <a:gd name="connsiteX9" fmla="*/ 164860 w 219196"/>
                <a:gd name="connsiteY9" fmla="*/ 314965 h 348125"/>
                <a:gd name="connsiteX10" fmla="*/ 94405 w 219196"/>
                <a:gd name="connsiteY10" fmla="*/ 348125 h 348125"/>
                <a:gd name="connsiteX11" fmla="*/ 0 w 219196"/>
                <a:gd name="connsiteY11" fmla="*/ 224715 h 348125"/>
                <a:gd name="connsiteX12" fmla="*/ 54345 w 219196"/>
                <a:gd name="connsiteY12" fmla="*/ 224715 h 348125"/>
                <a:gd name="connsiteX13" fmla="*/ 108681 w 219196"/>
                <a:gd name="connsiteY13" fmla="*/ 299776 h 348125"/>
                <a:gd name="connsiteX14" fmla="*/ 164399 w 219196"/>
                <a:gd name="connsiteY14" fmla="*/ 268919 h 348125"/>
                <a:gd name="connsiteX15" fmla="*/ 164399 w 219196"/>
                <a:gd name="connsiteY15" fmla="*/ 183265 h 348125"/>
                <a:gd name="connsiteX16" fmla="*/ 108681 w 219196"/>
                <a:gd name="connsiteY16" fmla="*/ 151956 h 348125"/>
                <a:gd name="connsiteX17" fmla="*/ 54345 w 219196"/>
                <a:gd name="connsiteY17" fmla="*/ 224715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6" h="348125">
                  <a:moveTo>
                    <a:pt x="0" y="224715"/>
                  </a:moveTo>
                  <a:cubicBezTo>
                    <a:pt x="0" y="149193"/>
                    <a:pt x="38217" y="102225"/>
                    <a:pt x="95326" y="102225"/>
                  </a:cubicBezTo>
                  <a:cubicBezTo>
                    <a:pt x="124801" y="102225"/>
                    <a:pt x="147828" y="114652"/>
                    <a:pt x="163478" y="133995"/>
                  </a:cubicBezTo>
                  <a:lnTo>
                    <a:pt x="164399" y="133995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8"/>
                  </a:lnTo>
                  <a:lnTo>
                    <a:pt x="165781" y="342598"/>
                  </a:lnTo>
                  <a:lnTo>
                    <a:pt x="165781" y="314965"/>
                  </a:lnTo>
                  <a:lnTo>
                    <a:pt x="164860" y="314965"/>
                  </a:lnTo>
                  <a:cubicBezTo>
                    <a:pt x="147828" y="335690"/>
                    <a:pt x="123419" y="348125"/>
                    <a:pt x="94405" y="348125"/>
                  </a:cubicBezTo>
                  <a:cubicBezTo>
                    <a:pt x="38686" y="348125"/>
                    <a:pt x="0" y="300697"/>
                    <a:pt x="0" y="224715"/>
                  </a:cubicBezTo>
                  <a:close/>
                  <a:moveTo>
                    <a:pt x="54345" y="224715"/>
                  </a:moveTo>
                  <a:cubicBezTo>
                    <a:pt x="54345" y="272603"/>
                    <a:pt x="74148" y="299776"/>
                    <a:pt x="108681" y="299776"/>
                  </a:cubicBezTo>
                  <a:cubicBezTo>
                    <a:pt x="129867" y="299776"/>
                    <a:pt x="147359" y="289644"/>
                    <a:pt x="164399" y="268919"/>
                  </a:cubicBezTo>
                  <a:lnTo>
                    <a:pt x="164399" y="183265"/>
                  </a:lnTo>
                  <a:cubicBezTo>
                    <a:pt x="148740" y="162088"/>
                    <a:pt x="130780" y="151956"/>
                    <a:pt x="108681" y="151956"/>
                  </a:cubicBezTo>
                  <a:cubicBezTo>
                    <a:pt x="73227" y="151965"/>
                    <a:pt x="54345" y="177747"/>
                    <a:pt x="54345" y="22471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71" name="Freihandform: Form 270">
              <a:extLst>
                <a:ext uri="{FF2B5EF4-FFF2-40B4-BE49-F238E27FC236}">
                  <a16:creationId xmlns:a16="http://schemas.microsoft.com/office/drawing/2014/main" id="{71B3082D-B364-404C-8EE0-64D1F1F07577}"/>
                </a:ext>
              </a:extLst>
            </p:cNvPr>
            <p:cNvSpPr/>
            <p:nvPr/>
          </p:nvSpPr>
          <p:spPr>
            <a:xfrm>
              <a:off x="4011188" y="2963018"/>
              <a:ext cx="227478" cy="335246"/>
            </a:xfrm>
            <a:custGeom>
              <a:avLst/>
              <a:gdLst>
                <a:gd name="connsiteX0" fmla="*/ 36383 w 227478"/>
                <a:gd name="connsiteY0" fmla="*/ 245900 h 335246"/>
                <a:gd name="connsiteX1" fmla="*/ 116963 w 227478"/>
                <a:gd name="connsiteY1" fmla="*/ 282283 h 335246"/>
                <a:gd name="connsiteX2" fmla="*/ 169465 w 227478"/>
                <a:gd name="connsiteY2" fmla="*/ 241755 h 335246"/>
                <a:gd name="connsiteX3" fmla="*/ 10593 w 227478"/>
                <a:gd name="connsiteY3" fmla="*/ 93944 h 335246"/>
                <a:gd name="connsiteX4" fmla="*/ 120656 w 227478"/>
                <a:gd name="connsiteY4" fmla="*/ 0 h 335246"/>
                <a:gd name="connsiteX5" fmla="*/ 225183 w 227478"/>
                <a:gd name="connsiteY5" fmla="*/ 39147 h 335246"/>
                <a:gd name="connsiteX6" fmla="*/ 188800 w 227478"/>
                <a:gd name="connsiteY6" fmla="*/ 83812 h 335246"/>
                <a:gd name="connsiteX7" fmla="*/ 117884 w 227478"/>
                <a:gd name="connsiteY7" fmla="*/ 52503 h 335246"/>
                <a:gd name="connsiteX8" fmla="*/ 68613 w 227478"/>
                <a:gd name="connsiteY8" fmla="*/ 88886 h 335246"/>
                <a:gd name="connsiteX9" fmla="*/ 227478 w 227478"/>
                <a:gd name="connsiteY9" fmla="*/ 237158 h 335246"/>
                <a:gd name="connsiteX10" fmla="*/ 115590 w 227478"/>
                <a:gd name="connsiteY10" fmla="*/ 335246 h 335246"/>
                <a:gd name="connsiteX11" fmla="*/ 0 w 227478"/>
                <a:gd name="connsiteY11" fmla="*/ 290573 h 335246"/>
                <a:gd name="connsiteX12" fmla="*/ 36383 w 227478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78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63" y="282283"/>
                  </a:cubicBezTo>
                  <a:cubicBezTo>
                    <a:pt x="147359" y="282283"/>
                    <a:pt x="169465" y="265243"/>
                    <a:pt x="169465" y="241755"/>
                  </a:cubicBezTo>
                  <a:cubicBezTo>
                    <a:pt x="169465" y="179589"/>
                    <a:pt x="10593" y="198932"/>
                    <a:pt x="10593" y="93944"/>
                  </a:cubicBezTo>
                  <a:cubicBezTo>
                    <a:pt x="10593" y="38226"/>
                    <a:pt x="55726" y="0"/>
                    <a:pt x="120656" y="0"/>
                  </a:cubicBezTo>
                  <a:cubicBezTo>
                    <a:pt x="159333" y="0"/>
                    <a:pt x="195256" y="13356"/>
                    <a:pt x="225183" y="39147"/>
                  </a:cubicBezTo>
                  <a:lnTo>
                    <a:pt x="188800" y="83812"/>
                  </a:lnTo>
                  <a:cubicBezTo>
                    <a:pt x="165312" y="63087"/>
                    <a:pt x="141832" y="52503"/>
                    <a:pt x="117884" y="52503"/>
                  </a:cubicBezTo>
                  <a:cubicBezTo>
                    <a:pt x="89338" y="52503"/>
                    <a:pt x="68613" y="67692"/>
                    <a:pt x="68613" y="88886"/>
                  </a:cubicBezTo>
                  <a:cubicBezTo>
                    <a:pt x="68613" y="147359"/>
                    <a:pt x="227478" y="128024"/>
                    <a:pt x="227478" y="237158"/>
                  </a:cubicBezTo>
                  <a:cubicBezTo>
                    <a:pt x="227478" y="295639"/>
                    <a:pt x="182352" y="335246"/>
                    <a:pt x="115590" y="335246"/>
                  </a:cubicBezTo>
                  <a:cubicBezTo>
                    <a:pt x="72758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72" name="Freihandform: Form 271">
              <a:extLst>
                <a:ext uri="{FF2B5EF4-FFF2-40B4-BE49-F238E27FC236}">
                  <a16:creationId xmlns:a16="http://schemas.microsoft.com/office/drawing/2014/main" id="{91760FEA-4737-4183-8A29-75C45D9B69AB}"/>
                </a:ext>
              </a:extLst>
            </p:cNvPr>
            <p:cNvSpPr/>
            <p:nvPr/>
          </p:nvSpPr>
          <p:spPr>
            <a:xfrm>
              <a:off x="4287334" y="3052356"/>
              <a:ext cx="225644" cy="245908"/>
            </a:xfrm>
            <a:custGeom>
              <a:avLst/>
              <a:gdLst>
                <a:gd name="connsiteX0" fmla="*/ 0 w 225644"/>
                <a:gd name="connsiteY0" fmla="*/ 122950 h 245908"/>
                <a:gd name="connsiteX1" fmla="*/ 113748 w 225644"/>
                <a:gd name="connsiteY1" fmla="*/ 0 h 245908"/>
                <a:gd name="connsiteX2" fmla="*/ 225644 w 225644"/>
                <a:gd name="connsiteY2" fmla="*/ 122950 h 245908"/>
                <a:gd name="connsiteX3" fmla="*/ 113748 w 225644"/>
                <a:gd name="connsiteY3" fmla="*/ 245908 h 245908"/>
                <a:gd name="connsiteX4" fmla="*/ 0 w 225644"/>
                <a:gd name="connsiteY4" fmla="*/ 122950 h 245908"/>
                <a:gd name="connsiteX5" fmla="*/ 171308 w 225644"/>
                <a:gd name="connsiteY5" fmla="*/ 123410 h 245908"/>
                <a:gd name="connsiteX6" fmla="*/ 112826 w 225644"/>
                <a:gd name="connsiteY6" fmla="*/ 49731 h 245908"/>
                <a:gd name="connsiteX7" fmla="*/ 54345 w 225644"/>
                <a:gd name="connsiteY7" fmla="*/ 122481 h 245908"/>
                <a:gd name="connsiteX8" fmla="*/ 113287 w 225644"/>
                <a:gd name="connsiteY8" fmla="*/ 196621 h 245908"/>
                <a:gd name="connsiteX9" fmla="*/ 171308 w 225644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44" h="245908">
                  <a:moveTo>
                    <a:pt x="0" y="122950"/>
                  </a:moveTo>
                  <a:cubicBezTo>
                    <a:pt x="0" y="49270"/>
                    <a:pt x="45586" y="0"/>
                    <a:pt x="113748" y="0"/>
                  </a:cubicBezTo>
                  <a:cubicBezTo>
                    <a:pt x="181440" y="0"/>
                    <a:pt x="225644" y="48349"/>
                    <a:pt x="225644" y="122950"/>
                  </a:cubicBezTo>
                  <a:cubicBezTo>
                    <a:pt x="225644" y="196629"/>
                    <a:pt x="181892" y="245908"/>
                    <a:pt x="113748" y="245908"/>
                  </a:cubicBezTo>
                  <a:cubicBezTo>
                    <a:pt x="46055" y="245900"/>
                    <a:pt x="0" y="197090"/>
                    <a:pt x="0" y="122950"/>
                  </a:cubicBezTo>
                  <a:close/>
                  <a:moveTo>
                    <a:pt x="171308" y="123410"/>
                  </a:moveTo>
                  <a:cubicBezTo>
                    <a:pt x="171308" y="77824"/>
                    <a:pt x="148741" y="49731"/>
                    <a:pt x="112826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12" y="196621"/>
                    <a:pt x="113287" y="196621"/>
                  </a:cubicBezTo>
                  <a:cubicBezTo>
                    <a:pt x="149202" y="196629"/>
                    <a:pt x="171308" y="168536"/>
                    <a:pt x="171308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73" name="Freihandform: Form 272">
              <a:extLst>
                <a:ext uri="{FF2B5EF4-FFF2-40B4-BE49-F238E27FC236}">
                  <a16:creationId xmlns:a16="http://schemas.microsoft.com/office/drawing/2014/main" id="{24BA7877-7B7C-4C99-A7FB-8D50CD60EB59}"/>
                </a:ext>
              </a:extLst>
            </p:cNvPr>
            <p:cNvSpPr/>
            <p:nvPr/>
          </p:nvSpPr>
          <p:spPr>
            <a:xfrm>
              <a:off x="4551790" y="3058352"/>
              <a:ext cx="185115" cy="234377"/>
            </a:xfrm>
            <a:custGeom>
              <a:avLst/>
              <a:gdLst>
                <a:gd name="connsiteX0" fmla="*/ 185108 w 185115"/>
                <a:gd name="connsiteY0" fmla="*/ 234378 h 234377"/>
                <a:gd name="connsiteX1" fmla="*/ 0 w 185115"/>
                <a:gd name="connsiteY1" fmla="*/ 234378 h 234377"/>
                <a:gd name="connsiteX2" fmla="*/ 0 w 185115"/>
                <a:gd name="connsiteY2" fmla="*/ 187410 h 234377"/>
                <a:gd name="connsiteX3" fmla="*/ 116963 w 185115"/>
                <a:gd name="connsiteY3" fmla="*/ 46968 h 234377"/>
                <a:gd name="connsiteX4" fmla="*/ 6900 w 185115"/>
                <a:gd name="connsiteY4" fmla="*/ 46968 h 234377"/>
                <a:gd name="connsiteX5" fmla="*/ 6900 w 185115"/>
                <a:gd name="connsiteY5" fmla="*/ 0 h 234377"/>
                <a:gd name="connsiteX6" fmla="*/ 183274 w 185115"/>
                <a:gd name="connsiteY6" fmla="*/ 0 h 234377"/>
                <a:gd name="connsiteX7" fmla="*/ 183274 w 185115"/>
                <a:gd name="connsiteY7" fmla="*/ 46968 h 234377"/>
                <a:gd name="connsiteX8" fmla="*/ 65850 w 185115"/>
                <a:gd name="connsiteY8" fmla="*/ 187410 h 234377"/>
                <a:gd name="connsiteX9" fmla="*/ 185116 w 185115"/>
                <a:gd name="connsiteY9" fmla="*/ 187410 h 234377"/>
                <a:gd name="connsiteX10" fmla="*/ 185116 w 185115"/>
                <a:gd name="connsiteY10" fmla="*/ 234378 h 2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5115" h="234377">
                  <a:moveTo>
                    <a:pt x="185108" y="234378"/>
                  </a:moveTo>
                  <a:lnTo>
                    <a:pt x="0" y="234378"/>
                  </a:lnTo>
                  <a:lnTo>
                    <a:pt x="0" y="187410"/>
                  </a:lnTo>
                  <a:lnTo>
                    <a:pt x="116963" y="46968"/>
                  </a:lnTo>
                  <a:lnTo>
                    <a:pt x="6900" y="46968"/>
                  </a:lnTo>
                  <a:lnTo>
                    <a:pt x="6900" y="0"/>
                  </a:lnTo>
                  <a:lnTo>
                    <a:pt x="183274" y="0"/>
                  </a:lnTo>
                  <a:lnTo>
                    <a:pt x="183274" y="46968"/>
                  </a:lnTo>
                  <a:lnTo>
                    <a:pt x="65850" y="187410"/>
                  </a:lnTo>
                  <a:lnTo>
                    <a:pt x="185116" y="187410"/>
                  </a:lnTo>
                  <a:lnTo>
                    <a:pt x="185116" y="23437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74" name="Freihandform: Form 273">
              <a:extLst>
                <a:ext uri="{FF2B5EF4-FFF2-40B4-BE49-F238E27FC236}">
                  <a16:creationId xmlns:a16="http://schemas.microsoft.com/office/drawing/2014/main" id="{CB08555D-77C4-4E49-9021-BEE8D3903ACB}"/>
                </a:ext>
              </a:extLst>
            </p:cNvPr>
            <p:cNvSpPr/>
            <p:nvPr/>
          </p:nvSpPr>
          <p:spPr>
            <a:xfrm>
              <a:off x="478624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84" y="66311"/>
                    <a:pt x="34533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33" y="0"/>
                  </a:cubicBezTo>
                  <a:cubicBezTo>
                    <a:pt x="53884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75" name="Freihandform: Form 274">
              <a:extLst>
                <a:ext uri="{FF2B5EF4-FFF2-40B4-BE49-F238E27FC236}">
                  <a16:creationId xmlns:a16="http://schemas.microsoft.com/office/drawing/2014/main" id="{B95A74DD-3BCD-4CB1-9EC7-F904CAEFCB5B}"/>
                </a:ext>
              </a:extLst>
            </p:cNvPr>
            <p:cNvSpPr/>
            <p:nvPr/>
          </p:nvSpPr>
          <p:spPr>
            <a:xfrm>
              <a:off x="4904378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503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6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36" y="204919"/>
                    <a:pt x="129850" y="195248"/>
                    <a:pt x="145048" y="176834"/>
                  </a:cubicBezTo>
                  <a:lnTo>
                    <a:pt x="145048" y="135845"/>
                  </a:lnTo>
                  <a:cubicBezTo>
                    <a:pt x="132161" y="132621"/>
                    <a:pt x="118805" y="131240"/>
                    <a:pt x="106831" y="131240"/>
                  </a:cubicBezTo>
                  <a:cubicBezTo>
                    <a:pt x="72298" y="131240"/>
                    <a:pt x="52503" y="145048"/>
                    <a:pt x="52503" y="169918"/>
                  </a:cubicBezTo>
                  <a:cubicBezTo>
                    <a:pt x="52494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76" name="Freihandform: Form 275">
              <a:extLst>
                <a:ext uri="{FF2B5EF4-FFF2-40B4-BE49-F238E27FC236}">
                  <a16:creationId xmlns:a16="http://schemas.microsoft.com/office/drawing/2014/main" id="{B756A931-26C4-46F3-AF51-F75487DE5C6F}"/>
                </a:ext>
              </a:extLst>
            </p:cNvPr>
            <p:cNvSpPr/>
            <p:nvPr/>
          </p:nvSpPr>
          <p:spPr>
            <a:xfrm>
              <a:off x="5173423" y="2950592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77" name="Freihandform: Form 276">
              <a:extLst>
                <a:ext uri="{FF2B5EF4-FFF2-40B4-BE49-F238E27FC236}">
                  <a16:creationId xmlns:a16="http://schemas.microsoft.com/office/drawing/2014/main" id="{7EE99256-843E-4966-A958-37FF836D7C17}"/>
                </a:ext>
              </a:extLst>
            </p:cNvPr>
            <p:cNvSpPr/>
            <p:nvPr/>
          </p:nvSpPr>
          <p:spPr>
            <a:xfrm>
              <a:off x="5275974" y="3058344"/>
              <a:ext cx="330180" cy="234386"/>
            </a:xfrm>
            <a:custGeom>
              <a:avLst/>
              <a:gdLst>
                <a:gd name="connsiteX0" fmla="*/ 330180 w 330180"/>
                <a:gd name="connsiteY0" fmla="*/ 0 h 234386"/>
                <a:gd name="connsiteX1" fmla="*/ 260646 w 330180"/>
                <a:gd name="connsiteY1" fmla="*/ 234386 h 234386"/>
                <a:gd name="connsiteX2" fmla="*/ 208143 w 330180"/>
                <a:gd name="connsiteY2" fmla="*/ 234386 h 234386"/>
                <a:gd name="connsiteX3" fmla="*/ 165320 w 330180"/>
                <a:gd name="connsiteY3" fmla="*/ 72298 h 234386"/>
                <a:gd name="connsiteX4" fmla="*/ 164408 w 330180"/>
                <a:gd name="connsiteY4" fmla="*/ 72298 h 234386"/>
                <a:gd name="connsiteX5" fmla="*/ 122037 w 330180"/>
                <a:gd name="connsiteY5" fmla="*/ 234386 h 234386"/>
                <a:gd name="connsiteX6" fmla="*/ 69535 w 330180"/>
                <a:gd name="connsiteY6" fmla="*/ 234386 h 234386"/>
                <a:gd name="connsiteX7" fmla="*/ 0 w 330180"/>
                <a:gd name="connsiteY7" fmla="*/ 0 h 234386"/>
                <a:gd name="connsiteX8" fmla="*/ 57560 w 330180"/>
                <a:gd name="connsiteY8" fmla="*/ 0 h 234386"/>
                <a:gd name="connsiteX9" fmla="*/ 98089 w 330180"/>
                <a:gd name="connsiteY9" fmla="*/ 157943 h 234386"/>
                <a:gd name="connsiteX10" fmla="*/ 99001 w 330180"/>
                <a:gd name="connsiteY10" fmla="*/ 157943 h 234386"/>
                <a:gd name="connsiteX11" fmla="*/ 140451 w 330180"/>
                <a:gd name="connsiteY11" fmla="*/ 0 h 234386"/>
                <a:gd name="connsiteX12" fmla="*/ 190642 w 330180"/>
                <a:gd name="connsiteY12" fmla="*/ 0 h 234386"/>
                <a:gd name="connsiteX13" fmla="*/ 233465 w 330180"/>
                <a:gd name="connsiteY13" fmla="*/ 157943 h 234386"/>
                <a:gd name="connsiteX14" fmla="*/ 234378 w 330180"/>
                <a:gd name="connsiteY14" fmla="*/ 157943 h 234386"/>
                <a:gd name="connsiteX15" fmla="*/ 273524 w 330180"/>
                <a:gd name="connsiteY15" fmla="*/ 0 h 234386"/>
                <a:gd name="connsiteX16" fmla="*/ 330180 w 330180"/>
                <a:gd name="connsiteY16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180" h="234386">
                  <a:moveTo>
                    <a:pt x="330180" y="0"/>
                  </a:moveTo>
                  <a:lnTo>
                    <a:pt x="260646" y="234386"/>
                  </a:lnTo>
                  <a:lnTo>
                    <a:pt x="208143" y="234386"/>
                  </a:lnTo>
                  <a:lnTo>
                    <a:pt x="165320" y="72298"/>
                  </a:lnTo>
                  <a:lnTo>
                    <a:pt x="164408" y="72298"/>
                  </a:lnTo>
                  <a:lnTo>
                    <a:pt x="122037" y="234386"/>
                  </a:lnTo>
                  <a:lnTo>
                    <a:pt x="69535" y="234386"/>
                  </a:lnTo>
                  <a:lnTo>
                    <a:pt x="0" y="0"/>
                  </a:lnTo>
                  <a:lnTo>
                    <a:pt x="57560" y="0"/>
                  </a:lnTo>
                  <a:lnTo>
                    <a:pt x="98089" y="157943"/>
                  </a:lnTo>
                  <a:lnTo>
                    <a:pt x="99001" y="157943"/>
                  </a:lnTo>
                  <a:lnTo>
                    <a:pt x="140451" y="0"/>
                  </a:lnTo>
                  <a:lnTo>
                    <a:pt x="190642" y="0"/>
                  </a:lnTo>
                  <a:lnTo>
                    <a:pt x="233465" y="157943"/>
                  </a:lnTo>
                  <a:lnTo>
                    <a:pt x="234378" y="157943"/>
                  </a:lnTo>
                  <a:lnTo>
                    <a:pt x="273524" y="0"/>
                  </a:lnTo>
                  <a:lnTo>
                    <a:pt x="33018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78" name="Freihandform: Form 277">
              <a:extLst>
                <a:ext uri="{FF2B5EF4-FFF2-40B4-BE49-F238E27FC236}">
                  <a16:creationId xmlns:a16="http://schemas.microsoft.com/office/drawing/2014/main" id="{C1566263-06A3-4DAE-81C0-6CD38991B895}"/>
                </a:ext>
              </a:extLst>
            </p:cNvPr>
            <p:cNvSpPr/>
            <p:nvPr/>
          </p:nvSpPr>
          <p:spPr>
            <a:xfrm>
              <a:off x="5647320" y="2954268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79" name="Freihandform: Form 278">
              <a:extLst>
                <a:ext uri="{FF2B5EF4-FFF2-40B4-BE49-F238E27FC236}">
                  <a16:creationId xmlns:a16="http://schemas.microsoft.com/office/drawing/2014/main" id="{C35799A7-8D8C-4526-BFD3-2B76F61338E3}"/>
                </a:ext>
              </a:extLst>
            </p:cNvPr>
            <p:cNvSpPr/>
            <p:nvPr/>
          </p:nvSpPr>
          <p:spPr>
            <a:xfrm>
              <a:off x="5759802" y="3052356"/>
              <a:ext cx="180502" cy="245891"/>
            </a:xfrm>
            <a:custGeom>
              <a:avLst/>
              <a:gdLst>
                <a:gd name="connsiteX0" fmla="*/ 26235 w 180502"/>
                <a:gd name="connsiteY0" fmla="*/ 174063 h 245891"/>
                <a:gd name="connsiteX1" fmla="*/ 92545 w 180502"/>
                <a:gd name="connsiteY1" fmla="*/ 200314 h 245891"/>
                <a:gd name="connsiteX2" fmla="*/ 127078 w 180502"/>
                <a:gd name="connsiteY2" fmla="*/ 176826 h 245891"/>
                <a:gd name="connsiteX3" fmla="*/ 9655 w 180502"/>
                <a:gd name="connsiteY3" fmla="*/ 72750 h 245891"/>
                <a:gd name="connsiteX4" fmla="*/ 98072 w 180502"/>
                <a:gd name="connsiteY4" fmla="*/ 0 h 245891"/>
                <a:gd name="connsiteX5" fmla="*/ 179120 w 180502"/>
                <a:gd name="connsiteY5" fmla="*/ 24401 h 245891"/>
                <a:gd name="connsiteX6" fmla="*/ 153338 w 180502"/>
                <a:gd name="connsiteY6" fmla="*/ 67223 h 245891"/>
                <a:gd name="connsiteX7" fmla="*/ 97159 w 180502"/>
                <a:gd name="connsiteY7" fmla="*/ 46499 h 245891"/>
                <a:gd name="connsiteX8" fmla="*/ 63539 w 180502"/>
                <a:gd name="connsiteY8" fmla="*/ 68145 h 245891"/>
                <a:gd name="connsiteX9" fmla="*/ 180502 w 180502"/>
                <a:gd name="connsiteY9" fmla="*/ 171751 h 245891"/>
                <a:gd name="connsiteX10" fmla="*/ 90251 w 180502"/>
                <a:gd name="connsiteY10" fmla="*/ 245891 h 245891"/>
                <a:gd name="connsiteX11" fmla="*/ 0 w 180502"/>
                <a:gd name="connsiteY11" fmla="*/ 217337 h 245891"/>
                <a:gd name="connsiteX12" fmla="*/ 26235 w 180502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02" h="245891">
                  <a:moveTo>
                    <a:pt x="26235" y="174063"/>
                  </a:moveTo>
                  <a:cubicBezTo>
                    <a:pt x="49254" y="191563"/>
                    <a:pt x="71821" y="200314"/>
                    <a:pt x="92545" y="200314"/>
                  </a:cubicBezTo>
                  <a:cubicBezTo>
                    <a:pt x="112801" y="200314"/>
                    <a:pt x="127078" y="191103"/>
                    <a:pt x="127078" y="176826"/>
                  </a:cubicBezTo>
                  <a:cubicBezTo>
                    <a:pt x="127078" y="136766"/>
                    <a:pt x="9655" y="151035"/>
                    <a:pt x="9655" y="72750"/>
                  </a:cubicBezTo>
                  <a:cubicBezTo>
                    <a:pt x="9655" y="29467"/>
                    <a:pt x="45578" y="0"/>
                    <a:pt x="98072" y="0"/>
                  </a:cubicBezTo>
                  <a:cubicBezTo>
                    <a:pt x="126166" y="0"/>
                    <a:pt x="154259" y="8282"/>
                    <a:pt x="179120" y="24401"/>
                  </a:cubicBezTo>
                  <a:lnTo>
                    <a:pt x="153338" y="67223"/>
                  </a:lnTo>
                  <a:cubicBezTo>
                    <a:pt x="133074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02" y="93014"/>
                    <a:pt x="180502" y="171751"/>
                  </a:cubicBezTo>
                  <a:cubicBezTo>
                    <a:pt x="180502" y="215956"/>
                    <a:pt x="144127" y="245891"/>
                    <a:pt x="90251" y="245891"/>
                  </a:cubicBezTo>
                  <a:cubicBezTo>
                    <a:pt x="58942" y="245891"/>
                    <a:pt x="27164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80" name="Freihandform: Form 279">
              <a:extLst>
                <a:ext uri="{FF2B5EF4-FFF2-40B4-BE49-F238E27FC236}">
                  <a16:creationId xmlns:a16="http://schemas.microsoft.com/office/drawing/2014/main" id="{A3C8438E-2478-4F49-9168-B8953F43F7B6}"/>
                </a:ext>
              </a:extLst>
            </p:cNvPr>
            <p:cNvSpPr/>
            <p:nvPr/>
          </p:nvSpPr>
          <p:spPr>
            <a:xfrm>
              <a:off x="597652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87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47 w 180510"/>
                <a:gd name="connsiteY8" fmla="*/ 68145 h 245891"/>
                <a:gd name="connsiteX9" fmla="*/ 180510 w 180510"/>
                <a:gd name="connsiteY9" fmla="*/ 171751 h 245891"/>
                <a:gd name="connsiteX10" fmla="*/ 90259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1" y="200314"/>
                    <a:pt x="92545" y="200314"/>
                  </a:cubicBezTo>
                  <a:cubicBezTo>
                    <a:pt x="112809" y="200314"/>
                    <a:pt x="127087" y="191103"/>
                    <a:pt x="127087" y="176826"/>
                  </a:cubicBezTo>
                  <a:cubicBezTo>
                    <a:pt x="127087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2" y="53415"/>
                    <a:pt x="115129" y="46499"/>
                    <a:pt x="97159" y="46499"/>
                  </a:cubicBezTo>
                  <a:cubicBezTo>
                    <a:pt x="76904" y="46499"/>
                    <a:pt x="63547" y="55249"/>
                    <a:pt x="63547" y="68145"/>
                  </a:cubicBezTo>
                  <a:cubicBezTo>
                    <a:pt x="63547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9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81" name="Freihandform: Form 280">
              <a:extLst>
                <a:ext uri="{FF2B5EF4-FFF2-40B4-BE49-F238E27FC236}">
                  <a16:creationId xmlns:a16="http://schemas.microsoft.com/office/drawing/2014/main" id="{79FA65E8-3B49-486C-BBA8-7D5BFAF50194}"/>
                </a:ext>
              </a:extLst>
            </p:cNvPr>
            <p:cNvSpPr/>
            <p:nvPr/>
          </p:nvSpPr>
          <p:spPr>
            <a:xfrm>
              <a:off x="6201863" y="3052356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5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7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4" y="207214"/>
                  </a:lnTo>
                  <a:cubicBezTo>
                    <a:pt x="181432" y="233465"/>
                    <a:pt x="151496" y="245900"/>
                    <a:pt x="116034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5" y="65850"/>
                    <a:pt x="139990" y="45125"/>
                    <a:pt x="109134" y="45125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82" name="Freihandform: Form 281">
              <a:extLst>
                <a:ext uri="{FF2B5EF4-FFF2-40B4-BE49-F238E27FC236}">
                  <a16:creationId xmlns:a16="http://schemas.microsoft.com/office/drawing/2014/main" id="{C4A39B2C-6C0D-42F4-BC52-B3B451C480B1}"/>
                </a:ext>
              </a:extLst>
            </p:cNvPr>
            <p:cNvSpPr/>
            <p:nvPr/>
          </p:nvSpPr>
          <p:spPr>
            <a:xfrm>
              <a:off x="6475831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7 w 201695"/>
                <a:gd name="connsiteY4" fmla="*/ 105910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7" y="80579"/>
                    <a:pt x="54797" y="105910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83" name="Freihandform: Form 282">
              <a:extLst>
                <a:ext uri="{FF2B5EF4-FFF2-40B4-BE49-F238E27FC236}">
                  <a16:creationId xmlns:a16="http://schemas.microsoft.com/office/drawing/2014/main" id="{46BB5A8F-C21E-4D01-B431-807803FB5AD6}"/>
                </a:ext>
              </a:extLst>
            </p:cNvPr>
            <p:cNvSpPr/>
            <p:nvPr/>
          </p:nvSpPr>
          <p:spPr>
            <a:xfrm>
              <a:off x="672606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7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0" y="200314"/>
                    <a:pt x="92545" y="200314"/>
                  </a:cubicBezTo>
                  <a:cubicBezTo>
                    <a:pt x="112809" y="200314"/>
                    <a:pt x="127078" y="191103"/>
                    <a:pt x="127078" y="176826"/>
                  </a:cubicBezTo>
                  <a:cubicBezTo>
                    <a:pt x="127078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5" y="0"/>
                    <a:pt x="154259" y="8282"/>
                    <a:pt x="179128" y="24401"/>
                  </a:cubicBezTo>
                  <a:lnTo>
                    <a:pt x="153337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1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84" name="Freihandform: Form 283">
              <a:extLst>
                <a:ext uri="{FF2B5EF4-FFF2-40B4-BE49-F238E27FC236}">
                  <a16:creationId xmlns:a16="http://schemas.microsoft.com/office/drawing/2014/main" id="{E2B32CBE-81D4-4157-A204-C55B0BFC36FD}"/>
                </a:ext>
              </a:extLst>
            </p:cNvPr>
            <p:cNvSpPr/>
            <p:nvPr/>
          </p:nvSpPr>
          <p:spPr>
            <a:xfrm>
              <a:off x="6951395" y="3052365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8 w 197542"/>
                <a:gd name="connsiteY3" fmla="*/ 0 h 245899"/>
                <a:gd name="connsiteX4" fmla="*/ 197542 w 197542"/>
                <a:gd name="connsiteY4" fmla="*/ 40060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25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60"/>
                  </a:cubicBezTo>
                  <a:lnTo>
                    <a:pt x="159777" y="75974"/>
                  </a:lnTo>
                  <a:cubicBezTo>
                    <a:pt x="145969" y="58013"/>
                    <a:pt x="131231" y="50192"/>
                    <a:pt x="112809" y="50192"/>
                  </a:cubicBezTo>
                  <a:cubicBezTo>
                    <a:pt x="78276" y="50192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62" y="196161"/>
                    <a:pt x="145500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85" name="Freihandform: Form 284">
              <a:extLst>
                <a:ext uri="{FF2B5EF4-FFF2-40B4-BE49-F238E27FC236}">
                  <a16:creationId xmlns:a16="http://schemas.microsoft.com/office/drawing/2014/main" id="{11A2A934-6ABD-469C-A7DA-94052AA3ACD9}"/>
                </a:ext>
              </a:extLst>
            </p:cNvPr>
            <p:cNvSpPr/>
            <p:nvPr/>
          </p:nvSpPr>
          <p:spPr>
            <a:xfrm>
              <a:off x="7195938" y="2950140"/>
              <a:ext cx="201695" cy="342598"/>
            </a:xfrm>
            <a:custGeom>
              <a:avLst/>
              <a:gdLst>
                <a:gd name="connsiteX0" fmla="*/ 201695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7 h 342598"/>
                <a:gd name="connsiteX10" fmla="*/ 55718 w 201695"/>
                <a:gd name="connsiteY10" fmla="*/ 136297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5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7"/>
                  </a:lnTo>
                  <a:lnTo>
                    <a:pt x="55718" y="136297"/>
                  </a:lnTo>
                  <a:cubicBezTo>
                    <a:pt x="69074" y="115573"/>
                    <a:pt x="93483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86" name="Freihandform: Form 285">
              <a:extLst>
                <a:ext uri="{FF2B5EF4-FFF2-40B4-BE49-F238E27FC236}">
                  <a16:creationId xmlns:a16="http://schemas.microsoft.com/office/drawing/2014/main" id="{3BB1BD05-C8A4-4547-A1A7-DBF8092E1E72}"/>
                </a:ext>
              </a:extLst>
            </p:cNvPr>
            <p:cNvSpPr/>
            <p:nvPr/>
          </p:nvSpPr>
          <p:spPr>
            <a:xfrm>
              <a:off x="7451652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86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8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19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8" y="131240"/>
                    <a:pt x="106822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7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87" name="Freihandform: Form 286">
              <a:extLst>
                <a:ext uri="{FF2B5EF4-FFF2-40B4-BE49-F238E27FC236}">
                  <a16:creationId xmlns:a16="http://schemas.microsoft.com/office/drawing/2014/main" id="{0E2A3272-C104-4611-8721-06CADC35166A}"/>
                </a:ext>
              </a:extLst>
            </p:cNvPr>
            <p:cNvSpPr/>
            <p:nvPr/>
          </p:nvSpPr>
          <p:spPr>
            <a:xfrm>
              <a:off x="7694437" y="2946899"/>
              <a:ext cx="143674" cy="345830"/>
            </a:xfrm>
            <a:custGeom>
              <a:avLst/>
              <a:gdLst>
                <a:gd name="connsiteX0" fmla="*/ 143674 w 143674"/>
                <a:gd name="connsiteY0" fmla="*/ 51582 h 345830"/>
                <a:gd name="connsiteX1" fmla="*/ 119734 w 143674"/>
                <a:gd name="connsiteY1" fmla="*/ 46976 h 345830"/>
                <a:gd name="connsiteX2" fmla="*/ 90720 w 143674"/>
                <a:gd name="connsiteY2" fmla="*/ 79667 h 345830"/>
                <a:gd name="connsiteX3" fmla="*/ 90720 w 143674"/>
                <a:gd name="connsiteY3" fmla="*/ 111445 h 345830"/>
                <a:gd name="connsiteX4" fmla="*/ 137235 w 143674"/>
                <a:gd name="connsiteY4" fmla="*/ 111445 h 345830"/>
                <a:gd name="connsiteX5" fmla="*/ 137235 w 143674"/>
                <a:gd name="connsiteY5" fmla="*/ 157031 h 345830"/>
                <a:gd name="connsiteX6" fmla="*/ 91180 w 143674"/>
                <a:gd name="connsiteY6" fmla="*/ 157031 h 345830"/>
                <a:gd name="connsiteX7" fmla="*/ 91180 w 143674"/>
                <a:gd name="connsiteY7" fmla="*/ 345831 h 345830"/>
                <a:gd name="connsiteX8" fmla="*/ 36383 w 143674"/>
                <a:gd name="connsiteY8" fmla="*/ 345831 h 345830"/>
                <a:gd name="connsiteX9" fmla="*/ 36383 w 143674"/>
                <a:gd name="connsiteY9" fmla="*/ 157031 h 345830"/>
                <a:gd name="connsiteX10" fmla="*/ 0 w 143674"/>
                <a:gd name="connsiteY10" fmla="*/ 157031 h 345830"/>
                <a:gd name="connsiteX11" fmla="*/ 0 w 143674"/>
                <a:gd name="connsiteY11" fmla="*/ 111445 h 345830"/>
                <a:gd name="connsiteX12" fmla="*/ 36383 w 143674"/>
                <a:gd name="connsiteY12" fmla="*/ 111445 h 345830"/>
                <a:gd name="connsiteX13" fmla="*/ 36383 w 143674"/>
                <a:gd name="connsiteY13" fmla="*/ 77825 h 345830"/>
                <a:gd name="connsiteX14" fmla="*/ 110983 w 143674"/>
                <a:gd name="connsiteY14" fmla="*/ 0 h 345830"/>
                <a:gd name="connsiteX15" fmla="*/ 143674 w 143674"/>
                <a:gd name="connsiteY15" fmla="*/ 5066 h 345830"/>
                <a:gd name="connsiteX16" fmla="*/ 143674 w 143674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74" h="345830">
                  <a:moveTo>
                    <a:pt x="143674" y="51582"/>
                  </a:moveTo>
                  <a:cubicBezTo>
                    <a:pt x="136306" y="48358"/>
                    <a:pt x="127555" y="46976"/>
                    <a:pt x="119734" y="46976"/>
                  </a:cubicBezTo>
                  <a:cubicBezTo>
                    <a:pt x="99010" y="46976"/>
                    <a:pt x="90720" y="57569"/>
                    <a:pt x="90720" y="79667"/>
                  </a:cubicBezTo>
                  <a:lnTo>
                    <a:pt x="90720" y="111445"/>
                  </a:lnTo>
                  <a:lnTo>
                    <a:pt x="137235" y="111445"/>
                  </a:lnTo>
                  <a:lnTo>
                    <a:pt x="137235" y="157031"/>
                  </a:lnTo>
                  <a:lnTo>
                    <a:pt x="91180" y="157031"/>
                  </a:lnTo>
                  <a:lnTo>
                    <a:pt x="91180" y="345831"/>
                  </a:lnTo>
                  <a:lnTo>
                    <a:pt x="36383" y="345831"/>
                  </a:lnTo>
                  <a:lnTo>
                    <a:pt x="36383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83" y="111445"/>
                  </a:lnTo>
                  <a:lnTo>
                    <a:pt x="36383" y="77825"/>
                  </a:lnTo>
                  <a:cubicBezTo>
                    <a:pt x="36383" y="29015"/>
                    <a:pt x="58490" y="0"/>
                    <a:pt x="110983" y="0"/>
                  </a:cubicBezTo>
                  <a:cubicBezTo>
                    <a:pt x="122958" y="0"/>
                    <a:pt x="134472" y="1382"/>
                    <a:pt x="143674" y="5066"/>
                  </a:cubicBezTo>
                  <a:lnTo>
                    <a:pt x="143674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88" name="Freihandform: Form 287">
              <a:extLst>
                <a:ext uri="{FF2B5EF4-FFF2-40B4-BE49-F238E27FC236}">
                  <a16:creationId xmlns:a16="http://schemas.microsoft.com/office/drawing/2014/main" id="{58991AAA-2773-4AF3-A0C0-BCBBC8236D08}"/>
                </a:ext>
              </a:extLst>
            </p:cNvPr>
            <p:cNvSpPr/>
            <p:nvPr/>
          </p:nvSpPr>
          <p:spPr>
            <a:xfrm>
              <a:off x="7867277" y="2982353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89" name="Freihandform: Form 288">
              <a:extLst>
                <a:ext uri="{FF2B5EF4-FFF2-40B4-BE49-F238E27FC236}">
                  <a16:creationId xmlns:a16="http://schemas.microsoft.com/office/drawing/2014/main" id="{BE6DF724-2E49-4DC2-A0EC-8498D22EADAE}"/>
                </a:ext>
              </a:extLst>
            </p:cNvPr>
            <p:cNvSpPr/>
            <p:nvPr/>
          </p:nvSpPr>
          <p:spPr>
            <a:xfrm>
              <a:off x="8049797" y="3052356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4 w 214130"/>
                <a:gd name="connsiteY2" fmla="*/ 0 h 245899"/>
                <a:gd name="connsiteX3" fmla="*/ 214131 w 214130"/>
                <a:gd name="connsiteY3" fmla="*/ 119266 h 245899"/>
                <a:gd name="connsiteX4" fmla="*/ 213209 w 214130"/>
                <a:gd name="connsiteY4" fmla="*/ 141824 h 245899"/>
                <a:gd name="connsiteX5" fmla="*/ 55727 w 214130"/>
                <a:gd name="connsiteY5" fmla="*/ 141824 h 245899"/>
                <a:gd name="connsiteX6" fmla="*/ 116510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88 w 214130"/>
                <a:gd name="connsiteY10" fmla="*/ 101765 h 245899"/>
                <a:gd name="connsiteX11" fmla="*/ 161159 w 214130"/>
                <a:gd name="connsiteY11" fmla="*/ 101765 h 245899"/>
                <a:gd name="connsiteX12" fmla="*/ 109125 w 214130"/>
                <a:gd name="connsiteY12" fmla="*/ 45125 h 245899"/>
                <a:gd name="connsiteX13" fmla="*/ 5478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4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09" y="141824"/>
                  </a:cubicBezTo>
                  <a:lnTo>
                    <a:pt x="55727" y="141824"/>
                  </a:lnTo>
                  <a:cubicBezTo>
                    <a:pt x="61714" y="178207"/>
                    <a:pt x="83351" y="198924"/>
                    <a:pt x="116510" y="198924"/>
                  </a:cubicBezTo>
                  <a:cubicBezTo>
                    <a:pt x="138147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23" y="233465"/>
                    <a:pt x="151487" y="245900"/>
                    <a:pt x="116033" y="245900"/>
                  </a:cubicBezTo>
                  <a:close/>
                  <a:moveTo>
                    <a:pt x="54788" y="101765"/>
                  </a:moveTo>
                  <a:lnTo>
                    <a:pt x="161159" y="101765"/>
                  </a:lnTo>
                  <a:cubicBezTo>
                    <a:pt x="158864" y="65850"/>
                    <a:pt x="139981" y="45125"/>
                    <a:pt x="109125" y="45125"/>
                  </a:cubicBezTo>
                  <a:cubicBezTo>
                    <a:pt x="78729" y="45134"/>
                    <a:pt x="59394" y="65390"/>
                    <a:pt x="54788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90" name="Freihandform: Form 289">
              <a:extLst>
                <a:ext uri="{FF2B5EF4-FFF2-40B4-BE49-F238E27FC236}">
                  <a16:creationId xmlns:a16="http://schemas.microsoft.com/office/drawing/2014/main" id="{6F2B2A44-D3B9-4839-8780-2523FC7C0CFA}"/>
                </a:ext>
              </a:extLst>
            </p:cNvPr>
            <p:cNvSpPr/>
            <p:nvPr/>
          </p:nvSpPr>
          <p:spPr>
            <a:xfrm>
              <a:off x="8323756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91" name="Freihandform: Form 290">
              <a:extLst>
                <a:ext uri="{FF2B5EF4-FFF2-40B4-BE49-F238E27FC236}">
                  <a16:creationId xmlns:a16="http://schemas.microsoft.com/office/drawing/2014/main" id="{A7B61303-4423-4700-A145-E52E0AAF82EC}"/>
                </a:ext>
              </a:extLst>
            </p:cNvPr>
            <p:cNvSpPr/>
            <p:nvPr/>
          </p:nvSpPr>
          <p:spPr>
            <a:xfrm>
              <a:off x="8741466" y="2935854"/>
              <a:ext cx="31309" cy="452200"/>
            </a:xfrm>
            <a:custGeom>
              <a:avLst/>
              <a:gdLst>
                <a:gd name="connsiteX0" fmla="*/ 31309 w 31309"/>
                <a:gd name="connsiteY0" fmla="*/ 452201 h 452200"/>
                <a:gd name="connsiteX1" fmla="*/ 0 w 31309"/>
                <a:gd name="connsiteY1" fmla="*/ 452201 h 452200"/>
                <a:gd name="connsiteX2" fmla="*/ 0 w 31309"/>
                <a:gd name="connsiteY2" fmla="*/ 0 h 452200"/>
                <a:gd name="connsiteX3" fmla="*/ 31309 w 31309"/>
                <a:gd name="connsiteY3" fmla="*/ 0 h 452200"/>
                <a:gd name="connsiteX4" fmla="*/ 31309 w 31309"/>
                <a:gd name="connsiteY4" fmla="*/ 452201 h 45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09" h="452200">
                  <a:moveTo>
                    <a:pt x="31309" y="452201"/>
                  </a:moveTo>
                  <a:lnTo>
                    <a:pt x="0" y="452201"/>
                  </a:lnTo>
                  <a:lnTo>
                    <a:pt x="0" y="0"/>
                  </a:lnTo>
                  <a:lnTo>
                    <a:pt x="31309" y="0"/>
                  </a:lnTo>
                  <a:lnTo>
                    <a:pt x="31309" y="45220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92" name="Freihandform: Form 291">
              <a:extLst>
                <a:ext uri="{FF2B5EF4-FFF2-40B4-BE49-F238E27FC236}">
                  <a16:creationId xmlns:a16="http://schemas.microsoft.com/office/drawing/2014/main" id="{CAA87110-575D-4D1F-A310-D946F13A5FF3}"/>
                </a:ext>
              </a:extLst>
            </p:cNvPr>
            <p:cNvSpPr/>
            <p:nvPr/>
          </p:nvSpPr>
          <p:spPr>
            <a:xfrm>
              <a:off x="8970820" y="2968545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8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3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8 w 398768"/>
                <a:gd name="connsiteY9" fmla="*/ 0 h 324184"/>
                <a:gd name="connsiteX10" fmla="*/ 317260 w 398768"/>
                <a:gd name="connsiteY10" fmla="*/ 324185 h 324184"/>
                <a:gd name="connsiteX11" fmla="*/ 257857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8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3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8" y="0"/>
                  </a:lnTo>
                  <a:lnTo>
                    <a:pt x="317260" y="324185"/>
                  </a:lnTo>
                  <a:lnTo>
                    <a:pt x="257857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93" name="Freihandform: Form 292">
              <a:extLst>
                <a:ext uri="{FF2B5EF4-FFF2-40B4-BE49-F238E27FC236}">
                  <a16:creationId xmlns:a16="http://schemas.microsoft.com/office/drawing/2014/main" id="{284BB8DF-265D-4207-A163-D86AF4D1D7FF}"/>
                </a:ext>
              </a:extLst>
            </p:cNvPr>
            <p:cNvSpPr/>
            <p:nvPr/>
          </p:nvSpPr>
          <p:spPr>
            <a:xfrm>
              <a:off x="941575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94" name="Freihandform: Form 293">
              <a:extLst>
                <a:ext uri="{FF2B5EF4-FFF2-40B4-BE49-F238E27FC236}">
                  <a16:creationId xmlns:a16="http://schemas.microsoft.com/office/drawing/2014/main" id="{4DB9C8B7-8322-4B56-AFD9-905DC7EF49E5}"/>
                </a:ext>
              </a:extLst>
            </p:cNvPr>
            <p:cNvSpPr/>
            <p:nvPr/>
          </p:nvSpPr>
          <p:spPr>
            <a:xfrm>
              <a:off x="9528805" y="2963018"/>
              <a:ext cx="227486" cy="335246"/>
            </a:xfrm>
            <a:custGeom>
              <a:avLst/>
              <a:gdLst>
                <a:gd name="connsiteX0" fmla="*/ 36383 w 227486"/>
                <a:gd name="connsiteY0" fmla="*/ 245900 h 335246"/>
                <a:gd name="connsiteX1" fmla="*/ 116971 w 227486"/>
                <a:gd name="connsiteY1" fmla="*/ 282283 h 335246"/>
                <a:gd name="connsiteX2" fmla="*/ 169466 w 227486"/>
                <a:gd name="connsiteY2" fmla="*/ 241755 h 335246"/>
                <a:gd name="connsiteX3" fmla="*/ 10601 w 227486"/>
                <a:gd name="connsiteY3" fmla="*/ 93944 h 335246"/>
                <a:gd name="connsiteX4" fmla="*/ 120656 w 227486"/>
                <a:gd name="connsiteY4" fmla="*/ 0 h 335246"/>
                <a:gd name="connsiteX5" fmla="*/ 225183 w 227486"/>
                <a:gd name="connsiteY5" fmla="*/ 39147 h 335246"/>
                <a:gd name="connsiteX6" fmla="*/ 188808 w 227486"/>
                <a:gd name="connsiteY6" fmla="*/ 83812 h 335246"/>
                <a:gd name="connsiteX7" fmla="*/ 117884 w 227486"/>
                <a:gd name="connsiteY7" fmla="*/ 52503 h 335246"/>
                <a:gd name="connsiteX8" fmla="*/ 68613 w 227486"/>
                <a:gd name="connsiteY8" fmla="*/ 88886 h 335246"/>
                <a:gd name="connsiteX9" fmla="*/ 227486 w 227486"/>
                <a:gd name="connsiteY9" fmla="*/ 237158 h 335246"/>
                <a:gd name="connsiteX10" fmla="*/ 115590 w 227486"/>
                <a:gd name="connsiteY10" fmla="*/ 335246 h 335246"/>
                <a:gd name="connsiteX11" fmla="*/ 0 w 227486"/>
                <a:gd name="connsiteY11" fmla="*/ 290573 h 335246"/>
                <a:gd name="connsiteX12" fmla="*/ 36383 w 227486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86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71" y="282283"/>
                  </a:cubicBezTo>
                  <a:cubicBezTo>
                    <a:pt x="147359" y="282283"/>
                    <a:pt x="169466" y="265243"/>
                    <a:pt x="169466" y="241755"/>
                  </a:cubicBezTo>
                  <a:cubicBezTo>
                    <a:pt x="169466" y="179589"/>
                    <a:pt x="10601" y="198932"/>
                    <a:pt x="10601" y="93944"/>
                  </a:cubicBezTo>
                  <a:cubicBezTo>
                    <a:pt x="10601" y="38226"/>
                    <a:pt x="55727" y="0"/>
                    <a:pt x="120656" y="0"/>
                  </a:cubicBezTo>
                  <a:cubicBezTo>
                    <a:pt x="159342" y="0"/>
                    <a:pt x="195256" y="13356"/>
                    <a:pt x="225183" y="39147"/>
                  </a:cubicBezTo>
                  <a:lnTo>
                    <a:pt x="188808" y="83812"/>
                  </a:lnTo>
                  <a:cubicBezTo>
                    <a:pt x="165321" y="63087"/>
                    <a:pt x="141841" y="52503"/>
                    <a:pt x="117884" y="52503"/>
                  </a:cubicBezTo>
                  <a:cubicBezTo>
                    <a:pt x="89339" y="52503"/>
                    <a:pt x="68613" y="67692"/>
                    <a:pt x="68613" y="88886"/>
                  </a:cubicBezTo>
                  <a:cubicBezTo>
                    <a:pt x="68613" y="147359"/>
                    <a:pt x="227486" y="128024"/>
                    <a:pt x="227486" y="237158"/>
                  </a:cubicBezTo>
                  <a:cubicBezTo>
                    <a:pt x="227486" y="295639"/>
                    <a:pt x="182352" y="335246"/>
                    <a:pt x="115590" y="335246"/>
                  </a:cubicBezTo>
                  <a:cubicBezTo>
                    <a:pt x="72767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95" name="Freihandform: Form 294">
              <a:extLst>
                <a:ext uri="{FF2B5EF4-FFF2-40B4-BE49-F238E27FC236}">
                  <a16:creationId xmlns:a16="http://schemas.microsoft.com/office/drawing/2014/main" id="{17E12F20-0FCA-412C-B4C2-F749AFFCAD6E}"/>
                </a:ext>
              </a:extLst>
            </p:cNvPr>
            <p:cNvSpPr/>
            <p:nvPr/>
          </p:nvSpPr>
          <p:spPr>
            <a:xfrm>
              <a:off x="9804959" y="3052356"/>
              <a:ext cx="225636" cy="245908"/>
            </a:xfrm>
            <a:custGeom>
              <a:avLst/>
              <a:gdLst>
                <a:gd name="connsiteX0" fmla="*/ 0 w 225636"/>
                <a:gd name="connsiteY0" fmla="*/ 122950 h 245908"/>
                <a:gd name="connsiteX1" fmla="*/ 113739 w 225636"/>
                <a:gd name="connsiteY1" fmla="*/ 0 h 245908"/>
                <a:gd name="connsiteX2" fmla="*/ 225636 w 225636"/>
                <a:gd name="connsiteY2" fmla="*/ 122950 h 245908"/>
                <a:gd name="connsiteX3" fmla="*/ 113739 w 225636"/>
                <a:gd name="connsiteY3" fmla="*/ 245908 h 245908"/>
                <a:gd name="connsiteX4" fmla="*/ 0 w 225636"/>
                <a:gd name="connsiteY4" fmla="*/ 122950 h 245908"/>
                <a:gd name="connsiteX5" fmla="*/ 171300 w 225636"/>
                <a:gd name="connsiteY5" fmla="*/ 123410 h 245908"/>
                <a:gd name="connsiteX6" fmla="*/ 112818 w 225636"/>
                <a:gd name="connsiteY6" fmla="*/ 49731 h 245908"/>
                <a:gd name="connsiteX7" fmla="*/ 54345 w 225636"/>
                <a:gd name="connsiteY7" fmla="*/ 122481 h 245908"/>
                <a:gd name="connsiteX8" fmla="*/ 113287 w 225636"/>
                <a:gd name="connsiteY8" fmla="*/ 196621 h 245908"/>
                <a:gd name="connsiteX9" fmla="*/ 171300 w 225636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36" h="245908">
                  <a:moveTo>
                    <a:pt x="0" y="122950"/>
                  </a:moveTo>
                  <a:cubicBezTo>
                    <a:pt x="0" y="49270"/>
                    <a:pt x="45586" y="0"/>
                    <a:pt x="113739" y="0"/>
                  </a:cubicBezTo>
                  <a:cubicBezTo>
                    <a:pt x="181431" y="0"/>
                    <a:pt x="225636" y="48349"/>
                    <a:pt x="225636" y="122950"/>
                  </a:cubicBezTo>
                  <a:cubicBezTo>
                    <a:pt x="225636" y="196629"/>
                    <a:pt x="181884" y="245908"/>
                    <a:pt x="113739" y="245908"/>
                  </a:cubicBezTo>
                  <a:cubicBezTo>
                    <a:pt x="46047" y="245900"/>
                    <a:pt x="0" y="197090"/>
                    <a:pt x="0" y="122950"/>
                  </a:cubicBezTo>
                  <a:close/>
                  <a:moveTo>
                    <a:pt x="171300" y="123410"/>
                  </a:moveTo>
                  <a:cubicBezTo>
                    <a:pt x="171300" y="77824"/>
                    <a:pt x="148741" y="49731"/>
                    <a:pt x="112818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03" y="196621"/>
                    <a:pt x="113287" y="196621"/>
                  </a:cubicBezTo>
                  <a:cubicBezTo>
                    <a:pt x="149193" y="196629"/>
                    <a:pt x="171300" y="168536"/>
                    <a:pt x="171300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</p:grp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1" y="2354713"/>
            <a:ext cx="5039989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20" y="2354713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1" y="4525378"/>
            <a:ext cx="5039989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20" y="4525378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1" y="3078268"/>
            <a:ext cx="5039989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20" y="3078268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1" y="3801823"/>
            <a:ext cx="5039989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20" y="3801823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1" y="5248932"/>
            <a:ext cx="5039989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20" y="5248932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5"/>
            <a:ext cx="5039873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3" y="1632185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5"/>
            <a:ext cx="5039873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3" y="2355535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2"/>
            <a:ext cx="5039873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3" y="4525582"/>
            <a:ext cx="30784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4"/>
            <a:ext cx="5039873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3" y="3078884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3"/>
            <a:ext cx="5039873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3" y="3802233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2"/>
            <a:ext cx="5039873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3" y="5248932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6"/>
            <a:ext cx="6844386" cy="29918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6" cy="224870"/>
          </a:xfrm>
        </p:spPr>
        <p:txBody>
          <a:bodyPr wrap="square">
            <a:spAutoFit/>
          </a:bodyPr>
          <a:lstStyle>
            <a:lvl1pPr>
              <a:defRPr sz="144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1" y="1631156"/>
            <a:ext cx="5039989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20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7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72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2519410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DC6F78-0142-493C-81EB-3432612FA901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9" name="Bildplatzhalter 8">
            <a:extLst>
              <a:ext uri="{FF2B5EF4-FFF2-40B4-BE49-F238E27FC236}">
                <a16:creationId xmlns:a16="http://schemas.microsoft.com/office/drawing/2014/main" id="{C307E1A8-BB91-4A01-9481-49FD8B5663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30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40" name="Textplatzhalter 10">
            <a:extLst>
              <a:ext uri="{FF2B5EF4-FFF2-40B4-BE49-F238E27FC236}">
                <a16:creationId xmlns:a16="http://schemas.microsoft.com/office/drawing/2014/main" id="{7ADEC47A-086D-40D0-ACA4-69135933812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30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26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814385D7-3CBE-40E3-B67F-C8C515F3C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1" y="2354713"/>
            <a:ext cx="5039989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BF0108A6-83E5-4EB1-9FFE-599D1B8CC3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20" y="2354713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267C2477-3228-475F-AFD7-A441A08AAE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1" y="4525378"/>
            <a:ext cx="5039989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372EDABB-0CB3-495E-B38E-EBB187C3F0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20" y="4525378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F8DE391A-D3CD-46A0-9DA6-BE18B632C9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1" y="3078268"/>
            <a:ext cx="5039989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22FFA5-3E37-4F35-A696-49186B6B11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20" y="3078268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BFD50D54-7BD1-4F76-8C9C-C2D77E5924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1" y="3801823"/>
            <a:ext cx="5039989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1CB17604-E112-4197-B54C-292891529D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20" y="3801823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D30B4D90-1B5E-403E-AD31-C320040320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1" y="5248932"/>
            <a:ext cx="5039989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72B1944A-640B-4200-A785-CFA163F7181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20" y="5248932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CB7BBA-6A53-45DD-882E-1DF6A99780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1" y="1631156"/>
            <a:ext cx="5039989" cy="281103"/>
          </a:xfrm>
        </p:spPr>
        <p:txBody>
          <a:bodyPr wrap="square">
            <a:noAutofit/>
          </a:bodyPr>
          <a:lstStyle>
            <a:lvl1pPr>
              <a:defRPr sz="162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E56B6C1-047C-44D7-B1DD-8B723581E0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20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62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8F4DFED6-EBAA-4D0C-A5C6-CD2902883FB9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7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72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65D3C98-AF8F-400F-858D-1D6CD4B95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48A61E00-2C71-4160-8106-B46A2E72025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6" cy="224870"/>
          </a:xfrm>
        </p:spPr>
        <p:txBody>
          <a:bodyPr wrap="square">
            <a:spAutoFit/>
          </a:bodyPr>
          <a:lstStyle>
            <a:lvl1pPr>
              <a:defRPr sz="144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760054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/>
              <a:t>Kapiteltrenner</a:t>
            </a:r>
            <a:br>
              <a:rPr lang="de-DE"/>
            </a:br>
            <a:r>
              <a:rPr lang="de-DE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444903-923D-4B2A-A382-CD9330EAD3FE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rgbClr val="971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7987594-F169-42FB-8839-77BF8D405E37}"/>
              </a:ext>
            </a:extLst>
          </p:cNvPr>
          <p:cNvSpPr/>
          <p:nvPr userDrawn="1"/>
        </p:nvSpPr>
        <p:spPr>
          <a:xfrm>
            <a:off x="518400" y="1196733"/>
            <a:ext cx="11676062" cy="72000"/>
          </a:xfrm>
          <a:prstGeom prst="rect">
            <a:avLst/>
          </a:prstGeom>
          <a:solidFill>
            <a:srgbClr val="971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9A6E8BA9-5951-4163-8A80-4621C65DA816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133350" y="2711163"/>
            <a:chExt cx="333375" cy="136812"/>
          </a:xfrm>
        </p:grpSpPr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59DAB7DF-1308-4B09-91FE-7DF38D6584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87654828-5D94-4A05-BD5F-25792A149E05}"/>
                </a:ext>
              </a:extLst>
            </p:cNvPr>
            <p:cNvSpPr txBox="1"/>
            <p:nvPr userDrawn="1"/>
          </p:nvSpPr>
          <p:spPr>
            <a:xfrm>
              <a:off x="-96506" y="271116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9D3F2F75-1623-4F64-97FE-EA0C4D9FABDC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133350" y="2711163"/>
            <a:chExt cx="333375" cy="136812"/>
          </a:xfrm>
        </p:grpSpPr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B042E0F0-49A6-465F-A607-A4C2EFB548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9D612980-2A2D-4E94-8238-9C67C608554C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2CE76F8C-9B22-4BB3-B2D6-15EC2A58C7A7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133350" y="2711163"/>
            <a:chExt cx="333375" cy="136812"/>
          </a:xfrm>
        </p:grpSpPr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9C843E82-BEFA-4CF2-BA2F-3C80060D316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4762BE88-2459-479F-84FF-4DF483AA142C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104E26F8-EA1A-4C6F-92E1-8F6F98ABFA13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133350" y="2711163"/>
            <a:chExt cx="333375" cy="136812"/>
          </a:xfrm>
        </p:grpSpPr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1A8A854C-301D-4327-AEA2-BCC20A887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5A547124-456E-49C6-8FC8-111D0AAFEB7F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73B26B5D-1FEC-45B5-B34A-6A1B50955F0E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133350" y="2711163"/>
            <a:chExt cx="333375" cy="136812"/>
          </a:xfrm>
        </p:grpSpPr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3423A679-4F5C-456E-AB6C-7A18EA3E5B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69754FAD-5E71-4087-B3E8-0FEC37E0D864}"/>
                </a:ext>
              </a:extLst>
            </p:cNvPr>
            <p:cNvSpPr txBox="1"/>
            <p:nvPr userDrawn="1"/>
          </p:nvSpPr>
          <p:spPr>
            <a:xfrm>
              <a:off x="-96504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7C156EC4-BDB3-4DEA-9B78-E98FCFD2F54B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133350" y="2711163"/>
            <a:chExt cx="333375" cy="136812"/>
          </a:xfrm>
        </p:grpSpPr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9E9C384D-D46B-429F-9A97-86F6E3560F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64B7918E-86D1-49EB-8917-1468D42A6E25}"/>
                </a:ext>
              </a:extLst>
            </p:cNvPr>
            <p:cNvSpPr txBox="1"/>
            <p:nvPr userDrawn="1"/>
          </p:nvSpPr>
          <p:spPr>
            <a:xfrm>
              <a:off x="-96503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750A6733-FD78-4442-98B4-E2BED64B460F}"/>
              </a:ext>
            </a:extLst>
          </p:cNvPr>
          <p:cNvGrpSpPr/>
          <p:nvPr userDrawn="1"/>
        </p:nvGrpSpPr>
        <p:grpSpPr>
          <a:xfrm rot="16200000">
            <a:off x="281643" y="-299136"/>
            <a:ext cx="333375" cy="136808"/>
            <a:chOff x="-133350" y="2711167"/>
            <a:chExt cx="333375" cy="136808"/>
          </a:xfrm>
        </p:grpSpPr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77BB574D-D198-49E4-874D-732C0CBD5BF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67A72ACB-A6A0-450F-A8F3-9CA35EFC5560}"/>
                </a:ext>
              </a:extLst>
            </p:cNvPr>
            <p:cNvSpPr txBox="1"/>
            <p:nvPr userDrawn="1"/>
          </p:nvSpPr>
          <p:spPr>
            <a:xfrm>
              <a:off x="-96507" y="271116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C4970FA2-8D2D-462F-BD21-BDE052DC5824}"/>
              </a:ext>
            </a:extLst>
          </p:cNvPr>
          <p:cNvGrpSpPr/>
          <p:nvPr userDrawn="1"/>
        </p:nvGrpSpPr>
        <p:grpSpPr>
          <a:xfrm rot="16200000">
            <a:off x="5752963" y="-299136"/>
            <a:ext cx="333375" cy="136804"/>
            <a:chOff x="-133350" y="2711171"/>
            <a:chExt cx="333375" cy="136804"/>
          </a:xfrm>
        </p:grpSpPr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A7C30986-FB99-416E-BC3E-3BAEC067C1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4CE018F4-A860-49B3-B4CD-A328759F15C6}"/>
                </a:ext>
              </a:extLst>
            </p:cNvPr>
            <p:cNvSpPr txBox="1"/>
            <p:nvPr userDrawn="1"/>
          </p:nvSpPr>
          <p:spPr>
            <a:xfrm>
              <a:off x="-96504" y="271117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7C2BACBD-0A67-4A9A-B5DC-10C76F5DE4C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416680" y="-397424"/>
            <a:chExt cx="124906" cy="333375"/>
          </a:xfrm>
        </p:grpSpPr>
        <p:cxnSp>
          <p:nvCxnSpPr>
            <p:cNvPr id="85" name="Gerader Verbinder 84">
              <a:extLst>
                <a:ext uri="{FF2B5EF4-FFF2-40B4-BE49-F238E27FC236}">
                  <a16:creationId xmlns:a16="http://schemas.microsoft.com/office/drawing/2014/main" id="{65F81584-9968-42FA-B3A9-1C13CEAE92A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B6D353C6-61DE-4475-8AC6-6D8AF12D49FB}"/>
                </a:ext>
              </a:extLst>
            </p:cNvPr>
            <p:cNvSpPr txBox="1"/>
            <p:nvPr userDrawn="1"/>
          </p:nvSpPr>
          <p:spPr>
            <a:xfrm rot="16200000">
              <a:off x="634928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935008F2-D1D5-498F-9932-727B677C0ADE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3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9E72FA59-B055-4F1F-8F32-E797C18F96F9}"/>
              </a:ext>
            </a:extLst>
          </p:cNvPr>
          <p:cNvGrpSpPr/>
          <p:nvPr userDrawn="1"/>
        </p:nvGrpSpPr>
        <p:grpSpPr>
          <a:xfrm rot="16200000">
            <a:off x="11447325" y="-299139"/>
            <a:ext cx="333375" cy="136800"/>
            <a:chOff x="-133350" y="2711175"/>
            <a:chExt cx="333375" cy="136800"/>
          </a:xfrm>
        </p:grpSpPr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B89FA96C-C88D-4C6A-BE88-F3E3083BC5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feld 89">
              <a:extLst>
                <a:ext uri="{FF2B5EF4-FFF2-40B4-BE49-F238E27FC236}">
                  <a16:creationId xmlns:a16="http://schemas.microsoft.com/office/drawing/2014/main" id="{CD67028C-ACEA-4E1C-BF3F-B09177D4335E}"/>
                </a:ext>
              </a:extLst>
            </p:cNvPr>
            <p:cNvSpPr txBox="1"/>
            <p:nvPr userDrawn="1"/>
          </p:nvSpPr>
          <p:spPr>
            <a:xfrm>
              <a:off x="-96501" y="2711175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23" name="Grafik 3">
            <a:extLst>
              <a:ext uri="{FF2B5EF4-FFF2-40B4-BE49-F238E27FC236}">
                <a16:creationId xmlns:a16="http://schemas.microsoft.com/office/drawing/2014/main" id="{FF4D5521-B071-6745-B2F3-87EA82C9635E}"/>
              </a:ext>
            </a:extLst>
          </p:cNvPr>
          <p:cNvGrpSpPr/>
          <p:nvPr userDrawn="1"/>
        </p:nvGrpSpPr>
        <p:grpSpPr>
          <a:xfrm>
            <a:off x="510639" y="293688"/>
            <a:ext cx="2631832" cy="563562"/>
            <a:chOff x="4011188" y="1936931"/>
            <a:chExt cx="6776742" cy="1451124"/>
          </a:xfrm>
          <a:solidFill>
            <a:schemeClr val="tx1"/>
          </a:solidFill>
        </p:grpSpPr>
        <p:sp>
          <p:nvSpPr>
            <p:cNvPr id="124" name="Freihandform: Form 213">
              <a:extLst>
                <a:ext uri="{FF2B5EF4-FFF2-40B4-BE49-F238E27FC236}">
                  <a16:creationId xmlns:a16="http://schemas.microsoft.com/office/drawing/2014/main" id="{BBC0E53F-3775-A841-91AA-38C36E916E2F}"/>
                </a:ext>
              </a:extLst>
            </p:cNvPr>
            <p:cNvSpPr/>
            <p:nvPr/>
          </p:nvSpPr>
          <p:spPr>
            <a:xfrm>
              <a:off x="4034676" y="1955336"/>
              <a:ext cx="203537" cy="324184"/>
            </a:xfrm>
            <a:custGeom>
              <a:avLst/>
              <a:gdLst>
                <a:gd name="connsiteX0" fmla="*/ 203538 w 203537"/>
                <a:gd name="connsiteY0" fmla="*/ 52963 h 324184"/>
                <a:gd name="connsiteX1" fmla="*/ 57561 w 203537"/>
                <a:gd name="connsiteY1" fmla="*/ 52963 h 324184"/>
                <a:gd name="connsiteX2" fmla="*/ 57561 w 203537"/>
                <a:gd name="connsiteY2" fmla="*/ 133551 h 324184"/>
                <a:gd name="connsiteX3" fmla="*/ 166694 w 203537"/>
                <a:gd name="connsiteY3" fmla="*/ 133551 h 324184"/>
                <a:gd name="connsiteX4" fmla="*/ 166694 w 203537"/>
                <a:gd name="connsiteY4" fmla="*/ 186045 h 324184"/>
                <a:gd name="connsiteX5" fmla="*/ 57561 w 203537"/>
                <a:gd name="connsiteY5" fmla="*/ 186045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63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63"/>
                  </a:moveTo>
                  <a:lnTo>
                    <a:pt x="57561" y="52963"/>
                  </a:lnTo>
                  <a:lnTo>
                    <a:pt x="57561" y="133551"/>
                  </a:lnTo>
                  <a:lnTo>
                    <a:pt x="166694" y="133551"/>
                  </a:lnTo>
                  <a:lnTo>
                    <a:pt x="166694" y="186045"/>
                  </a:lnTo>
                  <a:lnTo>
                    <a:pt x="57561" y="186045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6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5" name="Freihandform: Form 214">
              <a:extLst>
                <a:ext uri="{FF2B5EF4-FFF2-40B4-BE49-F238E27FC236}">
                  <a16:creationId xmlns:a16="http://schemas.microsoft.com/office/drawing/2014/main" id="{ABBDBB9D-3FFE-8A48-9EF3-A0A275A6710B}"/>
                </a:ext>
              </a:extLst>
            </p:cNvPr>
            <p:cNvSpPr/>
            <p:nvPr/>
          </p:nvSpPr>
          <p:spPr>
            <a:xfrm>
              <a:off x="426950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94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84 w 141832"/>
                <a:gd name="connsiteY7" fmla="*/ 5979 h 240364"/>
                <a:gd name="connsiteX8" fmla="*/ 53884 w 141832"/>
                <a:gd name="connsiteY8" fmla="*/ 35454 h 240364"/>
                <a:gd name="connsiteX9" fmla="*/ 54797 w 141832"/>
                <a:gd name="connsiteY9" fmla="*/ 35454 h 240364"/>
                <a:gd name="connsiteX10" fmla="*/ 116041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800" y="56631"/>
                    <a:pt x="114668" y="53868"/>
                    <a:pt x="102694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84" y="5979"/>
                  </a:lnTo>
                  <a:lnTo>
                    <a:pt x="53884" y="35454"/>
                  </a:lnTo>
                  <a:lnTo>
                    <a:pt x="54797" y="35454"/>
                  </a:lnTo>
                  <a:cubicBezTo>
                    <a:pt x="67232" y="13348"/>
                    <a:pt x="89338" y="0"/>
                    <a:pt x="116041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6" name="Freihandform: Form 215">
              <a:extLst>
                <a:ext uri="{FF2B5EF4-FFF2-40B4-BE49-F238E27FC236}">
                  <a16:creationId xmlns:a16="http://schemas.microsoft.com/office/drawing/2014/main" id="{3B6212E7-380B-A948-BA31-FE2173B4FCA4}"/>
                </a:ext>
              </a:extLst>
            </p:cNvPr>
            <p:cNvSpPr/>
            <p:nvPr/>
          </p:nvSpPr>
          <p:spPr>
            <a:xfrm>
              <a:off x="4450268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5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5 w 69542"/>
                <a:gd name="connsiteY8" fmla="*/ 104076 h 338461"/>
                <a:gd name="connsiteX9" fmla="*/ 62175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76" y="0"/>
                    <a:pt x="69543" y="14277"/>
                    <a:pt x="69543" y="33160"/>
                  </a:cubicBezTo>
                  <a:close/>
                  <a:moveTo>
                    <a:pt x="6217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5" y="104076"/>
                  </a:lnTo>
                  <a:lnTo>
                    <a:pt x="62175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7" name="Freihandform: Form 216">
              <a:extLst>
                <a:ext uri="{FF2B5EF4-FFF2-40B4-BE49-F238E27FC236}">
                  <a16:creationId xmlns:a16="http://schemas.microsoft.com/office/drawing/2014/main" id="{FA8A5BEB-CB56-6D40-96B5-989006947976}"/>
                </a:ext>
              </a:extLst>
            </p:cNvPr>
            <p:cNvSpPr/>
            <p:nvPr/>
          </p:nvSpPr>
          <p:spPr>
            <a:xfrm>
              <a:off x="4570153" y="2039148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6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8"/>
                    <a:pt x="83360" y="198924"/>
                    <a:pt x="116511" y="198924"/>
                  </a:cubicBezTo>
                  <a:cubicBezTo>
                    <a:pt x="138157" y="198924"/>
                    <a:pt x="155657" y="190634"/>
                    <a:pt x="174079" y="171291"/>
                  </a:cubicBezTo>
                  <a:lnTo>
                    <a:pt x="208152" y="207214"/>
                  </a:lnTo>
                  <a:cubicBezTo>
                    <a:pt x="181431" y="233465"/>
                    <a:pt x="151495" y="245900"/>
                    <a:pt x="116042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6"/>
                    <a:pt x="109125" y="45126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8" name="Freihandform: Form 217">
              <a:extLst>
                <a:ext uri="{FF2B5EF4-FFF2-40B4-BE49-F238E27FC236}">
                  <a16:creationId xmlns:a16="http://schemas.microsoft.com/office/drawing/2014/main" id="{CCD05151-9893-CC4B-A748-4DC6D4396DC8}"/>
                </a:ext>
              </a:extLst>
            </p:cNvPr>
            <p:cNvSpPr/>
            <p:nvPr/>
          </p:nvSpPr>
          <p:spPr>
            <a:xfrm>
              <a:off x="4831929" y="1936931"/>
              <a:ext cx="219187" cy="348116"/>
            </a:xfrm>
            <a:custGeom>
              <a:avLst/>
              <a:gdLst>
                <a:gd name="connsiteX0" fmla="*/ 0 w 219187"/>
                <a:gd name="connsiteY0" fmla="*/ 224706 h 348116"/>
                <a:gd name="connsiteX1" fmla="*/ 95317 w 219187"/>
                <a:gd name="connsiteY1" fmla="*/ 102217 h 348116"/>
                <a:gd name="connsiteX2" fmla="*/ 163478 w 219187"/>
                <a:gd name="connsiteY2" fmla="*/ 133986 h 348116"/>
                <a:gd name="connsiteX3" fmla="*/ 164391 w 219187"/>
                <a:gd name="connsiteY3" fmla="*/ 133986 h 348116"/>
                <a:gd name="connsiteX4" fmla="*/ 164391 w 219187"/>
                <a:gd name="connsiteY4" fmla="*/ 13808 h 348116"/>
                <a:gd name="connsiteX5" fmla="*/ 219188 w 219187"/>
                <a:gd name="connsiteY5" fmla="*/ 0 h 348116"/>
                <a:gd name="connsiteX6" fmla="*/ 219188 w 219187"/>
                <a:gd name="connsiteY6" fmla="*/ 342590 h 348116"/>
                <a:gd name="connsiteX7" fmla="*/ 165773 w 219187"/>
                <a:gd name="connsiteY7" fmla="*/ 342590 h 348116"/>
                <a:gd name="connsiteX8" fmla="*/ 165773 w 219187"/>
                <a:gd name="connsiteY8" fmla="*/ 314957 h 348116"/>
                <a:gd name="connsiteX9" fmla="*/ 164851 w 219187"/>
                <a:gd name="connsiteY9" fmla="*/ 314957 h 348116"/>
                <a:gd name="connsiteX10" fmla="*/ 94404 w 219187"/>
                <a:gd name="connsiteY10" fmla="*/ 348117 h 348116"/>
                <a:gd name="connsiteX11" fmla="*/ 0 w 219187"/>
                <a:gd name="connsiteY11" fmla="*/ 224706 h 348116"/>
                <a:gd name="connsiteX12" fmla="*/ 54328 w 219187"/>
                <a:gd name="connsiteY12" fmla="*/ 224706 h 348116"/>
                <a:gd name="connsiteX13" fmla="*/ 108664 w 219187"/>
                <a:gd name="connsiteY13" fmla="*/ 299767 h 348116"/>
                <a:gd name="connsiteX14" fmla="*/ 164383 w 219187"/>
                <a:gd name="connsiteY14" fmla="*/ 268911 h 348116"/>
                <a:gd name="connsiteX15" fmla="*/ 164383 w 219187"/>
                <a:gd name="connsiteY15" fmla="*/ 183265 h 348116"/>
                <a:gd name="connsiteX16" fmla="*/ 108664 w 219187"/>
                <a:gd name="connsiteY16" fmla="*/ 151956 h 348116"/>
                <a:gd name="connsiteX17" fmla="*/ 54328 w 219187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87" h="348116">
                  <a:moveTo>
                    <a:pt x="0" y="224706"/>
                  </a:moveTo>
                  <a:cubicBezTo>
                    <a:pt x="0" y="149185"/>
                    <a:pt x="38217" y="102217"/>
                    <a:pt x="95317" y="102217"/>
                  </a:cubicBezTo>
                  <a:cubicBezTo>
                    <a:pt x="124792" y="102217"/>
                    <a:pt x="147819" y="114643"/>
                    <a:pt x="163478" y="133986"/>
                  </a:cubicBezTo>
                  <a:lnTo>
                    <a:pt x="164391" y="133986"/>
                  </a:lnTo>
                  <a:lnTo>
                    <a:pt x="164391" y="13808"/>
                  </a:lnTo>
                  <a:lnTo>
                    <a:pt x="219188" y="0"/>
                  </a:lnTo>
                  <a:lnTo>
                    <a:pt x="219188" y="342590"/>
                  </a:lnTo>
                  <a:lnTo>
                    <a:pt x="165773" y="342590"/>
                  </a:lnTo>
                  <a:lnTo>
                    <a:pt x="165773" y="314957"/>
                  </a:lnTo>
                  <a:lnTo>
                    <a:pt x="164851" y="314957"/>
                  </a:lnTo>
                  <a:cubicBezTo>
                    <a:pt x="147819" y="335682"/>
                    <a:pt x="123410" y="348117"/>
                    <a:pt x="94404" y="348117"/>
                  </a:cubicBezTo>
                  <a:cubicBezTo>
                    <a:pt x="38677" y="348117"/>
                    <a:pt x="0" y="300689"/>
                    <a:pt x="0" y="224706"/>
                  </a:cubicBezTo>
                  <a:close/>
                  <a:moveTo>
                    <a:pt x="54328" y="224706"/>
                  </a:moveTo>
                  <a:cubicBezTo>
                    <a:pt x="54328" y="272595"/>
                    <a:pt x="74131" y="299767"/>
                    <a:pt x="108664" y="299767"/>
                  </a:cubicBezTo>
                  <a:cubicBezTo>
                    <a:pt x="129849" y="299767"/>
                    <a:pt x="147351" y="289635"/>
                    <a:pt x="164383" y="268911"/>
                  </a:cubicBezTo>
                  <a:lnTo>
                    <a:pt x="164383" y="183265"/>
                  </a:lnTo>
                  <a:cubicBezTo>
                    <a:pt x="148732" y="162088"/>
                    <a:pt x="130762" y="151956"/>
                    <a:pt x="108664" y="151956"/>
                  </a:cubicBezTo>
                  <a:cubicBezTo>
                    <a:pt x="73210" y="151956"/>
                    <a:pt x="54328" y="177739"/>
                    <a:pt x="54328" y="224706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9" name="Freihandform: Form 218">
              <a:extLst>
                <a:ext uri="{FF2B5EF4-FFF2-40B4-BE49-F238E27FC236}">
                  <a16:creationId xmlns:a16="http://schemas.microsoft.com/office/drawing/2014/main" id="{1BAFAEF8-1C94-7C42-81CE-AE4E6CBFEAC1}"/>
                </a:ext>
              </a:extLst>
            </p:cNvPr>
            <p:cNvSpPr/>
            <p:nvPr/>
          </p:nvSpPr>
          <p:spPr>
            <a:xfrm>
              <a:off x="512248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86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7 w 141832"/>
                <a:gd name="connsiteY9" fmla="*/ 35454 h 240364"/>
                <a:gd name="connsiteX10" fmla="*/ 116033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792" y="56631"/>
                    <a:pt x="114660" y="53868"/>
                    <a:pt x="102686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3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0" name="Freihandform: Form 219">
              <a:extLst>
                <a:ext uri="{FF2B5EF4-FFF2-40B4-BE49-F238E27FC236}">
                  <a16:creationId xmlns:a16="http://schemas.microsoft.com/office/drawing/2014/main" id="{00515CC8-EBEB-E543-A5E2-525BDBE1C9C4}"/>
                </a:ext>
              </a:extLst>
            </p:cNvPr>
            <p:cNvSpPr/>
            <p:nvPr/>
          </p:nvSpPr>
          <p:spPr>
            <a:xfrm>
              <a:off x="5303239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" name="Freihandform: Form 220">
              <a:extLst>
                <a:ext uri="{FF2B5EF4-FFF2-40B4-BE49-F238E27FC236}">
                  <a16:creationId xmlns:a16="http://schemas.microsoft.com/office/drawing/2014/main" id="{AEE9879A-127B-694C-A008-BDCD0D133A6B}"/>
                </a:ext>
              </a:extLst>
            </p:cNvPr>
            <p:cNvSpPr/>
            <p:nvPr/>
          </p:nvSpPr>
          <p:spPr>
            <a:xfrm>
              <a:off x="5424179" y="2039156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2"/>
                    <a:pt x="112809" y="50192"/>
                  </a:cubicBezTo>
                  <a:cubicBezTo>
                    <a:pt x="78277" y="50192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71" y="196161"/>
                    <a:pt x="145509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" name="Freihandform: Form 221">
              <a:extLst>
                <a:ext uri="{FF2B5EF4-FFF2-40B4-BE49-F238E27FC236}">
                  <a16:creationId xmlns:a16="http://schemas.microsoft.com/office/drawing/2014/main" id="{01D04F60-2F45-DF4A-846C-5BA8950B70A3}"/>
                </a:ext>
              </a:extLst>
            </p:cNvPr>
            <p:cNvSpPr/>
            <p:nvPr/>
          </p:nvSpPr>
          <p:spPr>
            <a:xfrm>
              <a:off x="5668731" y="1936931"/>
              <a:ext cx="201695" cy="342590"/>
            </a:xfrm>
            <a:custGeom>
              <a:avLst/>
              <a:gdLst>
                <a:gd name="connsiteX0" fmla="*/ 201695 w 201695"/>
                <a:gd name="connsiteY0" fmla="*/ 342590 h 342590"/>
                <a:gd name="connsiteX1" fmla="*/ 146898 w 201695"/>
                <a:gd name="connsiteY1" fmla="*/ 342590 h 342590"/>
                <a:gd name="connsiteX2" fmla="*/ 146898 w 201695"/>
                <a:gd name="connsiteY2" fmla="*/ 208587 h 342590"/>
                <a:gd name="connsiteX3" fmla="*/ 103607 w 201695"/>
                <a:gd name="connsiteY3" fmla="*/ 151487 h 342590"/>
                <a:gd name="connsiteX4" fmla="*/ 54797 w 201695"/>
                <a:gd name="connsiteY4" fmla="*/ 208135 h 342590"/>
                <a:gd name="connsiteX5" fmla="*/ 54797 w 201695"/>
                <a:gd name="connsiteY5" fmla="*/ 342590 h 342590"/>
                <a:gd name="connsiteX6" fmla="*/ 0 w 201695"/>
                <a:gd name="connsiteY6" fmla="*/ 342590 h 342590"/>
                <a:gd name="connsiteX7" fmla="*/ 0 w 201695"/>
                <a:gd name="connsiteY7" fmla="*/ 13808 h 342590"/>
                <a:gd name="connsiteX8" fmla="*/ 54797 w 201695"/>
                <a:gd name="connsiteY8" fmla="*/ 0 h 342590"/>
                <a:gd name="connsiteX9" fmla="*/ 54797 w 201695"/>
                <a:gd name="connsiteY9" fmla="*/ 136298 h 342590"/>
                <a:gd name="connsiteX10" fmla="*/ 55718 w 201695"/>
                <a:gd name="connsiteY10" fmla="*/ 136298 h 342590"/>
                <a:gd name="connsiteX11" fmla="*/ 124323 w 201695"/>
                <a:gd name="connsiteY11" fmla="*/ 102225 h 342590"/>
                <a:gd name="connsiteX12" fmla="*/ 201687 w 201695"/>
                <a:gd name="connsiteY12" fmla="*/ 197082 h 342590"/>
                <a:gd name="connsiteX13" fmla="*/ 201687 w 201695"/>
                <a:gd name="connsiteY13" fmla="*/ 342590 h 34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0">
                  <a:moveTo>
                    <a:pt x="201695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297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0"/>
                  </a:lnTo>
                  <a:lnTo>
                    <a:pt x="0" y="342590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3" name="Freihandform: Form 222">
              <a:extLst>
                <a:ext uri="{FF2B5EF4-FFF2-40B4-BE49-F238E27FC236}">
                  <a16:creationId xmlns:a16="http://schemas.microsoft.com/office/drawing/2014/main" id="{683125DA-11AA-694D-9234-4F0C9EFD8683}"/>
                </a:ext>
              </a:extLst>
            </p:cNvPr>
            <p:cNvSpPr/>
            <p:nvPr/>
          </p:nvSpPr>
          <p:spPr>
            <a:xfrm>
              <a:off x="5933312" y="2109603"/>
              <a:ext cx="115120" cy="52033"/>
            </a:xfrm>
            <a:custGeom>
              <a:avLst/>
              <a:gdLst>
                <a:gd name="connsiteX0" fmla="*/ 115121 w 115120"/>
                <a:gd name="connsiteY0" fmla="*/ 52034 h 52033"/>
                <a:gd name="connsiteX1" fmla="*/ 0 w 115120"/>
                <a:gd name="connsiteY1" fmla="*/ 52034 h 52033"/>
                <a:gd name="connsiteX2" fmla="*/ 0 w 115120"/>
                <a:gd name="connsiteY2" fmla="*/ 0 h 52033"/>
                <a:gd name="connsiteX3" fmla="*/ 115121 w 115120"/>
                <a:gd name="connsiteY3" fmla="*/ 0 h 52033"/>
                <a:gd name="connsiteX4" fmla="*/ 115121 w 115120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20" h="52033">
                  <a:moveTo>
                    <a:pt x="115121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1" y="0"/>
                  </a:lnTo>
                  <a:lnTo>
                    <a:pt x="115121" y="52034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4" name="Freihandform: Form 223">
              <a:extLst>
                <a:ext uri="{FF2B5EF4-FFF2-40B4-BE49-F238E27FC236}">
                  <a16:creationId xmlns:a16="http://schemas.microsoft.com/office/drawing/2014/main" id="{B0535351-0DD8-D847-A81E-D438200F9F56}"/>
                </a:ext>
              </a:extLst>
            </p:cNvPr>
            <p:cNvSpPr/>
            <p:nvPr/>
          </p:nvSpPr>
          <p:spPr>
            <a:xfrm>
              <a:off x="6076636" y="1955336"/>
              <a:ext cx="302078" cy="324184"/>
            </a:xfrm>
            <a:custGeom>
              <a:avLst/>
              <a:gdLst>
                <a:gd name="connsiteX0" fmla="*/ 120647 w 302078"/>
                <a:gd name="connsiteY0" fmla="*/ 0 h 324184"/>
                <a:gd name="connsiteX1" fmla="*/ 181431 w 302078"/>
                <a:gd name="connsiteY1" fmla="*/ 0 h 324184"/>
                <a:gd name="connsiteX2" fmla="*/ 302079 w 302078"/>
                <a:gd name="connsiteY2" fmla="*/ 324185 h 324184"/>
                <a:gd name="connsiteX3" fmla="*/ 238991 w 302078"/>
                <a:gd name="connsiteY3" fmla="*/ 324185 h 324184"/>
                <a:gd name="connsiteX4" fmla="*/ 215503 w 302078"/>
                <a:gd name="connsiteY4" fmla="*/ 255111 h 324184"/>
                <a:gd name="connsiteX5" fmla="*/ 84732 w 302078"/>
                <a:gd name="connsiteY5" fmla="*/ 255111 h 324184"/>
                <a:gd name="connsiteX6" fmla="*/ 61244 w 302078"/>
                <a:gd name="connsiteY6" fmla="*/ 324185 h 324184"/>
                <a:gd name="connsiteX7" fmla="*/ 0 w 302078"/>
                <a:gd name="connsiteY7" fmla="*/ 324185 h 324184"/>
                <a:gd name="connsiteX8" fmla="*/ 120647 w 302078"/>
                <a:gd name="connsiteY8" fmla="*/ 0 h 324184"/>
                <a:gd name="connsiteX9" fmla="*/ 102686 w 302078"/>
                <a:gd name="connsiteY9" fmla="*/ 203538 h 324184"/>
                <a:gd name="connsiteX10" fmla="*/ 197542 w 302078"/>
                <a:gd name="connsiteY10" fmla="*/ 203538 h 324184"/>
                <a:gd name="connsiteX11" fmla="*/ 150575 w 302078"/>
                <a:gd name="connsiteY11" fmla="*/ 65859 h 324184"/>
                <a:gd name="connsiteX12" fmla="*/ 149654 w 302078"/>
                <a:gd name="connsiteY12" fmla="*/ 65859 h 324184"/>
                <a:gd name="connsiteX13" fmla="*/ 102686 w 302078"/>
                <a:gd name="connsiteY13" fmla="*/ 203538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2078" h="324184">
                  <a:moveTo>
                    <a:pt x="120647" y="0"/>
                  </a:moveTo>
                  <a:lnTo>
                    <a:pt x="181431" y="0"/>
                  </a:lnTo>
                  <a:lnTo>
                    <a:pt x="302079" y="324185"/>
                  </a:lnTo>
                  <a:lnTo>
                    <a:pt x="238991" y="324185"/>
                  </a:lnTo>
                  <a:lnTo>
                    <a:pt x="215503" y="255111"/>
                  </a:lnTo>
                  <a:lnTo>
                    <a:pt x="84732" y="255111"/>
                  </a:lnTo>
                  <a:lnTo>
                    <a:pt x="61244" y="324185"/>
                  </a:lnTo>
                  <a:lnTo>
                    <a:pt x="0" y="324185"/>
                  </a:lnTo>
                  <a:lnTo>
                    <a:pt x="120647" y="0"/>
                  </a:lnTo>
                  <a:close/>
                  <a:moveTo>
                    <a:pt x="102686" y="203538"/>
                  </a:moveTo>
                  <a:lnTo>
                    <a:pt x="197542" y="203538"/>
                  </a:lnTo>
                  <a:lnTo>
                    <a:pt x="150575" y="65859"/>
                  </a:lnTo>
                  <a:lnTo>
                    <a:pt x="149654" y="65859"/>
                  </a:lnTo>
                  <a:lnTo>
                    <a:pt x="102686" y="20353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5" name="Freihandform: Form 224">
              <a:extLst>
                <a:ext uri="{FF2B5EF4-FFF2-40B4-BE49-F238E27FC236}">
                  <a16:creationId xmlns:a16="http://schemas.microsoft.com/office/drawing/2014/main" id="{68DB16C0-1B4F-8A44-A787-1704117F6C05}"/>
                </a:ext>
              </a:extLst>
            </p:cNvPr>
            <p:cNvSpPr/>
            <p:nvPr/>
          </p:nvSpPr>
          <p:spPr>
            <a:xfrm>
              <a:off x="6426787" y="1937383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6" name="Freihandform: Form 225">
              <a:extLst>
                <a:ext uri="{FF2B5EF4-FFF2-40B4-BE49-F238E27FC236}">
                  <a16:creationId xmlns:a16="http://schemas.microsoft.com/office/drawing/2014/main" id="{656F1295-1E0B-5B49-B971-DBDF3083AA3A}"/>
                </a:ext>
              </a:extLst>
            </p:cNvPr>
            <p:cNvSpPr/>
            <p:nvPr/>
          </p:nvSpPr>
          <p:spPr>
            <a:xfrm>
              <a:off x="6541003" y="2039148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0 w 214130"/>
                <a:gd name="connsiteY3" fmla="*/ 119266 h 245899"/>
                <a:gd name="connsiteX4" fmla="*/ 213209 w 214130"/>
                <a:gd name="connsiteY4" fmla="*/ 141824 h 245899"/>
                <a:gd name="connsiteX5" fmla="*/ 55726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6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0" y="46968"/>
                    <a:pt x="214130" y="119266"/>
                  </a:cubicBezTo>
                  <a:cubicBezTo>
                    <a:pt x="214130" y="127095"/>
                    <a:pt x="213670" y="135385"/>
                    <a:pt x="213209" y="141824"/>
                  </a:cubicBezTo>
                  <a:lnTo>
                    <a:pt x="55726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31" y="233465"/>
                    <a:pt x="151487" y="245900"/>
                    <a:pt x="116033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72" y="65850"/>
                    <a:pt x="139990" y="45126"/>
                    <a:pt x="109134" y="45126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7" name="Freihandform: Form 226">
              <a:extLst>
                <a:ext uri="{FF2B5EF4-FFF2-40B4-BE49-F238E27FC236}">
                  <a16:creationId xmlns:a16="http://schemas.microsoft.com/office/drawing/2014/main" id="{A485CFF1-1C69-3E4C-B626-FEFD5E39BC3B}"/>
                </a:ext>
              </a:extLst>
            </p:cNvPr>
            <p:cNvSpPr/>
            <p:nvPr/>
          </p:nvSpPr>
          <p:spPr>
            <a:xfrm>
              <a:off x="6784224" y="2045127"/>
              <a:ext cx="224245" cy="234394"/>
            </a:xfrm>
            <a:custGeom>
              <a:avLst/>
              <a:gdLst>
                <a:gd name="connsiteX0" fmla="*/ 224245 w 224245"/>
                <a:gd name="connsiteY0" fmla="*/ 234395 h 234394"/>
                <a:gd name="connsiteX1" fmla="*/ 161619 w 224245"/>
                <a:gd name="connsiteY1" fmla="*/ 234395 h 234394"/>
                <a:gd name="connsiteX2" fmla="*/ 111427 w 224245"/>
                <a:gd name="connsiteY2" fmla="*/ 153346 h 234394"/>
                <a:gd name="connsiteX3" fmla="*/ 110515 w 224245"/>
                <a:gd name="connsiteY3" fmla="*/ 153346 h 234394"/>
                <a:gd name="connsiteX4" fmla="*/ 61697 w 224245"/>
                <a:gd name="connsiteY4" fmla="*/ 234395 h 234394"/>
                <a:gd name="connsiteX5" fmla="*/ 0 w 224245"/>
                <a:gd name="connsiteY5" fmla="*/ 234395 h 234394"/>
                <a:gd name="connsiteX6" fmla="*/ 80119 w 224245"/>
                <a:gd name="connsiteY6" fmla="*/ 112826 h 234394"/>
                <a:gd name="connsiteX7" fmla="*/ 5979 w 224245"/>
                <a:gd name="connsiteY7" fmla="*/ 0 h 234394"/>
                <a:gd name="connsiteX8" fmla="*/ 67684 w 224245"/>
                <a:gd name="connsiteY8" fmla="*/ 0 h 234394"/>
                <a:gd name="connsiteX9" fmla="*/ 111888 w 224245"/>
                <a:gd name="connsiteY9" fmla="*/ 71837 h 234394"/>
                <a:gd name="connsiteX10" fmla="*/ 112801 w 224245"/>
                <a:gd name="connsiteY10" fmla="*/ 71837 h 234394"/>
                <a:gd name="connsiteX11" fmla="*/ 156553 w 224245"/>
                <a:gd name="connsiteY11" fmla="*/ 0 h 234394"/>
                <a:gd name="connsiteX12" fmla="*/ 217337 w 224245"/>
                <a:gd name="connsiteY12" fmla="*/ 0 h 234394"/>
                <a:gd name="connsiteX13" fmla="*/ 143657 w 224245"/>
                <a:gd name="connsiteY13" fmla="*/ 111897 h 234394"/>
                <a:gd name="connsiteX14" fmla="*/ 224245 w 224245"/>
                <a:gd name="connsiteY14" fmla="*/ 234395 h 234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4245" h="234394">
                  <a:moveTo>
                    <a:pt x="224245" y="234395"/>
                  </a:moveTo>
                  <a:lnTo>
                    <a:pt x="161619" y="234395"/>
                  </a:lnTo>
                  <a:lnTo>
                    <a:pt x="111427" y="153346"/>
                  </a:lnTo>
                  <a:lnTo>
                    <a:pt x="110515" y="153346"/>
                  </a:lnTo>
                  <a:lnTo>
                    <a:pt x="61697" y="234395"/>
                  </a:lnTo>
                  <a:lnTo>
                    <a:pt x="0" y="234395"/>
                  </a:lnTo>
                  <a:lnTo>
                    <a:pt x="80119" y="112826"/>
                  </a:lnTo>
                  <a:lnTo>
                    <a:pt x="5979" y="0"/>
                  </a:lnTo>
                  <a:lnTo>
                    <a:pt x="67684" y="0"/>
                  </a:lnTo>
                  <a:lnTo>
                    <a:pt x="111888" y="71837"/>
                  </a:lnTo>
                  <a:lnTo>
                    <a:pt x="112801" y="71837"/>
                  </a:lnTo>
                  <a:lnTo>
                    <a:pt x="156553" y="0"/>
                  </a:lnTo>
                  <a:lnTo>
                    <a:pt x="217337" y="0"/>
                  </a:lnTo>
                  <a:lnTo>
                    <a:pt x="143657" y="111897"/>
                  </a:lnTo>
                  <a:lnTo>
                    <a:pt x="224245" y="234395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8" name="Freihandform: Form 227">
              <a:extLst>
                <a:ext uri="{FF2B5EF4-FFF2-40B4-BE49-F238E27FC236}">
                  <a16:creationId xmlns:a16="http://schemas.microsoft.com/office/drawing/2014/main" id="{F1E90169-E8AA-A447-A1B0-429B0DBB0E6F}"/>
                </a:ext>
              </a:extLst>
            </p:cNvPr>
            <p:cNvSpPr/>
            <p:nvPr/>
          </p:nvSpPr>
          <p:spPr>
            <a:xfrm>
              <a:off x="7037149" y="2039148"/>
              <a:ext cx="198924" cy="245899"/>
            </a:xfrm>
            <a:custGeom>
              <a:avLst/>
              <a:gdLst>
                <a:gd name="connsiteX0" fmla="*/ 100835 w 198924"/>
                <a:gd name="connsiteY0" fmla="*/ 94856 h 245899"/>
                <a:gd name="connsiteX1" fmla="*/ 145039 w 198924"/>
                <a:gd name="connsiteY1" fmla="*/ 99922 h 245899"/>
                <a:gd name="connsiteX2" fmla="*/ 145039 w 198924"/>
                <a:gd name="connsiteY2" fmla="*/ 91633 h 245899"/>
                <a:gd name="connsiteX3" fmla="*/ 93466 w 198924"/>
                <a:gd name="connsiteY3" fmla="*/ 46047 h 245899"/>
                <a:gd name="connsiteX4" fmla="*/ 34064 w 198924"/>
                <a:gd name="connsiteY4" fmla="*/ 59402 h 245899"/>
                <a:gd name="connsiteX5" fmla="*/ 22090 w 198924"/>
                <a:gd name="connsiteY5" fmla="*/ 13356 h 245899"/>
                <a:gd name="connsiteX6" fmla="*/ 98993 w 198924"/>
                <a:gd name="connsiteY6" fmla="*/ 0 h 245899"/>
                <a:gd name="connsiteX7" fmla="*/ 198924 w 198924"/>
                <a:gd name="connsiteY7" fmla="*/ 90712 h 245899"/>
                <a:gd name="connsiteX8" fmla="*/ 198924 w 198924"/>
                <a:gd name="connsiteY8" fmla="*/ 240373 h 245899"/>
                <a:gd name="connsiteX9" fmla="*/ 146882 w 198924"/>
                <a:gd name="connsiteY9" fmla="*/ 240373 h 245899"/>
                <a:gd name="connsiteX10" fmla="*/ 146882 w 198924"/>
                <a:gd name="connsiteY10" fmla="*/ 215504 h 245899"/>
                <a:gd name="connsiteX11" fmla="*/ 145969 w 198924"/>
                <a:gd name="connsiteY11" fmla="*/ 215504 h 245899"/>
                <a:gd name="connsiteX12" fmla="*/ 77356 w 198924"/>
                <a:gd name="connsiteY12" fmla="*/ 245900 h 245899"/>
                <a:gd name="connsiteX13" fmla="*/ 0 w 198924"/>
                <a:gd name="connsiteY13" fmla="*/ 171299 h 245899"/>
                <a:gd name="connsiteX14" fmla="*/ 100835 w 198924"/>
                <a:gd name="connsiteY14" fmla="*/ 94856 h 245899"/>
                <a:gd name="connsiteX15" fmla="*/ 91624 w 198924"/>
                <a:gd name="connsiteY15" fmla="*/ 204919 h 245899"/>
                <a:gd name="connsiteX16" fmla="*/ 145039 w 198924"/>
                <a:gd name="connsiteY16" fmla="*/ 176834 h 245899"/>
                <a:gd name="connsiteX17" fmla="*/ 145039 w 198924"/>
                <a:gd name="connsiteY17" fmla="*/ 135845 h 245899"/>
                <a:gd name="connsiteX18" fmla="*/ 106823 w 198924"/>
                <a:gd name="connsiteY18" fmla="*/ 131240 h 245899"/>
                <a:gd name="connsiteX19" fmla="*/ 52486 w 198924"/>
                <a:gd name="connsiteY19" fmla="*/ 169918 h 245899"/>
                <a:gd name="connsiteX20" fmla="*/ 91624 w 198924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4" h="245899">
                  <a:moveTo>
                    <a:pt x="100835" y="94856"/>
                  </a:moveTo>
                  <a:cubicBezTo>
                    <a:pt x="116025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2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46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0" y="204919"/>
                    <a:pt x="129842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9" y="131240"/>
                    <a:pt x="106823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8" y="191563"/>
                    <a:pt x="67684" y="204919"/>
                    <a:pt x="91624" y="204919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9" name="Freihandform: Form 228">
              <a:extLst>
                <a:ext uri="{FF2B5EF4-FFF2-40B4-BE49-F238E27FC236}">
                  <a16:creationId xmlns:a16="http://schemas.microsoft.com/office/drawing/2014/main" id="{8FAEB966-F243-A346-A62E-37414532C60F}"/>
                </a:ext>
              </a:extLst>
            </p:cNvPr>
            <p:cNvSpPr/>
            <p:nvPr/>
          </p:nvSpPr>
          <p:spPr>
            <a:xfrm>
              <a:off x="7305540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0 w 201695"/>
                <a:gd name="connsiteY1" fmla="*/ 240373 h 240373"/>
                <a:gd name="connsiteX2" fmla="*/ 146890 w 201695"/>
                <a:gd name="connsiteY2" fmla="*/ 106370 h 240373"/>
                <a:gd name="connsiteX3" fmla="*/ 103607 w 201695"/>
                <a:gd name="connsiteY3" fmla="*/ 49270 h 240373"/>
                <a:gd name="connsiteX4" fmla="*/ 54797 w 201695"/>
                <a:gd name="connsiteY4" fmla="*/ 105918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0" y="240373"/>
                  </a:lnTo>
                  <a:lnTo>
                    <a:pt x="146890" y="106370"/>
                  </a:lnTo>
                  <a:cubicBezTo>
                    <a:pt x="146890" y="72298"/>
                    <a:pt x="136767" y="49270"/>
                    <a:pt x="103607" y="49270"/>
                  </a:cubicBezTo>
                  <a:cubicBezTo>
                    <a:pt x="65390" y="49270"/>
                    <a:pt x="54797" y="80588"/>
                    <a:pt x="54797" y="105918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7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0" name="Freihandform: Form 229">
              <a:extLst>
                <a:ext uri="{FF2B5EF4-FFF2-40B4-BE49-F238E27FC236}">
                  <a16:creationId xmlns:a16="http://schemas.microsoft.com/office/drawing/2014/main" id="{5E22E732-045A-8643-8330-C6DFE927D380}"/>
                </a:ext>
              </a:extLst>
            </p:cNvPr>
            <p:cNvSpPr/>
            <p:nvPr/>
          </p:nvSpPr>
          <p:spPr>
            <a:xfrm>
              <a:off x="7565198" y="1936931"/>
              <a:ext cx="219195" cy="348116"/>
            </a:xfrm>
            <a:custGeom>
              <a:avLst/>
              <a:gdLst>
                <a:gd name="connsiteX0" fmla="*/ 0 w 219195"/>
                <a:gd name="connsiteY0" fmla="*/ 224706 h 348116"/>
                <a:gd name="connsiteX1" fmla="*/ 95325 w 219195"/>
                <a:gd name="connsiteY1" fmla="*/ 102217 h 348116"/>
                <a:gd name="connsiteX2" fmla="*/ 163478 w 219195"/>
                <a:gd name="connsiteY2" fmla="*/ 133986 h 348116"/>
                <a:gd name="connsiteX3" fmla="*/ 164399 w 219195"/>
                <a:gd name="connsiteY3" fmla="*/ 133986 h 348116"/>
                <a:gd name="connsiteX4" fmla="*/ 164399 w 219195"/>
                <a:gd name="connsiteY4" fmla="*/ 13808 h 348116"/>
                <a:gd name="connsiteX5" fmla="*/ 219196 w 219195"/>
                <a:gd name="connsiteY5" fmla="*/ 0 h 348116"/>
                <a:gd name="connsiteX6" fmla="*/ 219196 w 219195"/>
                <a:gd name="connsiteY6" fmla="*/ 342590 h 348116"/>
                <a:gd name="connsiteX7" fmla="*/ 165781 w 219195"/>
                <a:gd name="connsiteY7" fmla="*/ 342590 h 348116"/>
                <a:gd name="connsiteX8" fmla="*/ 165781 w 219195"/>
                <a:gd name="connsiteY8" fmla="*/ 314957 h 348116"/>
                <a:gd name="connsiteX9" fmla="*/ 164859 w 219195"/>
                <a:gd name="connsiteY9" fmla="*/ 314957 h 348116"/>
                <a:gd name="connsiteX10" fmla="*/ 94404 w 219195"/>
                <a:gd name="connsiteY10" fmla="*/ 348117 h 348116"/>
                <a:gd name="connsiteX11" fmla="*/ 0 w 219195"/>
                <a:gd name="connsiteY11" fmla="*/ 224706 h 348116"/>
                <a:gd name="connsiteX12" fmla="*/ 54336 w 219195"/>
                <a:gd name="connsiteY12" fmla="*/ 224706 h 348116"/>
                <a:gd name="connsiteX13" fmla="*/ 108673 w 219195"/>
                <a:gd name="connsiteY13" fmla="*/ 299767 h 348116"/>
                <a:gd name="connsiteX14" fmla="*/ 164391 w 219195"/>
                <a:gd name="connsiteY14" fmla="*/ 268911 h 348116"/>
                <a:gd name="connsiteX15" fmla="*/ 164391 w 219195"/>
                <a:gd name="connsiteY15" fmla="*/ 183265 h 348116"/>
                <a:gd name="connsiteX16" fmla="*/ 108673 w 219195"/>
                <a:gd name="connsiteY16" fmla="*/ 151956 h 348116"/>
                <a:gd name="connsiteX17" fmla="*/ 54336 w 219195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5" h="348116">
                  <a:moveTo>
                    <a:pt x="0" y="224706"/>
                  </a:moveTo>
                  <a:cubicBezTo>
                    <a:pt x="0" y="149185"/>
                    <a:pt x="38217" y="102217"/>
                    <a:pt x="95325" y="102217"/>
                  </a:cubicBezTo>
                  <a:cubicBezTo>
                    <a:pt x="124800" y="102217"/>
                    <a:pt x="147828" y="114643"/>
                    <a:pt x="163478" y="133986"/>
                  </a:cubicBezTo>
                  <a:lnTo>
                    <a:pt x="164399" y="133986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0"/>
                  </a:lnTo>
                  <a:lnTo>
                    <a:pt x="165781" y="342590"/>
                  </a:lnTo>
                  <a:lnTo>
                    <a:pt x="165781" y="314957"/>
                  </a:lnTo>
                  <a:lnTo>
                    <a:pt x="164859" y="314957"/>
                  </a:lnTo>
                  <a:cubicBezTo>
                    <a:pt x="147828" y="335682"/>
                    <a:pt x="123418" y="348117"/>
                    <a:pt x="94404" y="348117"/>
                  </a:cubicBezTo>
                  <a:cubicBezTo>
                    <a:pt x="38686" y="348117"/>
                    <a:pt x="0" y="300689"/>
                    <a:pt x="0" y="224706"/>
                  </a:cubicBezTo>
                  <a:close/>
                  <a:moveTo>
                    <a:pt x="54336" y="224706"/>
                  </a:moveTo>
                  <a:cubicBezTo>
                    <a:pt x="54336" y="272595"/>
                    <a:pt x="74140" y="299767"/>
                    <a:pt x="108673" y="299767"/>
                  </a:cubicBezTo>
                  <a:cubicBezTo>
                    <a:pt x="129850" y="299767"/>
                    <a:pt x="147351" y="289635"/>
                    <a:pt x="164391" y="268911"/>
                  </a:cubicBezTo>
                  <a:lnTo>
                    <a:pt x="164391" y="183265"/>
                  </a:lnTo>
                  <a:cubicBezTo>
                    <a:pt x="148733" y="162088"/>
                    <a:pt x="130771" y="151956"/>
                    <a:pt x="108673" y="151956"/>
                  </a:cubicBezTo>
                  <a:cubicBezTo>
                    <a:pt x="73219" y="151956"/>
                    <a:pt x="54336" y="177739"/>
                    <a:pt x="54336" y="224706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1" name="Freihandform: Form 230">
              <a:extLst>
                <a:ext uri="{FF2B5EF4-FFF2-40B4-BE49-F238E27FC236}">
                  <a16:creationId xmlns:a16="http://schemas.microsoft.com/office/drawing/2014/main" id="{0BD6CEA8-7F66-E442-AF6E-9892F710FEB4}"/>
                </a:ext>
              </a:extLst>
            </p:cNvPr>
            <p:cNvSpPr/>
            <p:nvPr/>
          </p:nvSpPr>
          <p:spPr>
            <a:xfrm>
              <a:off x="7843881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89 w 214130"/>
                <a:gd name="connsiteY10" fmla="*/ 101765 h 245899"/>
                <a:gd name="connsiteX11" fmla="*/ 161160 w 214130"/>
                <a:gd name="connsiteY11" fmla="*/ 101765 h 245899"/>
                <a:gd name="connsiteX12" fmla="*/ 109125 w 214130"/>
                <a:gd name="connsiteY12" fmla="*/ 45126 h 245899"/>
                <a:gd name="connsiteX13" fmla="*/ 54789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23" y="233465"/>
                    <a:pt x="151496" y="245900"/>
                    <a:pt x="116034" y="245900"/>
                  </a:cubicBezTo>
                  <a:close/>
                  <a:moveTo>
                    <a:pt x="54789" y="101765"/>
                  </a:moveTo>
                  <a:lnTo>
                    <a:pt x="161160" y="101765"/>
                  </a:lnTo>
                  <a:cubicBezTo>
                    <a:pt x="158857" y="65850"/>
                    <a:pt x="139982" y="45126"/>
                    <a:pt x="109125" y="45126"/>
                  </a:cubicBezTo>
                  <a:cubicBezTo>
                    <a:pt x="78738" y="45134"/>
                    <a:pt x="59394" y="65390"/>
                    <a:pt x="54789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2" name="Freihandform: Form 231">
              <a:extLst>
                <a:ext uri="{FF2B5EF4-FFF2-40B4-BE49-F238E27FC236}">
                  <a16:creationId xmlns:a16="http://schemas.microsoft.com/office/drawing/2014/main" id="{329309F8-12B5-A441-AB69-0BA8B4BF886B}"/>
                </a:ext>
              </a:extLst>
            </p:cNvPr>
            <p:cNvSpPr/>
            <p:nvPr/>
          </p:nvSpPr>
          <p:spPr>
            <a:xfrm>
              <a:off x="8117849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86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801" y="56631"/>
                    <a:pt x="114668" y="53868"/>
                    <a:pt x="102686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8" y="35454"/>
                  </a:lnTo>
                  <a:cubicBezTo>
                    <a:pt x="67224" y="13348"/>
                    <a:pt x="89330" y="0"/>
                    <a:pt x="116042" y="0"/>
                  </a:cubicBezTo>
                  <a:cubicBezTo>
                    <a:pt x="123871" y="-8"/>
                    <a:pt x="133534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3" name="Freihandform: Form 232">
              <a:extLst>
                <a:ext uri="{FF2B5EF4-FFF2-40B4-BE49-F238E27FC236}">
                  <a16:creationId xmlns:a16="http://schemas.microsoft.com/office/drawing/2014/main" id="{48873B97-8E1A-8244-875E-2CF774CB313A}"/>
                </a:ext>
              </a:extLst>
            </p:cNvPr>
            <p:cNvSpPr/>
            <p:nvPr/>
          </p:nvSpPr>
          <p:spPr>
            <a:xfrm>
              <a:off x="8293771" y="2109603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4" name="Freihandform: Form 233">
              <a:extLst>
                <a:ext uri="{FF2B5EF4-FFF2-40B4-BE49-F238E27FC236}">
                  <a16:creationId xmlns:a16="http://schemas.microsoft.com/office/drawing/2014/main" id="{32FD167B-F8F7-6C4A-8A51-3D5D46863CFB}"/>
                </a:ext>
              </a:extLst>
            </p:cNvPr>
            <p:cNvSpPr/>
            <p:nvPr/>
          </p:nvSpPr>
          <p:spPr>
            <a:xfrm>
              <a:off x="8478811" y="1955336"/>
              <a:ext cx="253268" cy="329711"/>
            </a:xfrm>
            <a:custGeom>
              <a:avLst/>
              <a:gdLst>
                <a:gd name="connsiteX0" fmla="*/ 253268 w 253268"/>
                <a:gd name="connsiteY0" fmla="*/ 195708 h 329711"/>
                <a:gd name="connsiteX1" fmla="*/ 126174 w 253268"/>
                <a:gd name="connsiteY1" fmla="*/ 329712 h 329711"/>
                <a:gd name="connsiteX2" fmla="*/ 0 w 253268"/>
                <a:gd name="connsiteY2" fmla="*/ 195708 h 329711"/>
                <a:gd name="connsiteX3" fmla="*/ 0 w 253268"/>
                <a:gd name="connsiteY3" fmla="*/ 0 h 329711"/>
                <a:gd name="connsiteX4" fmla="*/ 58941 w 253268"/>
                <a:gd name="connsiteY4" fmla="*/ 0 h 329711"/>
                <a:gd name="connsiteX5" fmla="*/ 58941 w 253268"/>
                <a:gd name="connsiteY5" fmla="*/ 192485 h 329711"/>
                <a:gd name="connsiteX6" fmla="*/ 128016 w 253268"/>
                <a:gd name="connsiteY6" fmla="*/ 274446 h 329711"/>
                <a:gd name="connsiteX7" fmla="*/ 194795 w 253268"/>
                <a:gd name="connsiteY7" fmla="*/ 192485 h 329711"/>
                <a:gd name="connsiteX8" fmla="*/ 194795 w 253268"/>
                <a:gd name="connsiteY8" fmla="*/ 0 h 329711"/>
                <a:gd name="connsiteX9" fmla="*/ 253268 w 253268"/>
                <a:gd name="connsiteY9" fmla="*/ 0 h 329711"/>
                <a:gd name="connsiteX10" fmla="*/ 253268 w 253268"/>
                <a:gd name="connsiteY10" fmla="*/ 195708 h 32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268" h="329711">
                  <a:moveTo>
                    <a:pt x="253268" y="195708"/>
                  </a:moveTo>
                  <a:cubicBezTo>
                    <a:pt x="253268" y="273993"/>
                    <a:pt x="213209" y="329712"/>
                    <a:pt x="126174" y="329712"/>
                  </a:cubicBezTo>
                  <a:cubicBezTo>
                    <a:pt x="39599" y="329712"/>
                    <a:pt x="0" y="274446"/>
                    <a:pt x="0" y="195708"/>
                  </a:cubicBezTo>
                  <a:lnTo>
                    <a:pt x="0" y="0"/>
                  </a:lnTo>
                  <a:lnTo>
                    <a:pt x="58941" y="0"/>
                  </a:lnTo>
                  <a:lnTo>
                    <a:pt x="58941" y="192485"/>
                  </a:lnTo>
                  <a:cubicBezTo>
                    <a:pt x="58941" y="241294"/>
                    <a:pt x="80127" y="274446"/>
                    <a:pt x="128016" y="274446"/>
                  </a:cubicBezTo>
                  <a:cubicBezTo>
                    <a:pt x="175913" y="274446"/>
                    <a:pt x="194795" y="241755"/>
                    <a:pt x="194795" y="192485"/>
                  </a:cubicBezTo>
                  <a:lnTo>
                    <a:pt x="194795" y="0"/>
                  </a:lnTo>
                  <a:lnTo>
                    <a:pt x="253268" y="0"/>
                  </a:lnTo>
                  <a:lnTo>
                    <a:pt x="253268" y="19570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5" name="Freihandform: Form 234">
              <a:extLst>
                <a:ext uri="{FF2B5EF4-FFF2-40B4-BE49-F238E27FC236}">
                  <a16:creationId xmlns:a16="http://schemas.microsoft.com/office/drawing/2014/main" id="{10F88329-92DE-934D-95C4-E98DA00CDDAB}"/>
                </a:ext>
              </a:extLst>
            </p:cNvPr>
            <p:cNvSpPr/>
            <p:nvPr/>
          </p:nvSpPr>
          <p:spPr>
            <a:xfrm>
              <a:off x="8804838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8 w 201695"/>
                <a:gd name="connsiteY1" fmla="*/ 240373 h 240373"/>
                <a:gd name="connsiteX2" fmla="*/ 146898 w 201695"/>
                <a:gd name="connsiteY2" fmla="*/ 106370 h 240373"/>
                <a:gd name="connsiteX3" fmla="*/ 103607 w 201695"/>
                <a:gd name="connsiteY3" fmla="*/ 49270 h 240373"/>
                <a:gd name="connsiteX4" fmla="*/ 54798 w 201695"/>
                <a:gd name="connsiteY4" fmla="*/ 105918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8" y="240373"/>
                  </a:lnTo>
                  <a:lnTo>
                    <a:pt x="146898" y="106370"/>
                  </a:lnTo>
                  <a:cubicBezTo>
                    <a:pt x="146898" y="72298"/>
                    <a:pt x="136767" y="49270"/>
                    <a:pt x="103607" y="49270"/>
                  </a:cubicBezTo>
                  <a:cubicBezTo>
                    <a:pt x="65390" y="49270"/>
                    <a:pt x="54798" y="80588"/>
                    <a:pt x="54798" y="105918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7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6" name="Freihandform: Form 235">
              <a:extLst>
                <a:ext uri="{FF2B5EF4-FFF2-40B4-BE49-F238E27FC236}">
                  <a16:creationId xmlns:a16="http://schemas.microsoft.com/office/drawing/2014/main" id="{1CC0DBBC-A5C7-264A-9CD7-4974E83F8E5F}"/>
                </a:ext>
              </a:extLst>
            </p:cNvPr>
            <p:cNvSpPr/>
            <p:nvPr/>
          </p:nvSpPr>
          <p:spPr>
            <a:xfrm>
              <a:off x="9068273" y="1941059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2 w 69534"/>
                <a:gd name="connsiteY1" fmla="*/ 66311 h 338461"/>
                <a:gd name="connsiteX2" fmla="*/ 0 w 69534"/>
                <a:gd name="connsiteY2" fmla="*/ 33160 h 338461"/>
                <a:gd name="connsiteX3" fmla="*/ 34532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2" y="66311"/>
                  </a:cubicBezTo>
                  <a:cubicBezTo>
                    <a:pt x="15649" y="66311"/>
                    <a:pt x="0" y="52503"/>
                    <a:pt x="0" y="33160"/>
                  </a:cubicBezTo>
                  <a:cubicBezTo>
                    <a:pt x="0" y="14277"/>
                    <a:pt x="15649" y="0"/>
                    <a:pt x="34532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7" name="Freihandform: Form 236">
              <a:extLst>
                <a:ext uri="{FF2B5EF4-FFF2-40B4-BE49-F238E27FC236}">
                  <a16:creationId xmlns:a16="http://schemas.microsoft.com/office/drawing/2014/main" id="{EB794457-22A1-BE4C-B475-9F7A68694BE7}"/>
                </a:ext>
              </a:extLst>
            </p:cNvPr>
            <p:cNvSpPr/>
            <p:nvPr/>
          </p:nvSpPr>
          <p:spPr>
            <a:xfrm>
              <a:off x="9176921" y="2045135"/>
              <a:ext cx="227478" cy="234386"/>
            </a:xfrm>
            <a:custGeom>
              <a:avLst/>
              <a:gdLst>
                <a:gd name="connsiteX0" fmla="*/ 227478 w 227478"/>
                <a:gd name="connsiteY0" fmla="*/ 0 h 234386"/>
                <a:gd name="connsiteX1" fmla="*/ 142284 w 227478"/>
                <a:gd name="connsiteY1" fmla="*/ 234386 h 234386"/>
                <a:gd name="connsiteX2" fmla="*/ 85185 w 227478"/>
                <a:gd name="connsiteY2" fmla="*/ 234386 h 234386"/>
                <a:gd name="connsiteX3" fmla="*/ 0 w 227478"/>
                <a:gd name="connsiteY3" fmla="*/ 0 h 234386"/>
                <a:gd name="connsiteX4" fmla="*/ 60323 w 227478"/>
                <a:gd name="connsiteY4" fmla="*/ 0 h 234386"/>
                <a:gd name="connsiteX5" fmla="*/ 114199 w 227478"/>
                <a:gd name="connsiteY5" fmla="*/ 170387 h 234386"/>
                <a:gd name="connsiteX6" fmla="*/ 115120 w 227478"/>
                <a:gd name="connsiteY6" fmla="*/ 170387 h 234386"/>
                <a:gd name="connsiteX7" fmla="*/ 168997 w 227478"/>
                <a:gd name="connsiteY7" fmla="*/ 0 h 234386"/>
                <a:gd name="connsiteX8" fmla="*/ 227478 w 227478"/>
                <a:gd name="connsiteY8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478" h="234386">
                  <a:moveTo>
                    <a:pt x="227478" y="0"/>
                  </a:moveTo>
                  <a:lnTo>
                    <a:pt x="142284" y="234386"/>
                  </a:lnTo>
                  <a:lnTo>
                    <a:pt x="85185" y="234386"/>
                  </a:lnTo>
                  <a:lnTo>
                    <a:pt x="0" y="0"/>
                  </a:lnTo>
                  <a:lnTo>
                    <a:pt x="60323" y="0"/>
                  </a:lnTo>
                  <a:lnTo>
                    <a:pt x="114199" y="170387"/>
                  </a:lnTo>
                  <a:lnTo>
                    <a:pt x="115120" y="170387"/>
                  </a:lnTo>
                  <a:lnTo>
                    <a:pt x="168997" y="0"/>
                  </a:lnTo>
                  <a:lnTo>
                    <a:pt x="227478" y="0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8" name="Freihandform: Form 237">
              <a:extLst>
                <a:ext uri="{FF2B5EF4-FFF2-40B4-BE49-F238E27FC236}">
                  <a16:creationId xmlns:a16="http://schemas.microsoft.com/office/drawing/2014/main" id="{B95D9230-C37B-2C4B-A3B2-A21D37E6F321}"/>
                </a:ext>
              </a:extLst>
            </p:cNvPr>
            <p:cNvSpPr/>
            <p:nvPr/>
          </p:nvSpPr>
          <p:spPr>
            <a:xfrm>
              <a:off x="9429904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27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8 w 214130"/>
                <a:gd name="connsiteY10" fmla="*/ 101765 h 245899"/>
                <a:gd name="connsiteX11" fmla="*/ 161168 w 214130"/>
                <a:gd name="connsiteY11" fmla="*/ 101765 h 245899"/>
                <a:gd name="connsiteX12" fmla="*/ 109134 w 214130"/>
                <a:gd name="connsiteY12" fmla="*/ 45126 h 245899"/>
                <a:gd name="connsiteX13" fmla="*/ 5479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500" y="245900"/>
                    <a:pt x="0" y="196621"/>
                    <a:pt x="0" y="122489"/>
                  </a:cubicBezTo>
                  <a:cubicBezTo>
                    <a:pt x="0" y="49739"/>
                    <a:pt x="44666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27" y="141824"/>
                  </a:lnTo>
                  <a:cubicBezTo>
                    <a:pt x="61714" y="178208"/>
                    <a:pt x="83352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31" y="233465"/>
                    <a:pt x="151488" y="245900"/>
                    <a:pt x="116034" y="245900"/>
                  </a:cubicBezTo>
                  <a:close/>
                  <a:moveTo>
                    <a:pt x="54798" y="101765"/>
                  </a:moveTo>
                  <a:lnTo>
                    <a:pt x="161168" y="101765"/>
                  </a:lnTo>
                  <a:cubicBezTo>
                    <a:pt x="158873" y="65850"/>
                    <a:pt x="139990" y="45126"/>
                    <a:pt x="109134" y="45126"/>
                  </a:cubicBezTo>
                  <a:cubicBezTo>
                    <a:pt x="78738" y="45134"/>
                    <a:pt x="59394" y="65390"/>
                    <a:pt x="54798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9" name="Freihandform: Form 238">
              <a:extLst>
                <a:ext uri="{FF2B5EF4-FFF2-40B4-BE49-F238E27FC236}">
                  <a16:creationId xmlns:a16="http://schemas.microsoft.com/office/drawing/2014/main" id="{DE0B70AE-FCF5-0C4D-B4C8-8088E78B45FA}"/>
                </a:ext>
              </a:extLst>
            </p:cNvPr>
            <p:cNvSpPr/>
            <p:nvPr/>
          </p:nvSpPr>
          <p:spPr>
            <a:xfrm>
              <a:off x="9703872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94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7 w 141832"/>
                <a:gd name="connsiteY7" fmla="*/ 5979 h 240364"/>
                <a:gd name="connsiteX8" fmla="*/ 53877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793" y="56631"/>
                    <a:pt x="114669" y="53868"/>
                    <a:pt x="102694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7" y="5979"/>
                  </a:lnTo>
                  <a:lnTo>
                    <a:pt x="53877" y="35454"/>
                  </a:lnTo>
                  <a:lnTo>
                    <a:pt x="54798" y="35454"/>
                  </a:lnTo>
                  <a:cubicBezTo>
                    <a:pt x="67224" y="13348"/>
                    <a:pt x="89331" y="0"/>
                    <a:pt x="116042" y="0"/>
                  </a:cubicBezTo>
                  <a:cubicBezTo>
                    <a:pt x="123872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0" name="Freihandform: Form 239">
              <a:extLst>
                <a:ext uri="{FF2B5EF4-FFF2-40B4-BE49-F238E27FC236}">
                  <a16:creationId xmlns:a16="http://schemas.microsoft.com/office/drawing/2014/main" id="{A2ECCE8A-4A84-5B4C-8422-0B55E2E066C8}"/>
                </a:ext>
              </a:extLst>
            </p:cNvPr>
            <p:cNvSpPr/>
            <p:nvPr/>
          </p:nvSpPr>
          <p:spPr>
            <a:xfrm>
              <a:off x="9871287" y="2039148"/>
              <a:ext cx="180510" cy="245891"/>
            </a:xfrm>
            <a:custGeom>
              <a:avLst/>
              <a:gdLst>
                <a:gd name="connsiteX0" fmla="*/ 26234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2 h 245891"/>
                <a:gd name="connsiteX11" fmla="*/ 0 w 180510"/>
                <a:gd name="connsiteY11" fmla="*/ 217337 h 245891"/>
                <a:gd name="connsiteX12" fmla="*/ 26234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4" y="174063"/>
                  </a:moveTo>
                  <a:cubicBezTo>
                    <a:pt x="49261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82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2"/>
                    <a:pt x="90251" y="245892"/>
                  </a:cubicBezTo>
                  <a:cubicBezTo>
                    <a:pt x="58941" y="245892"/>
                    <a:pt x="27172" y="236220"/>
                    <a:pt x="0" y="217337"/>
                  </a:cubicBezTo>
                  <a:lnTo>
                    <a:pt x="26234" y="17406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1" name="Freihandform: Form 240">
              <a:extLst>
                <a:ext uri="{FF2B5EF4-FFF2-40B4-BE49-F238E27FC236}">
                  <a16:creationId xmlns:a16="http://schemas.microsoft.com/office/drawing/2014/main" id="{F8D9B2EC-07D7-2F47-A272-2D881486AA4F}"/>
                </a:ext>
              </a:extLst>
            </p:cNvPr>
            <p:cNvSpPr/>
            <p:nvPr/>
          </p:nvSpPr>
          <p:spPr>
            <a:xfrm>
              <a:off x="10103018" y="1941059"/>
              <a:ext cx="69535" cy="338461"/>
            </a:xfrm>
            <a:custGeom>
              <a:avLst/>
              <a:gdLst>
                <a:gd name="connsiteX0" fmla="*/ 69535 w 69535"/>
                <a:gd name="connsiteY0" fmla="*/ 33160 h 338461"/>
                <a:gd name="connsiteX1" fmla="*/ 34533 w 69535"/>
                <a:gd name="connsiteY1" fmla="*/ 66311 h 338461"/>
                <a:gd name="connsiteX2" fmla="*/ 0 w 69535"/>
                <a:gd name="connsiteY2" fmla="*/ 33160 h 338461"/>
                <a:gd name="connsiteX3" fmla="*/ 34533 w 69535"/>
                <a:gd name="connsiteY3" fmla="*/ 0 h 338461"/>
                <a:gd name="connsiteX4" fmla="*/ 69535 w 69535"/>
                <a:gd name="connsiteY4" fmla="*/ 33160 h 338461"/>
                <a:gd name="connsiteX5" fmla="*/ 62166 w 69535"/>
                <a:gd name="connsiteY5" fmla="*/ 338462 h 338461"/>
                <a:gd name="connsiteX6" fmla="*/ 7369 w 69535"/>
                <a:gd name="connsiteY6" fmla="*/ 338462 h 338461"/>
                <a:gd name="connsiteX7" fmla="*/ 7369 w 69535"/>
                <a:gd name="connsiteY7" fmla="*/ 104076 h 338461"/>
                <a:gd name="connsiteX8" fmla="*/ 62166 w 69535"/>
                <a:gd name="connsiteY8" fmla="*/ 104076 h 338461"/>
                <a:gd name="connsiteX9" fmla="*/ 62166 w 69535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5" h="338461">
                  <a:moveTo>
                    <a:pt x="69535" y="33160"/>
                  </a:moveTo>
                  <a:cubicBezTo>
                    <a:pt x="69535" y="52503"/>
                    <a:pt x="53877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7" y="0"/>
                    <a:pt x="69535" y="14277"/>
                    <a:pt x="69535" y="33160"/>
                  </a:cubicBezTo>
                  <a:close/>
                  <a:moveTo>
                    <a:pt x="62166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6" y="104076"/>
                  </a:lnTo>
                  <a:lnTo>
                    <a:pt x="62166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2" name="Freihandform: Form 241">
              <a:extLst>
                <a:ext uri="{FF2B5EF4-FFF2-40B4-BE49-F238E27FC236}">
                  <a16:creationId xmlns:a16="http://schemas.microsoft.com/office/drawing/2014/main" id="{D5C1A5CB-FA99-E943-BF6F-5FE08E2CD5D0}"/>
                </a:ext>
              </a:extLst>
            </p:cNvPr>
            <p:cNvSpPr/>
            <p:nvPr/>
          </p:nvSpPr>
          <p:spPr>
            <a:xfrm>
              <a:off x="10211675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3" name="Freihandform: Form 242">
              <a:extLst>
                <a:ext uri="{FF2B5EF4-FFF2-40B4-BE49-F238E27FC236}">
                  <a16:creationId xmlns:a16="http://schemas.microsoft.com/office/drawing/2014/main" id="{FAC0887C-5541-FF45-9F5C-21B69C101ECA}"/>
                </a:ext>
              </a:extLst>
            </p:cNvPr>
            <p:cNvSpPr/>
            <p:nvPr/>
          </p:nvSpPr>
          <p:spPr>
            <a:xfrm>
              <a:off x="10400449" y="1944744"/>
              <a:ext cx="198923" cy="340304"/>
            </a:xfrm>
            <a:custGeom>
              <a:avLst/>
              <a:gdLst>
                <a:gd name="connsiteX0" fmla="*/ 100835 w 198923"/>
                <a:gd name="connsiteY0" fmla="*/ 189261 h 340304"/>
                <a:gd name="connsiteX1" fmla="*/ 145040 w 198923"/>
                <a:gd name="connsiteY1" fmla="*/ 194327 h 340304"/>
                <a:gd name="connsiteX2" fmla="*/ 145040 w 198923"/>
                <a:gd name="connsiteY2" fmla="*/ 186037 h 340304"/>
                <a:gd name="connsiteX3" fmla="*/ 93466 w 198923"/>
                <a:gd name="connsiteY3" fmla="*/ 140451 h 340304"/>
                <a:gd name="connsiteX4" fmla="*/ 34064 w 198923"/>
                <a:gd name="connsiteY4" fmla="*/ 153807 h 340304"/>
                <a:gd name="connsiteX5" fmla="*/ 22090 w 198923"/>
                <a:gd name="connsiteY5" fmla="*/ 107760 h 340304"/>
                <a:gd name="connsiteX6" fmla="*/ 98993 w 198923"/>
                <a:gd name="connsiteY6" fmla="*/ 94404 h 340304"/>
                <a:gd name="connsiteX7" fmla="*/ 198924 w 198923"/>
                <a:gd name="connsiteY7" fmla="*/ 185116 h 340304"/>
                <a:gd name="connsiteX8" fmla="*/ 198924 w 198923"/>
                <a:gd name="connsiteY8" fmla="*/ 334778 h 340304"/>
                <a:gd name="connsiteX9" fmla="*/ 146882 w 198923"/>
                <a:gd name="connsiteY9" fmla="*/ 334778 h 340304"/>
                <a:gd name="connsiteX10" fmla="*/ 146882 w 198923"/>
                <a:gd name="connsiteY10" fmla="*/ 309908 h 340304"/>
                <a:gd name="connsiteX11" fmla="*/ 145969 w 198923"/>
                <a:gd name="connsiteY11" fmla="*/ 309908 h 340304"/>
                <a:gd name="connsiteX12" fmla="*/ 77356 w 198923"/>
                <a:gd name="connsiteY12" fmla="*/ 340304 h 340304"/>
                <a:gd name="connsiteX13" fmla="*/ 0 w 198923"/>
                <a:gd name="connsiteY13" fmla="*/ 265703 h 340304"/>
                <a:gd name="connsiteX14" fmla="*/ 100835 w 198923"/>
                <a:gd name="connsiteY14" fmla="*/ 189261 h 340304"/>
                <a:gd name="connsiteX15" fmla="*/ 56170 w 198923"/>
                <a:gd name="connsiteY15" fmla="*/ 64008 h 340304"/>
                <a:gd name="connsiteX16" fmla="*/ 23480 w 198923"/>
                <a:gd name="connsiteY16" fmla="*/ 32238 h 340304"/>
                <a:gd name="connsiteX17" fmla="*/ 56170 w 198923"/>
                <a:gd name="connsiteY17" fmla="*/ 0 h 340304"/>
                <a:gd name="connsiteX18" fmla="*/ 88861 w 198923"/>
                <a:gd name="connsiteY18" fmla="*/ 32238 h 340304"/>
                <a:gd name="connsiteX19" fmla="*/ 56170 w 198923"/>
                <a:gd name="connsiteY19" fmla="*/ 64008 h 340304"/>
                <a:gd name="connsiteX20" fmla="*/ 91624 w 198923"/>
                <a:gd name="connsiteY20" fmla="*/ 299324 h 340304"/>
                <a:gd name="connsiteX21" fmla="*/ 145040 w 198923"/>
                <a:gd name="connsiteY21" fmla="*/ 271238 h 340304"/>
                <a:gd name="connsiteX22" fmla="*/ 145040 w 198923"/>
                <a:gd name="connsiteY22" fmla="*/ 230250 h 340304"/>
                <a:gd name="connsiteX23" fmla="*/ 106823 w 198923"/>
                <a:gd name="connsiteY23" fmla="*/ 225644 h 340304"/>
                <a:gd name="connsiteX24" fmla="*/ 52486 w 198923"/>
                <a:gd name="connsiteY24" fmla="*/ 264322 h 340304"/>
                <a:gd name="connsiteX25" fmla="*/ 91624 w 198923"/>
                <a:gd name="connsiteY25" fmla="*/ 299324 h 340304"/>
                <a:gd name="connsiteX26" fmla="*/ 151948 w 198923"/>
                <a:gd name="connsiteY26" fmla="*/ 64008 h 340304"/>
                <a:gd name="connsiteX27" fmla="*/ 119258 w 198923"/>
                <a:gd name="connsiteY27" fmla="*/ 32238 h 340304"/>
                <a:gd name="connsiteX28" fmla="*/ 151948 w 198923"/>
                <a:gd name="connsiteY28" fmla="*/ 0 h 340304"/>
                <a:gd name="connsiteX29" fmla="*/ 184639 w 198923"/>
                <a:gd name="connsiteY29" fmla="*/ 32238 h 340304"/>
                <a:gd name="connsiteX30" fmla="*/ 151948 w 198923"/>
                <a:gd name="connsiteY30" fmla="*/ 64008 h 3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923" h="340304">
                  <a:moveTo>
                    <a:pt x="100835" y="189261"/>
                  </a:moveTo>
                  <a:cubicBezTo>
                    <a:pt x="116026" y="189261"/>
                    <a:pt x="129851" y="190182"/>
                    <a:pt x="145040" y="194327"/>
                  </a:cubicBezTo>
                  <a:lnTo>
                    <a:pt x="145040" y="186037"/>
                  </a:lnTo>
                  <a:cubicBezTo>
                    <a:pt x="145040" y="156109"/>
                    <a:pt x="127539" y="140451"/>
                    <a:pt x="93466" y="140451"/>
                  </a:cubicBezTo>
                  <a:cubicBezTo>
                    <a:pt x="74584" y="140451"/>
                    <a:pt x="53407" y="145056"/>
                    <a:pt x="34064" y="153807"/>
                  </a:cubicBezTo>
                  <a:lnTo>
                    <a:pt x="22090" y="107760"/>
                  </a:lnTo>
                  <a:cubicBezTo>
                    <a:pt x="43727" y="99470"/>
                    <a:pt x="72282" y="94404"/>
                    <a:pt x="98993" y="94404"/>
                  </a:cubicBezTo>
                  <a:cubicBezTo>
                    <a:pt x="164844" y="94404"/>
                    <a:pt x="198924" y="125261"/>
                    <a:pt x="198924" y="185116"/>
                  </a:cubicBezTo>
                  <a:lnTo>
                    <a:pt x="198924" y="334778"/>
                  </a:lnTo>
                  <a:lnTo>
                    <a:pt x="146882" y="334778"/>
                  </a:lnTo>
                  <a:lnTo>
                    <a:pt x="146882" y="309908"/>
                  </a:lnTo>
                  <a:lnTo>
                    <a:pt x="145969" y="309908"/>
                  </a:lnTo>
                  <a:cubicBezTo>
                    <a:pt x="125705" y="330633"/>
                    <a:pt x="104528" y="340304"/>
                    <a:pt x="77356" y="340304"/>
                  </a:cubicBezTo>
                  <a:cubicBezTo>
                    <a:pt x="30388" y="340304"/>
                    <a:pt x="0" y="311290"/>
                    <a:pt x="0" y="265703"/>
                  </a:cubicBezTo>
                  <a:cubicBezTo>
                    <a:pt x="-8" y="215973"/>
                    <a:pt x="35446" y="189261"/>
                    <a:pt x="100835" y="189261"/>
                  </a:cubicBezTo>
                  <a:close/>
                  <a:moveTo>
                    <a:pt x="56170" y="64008"/>
                  </a:moveTo>
                  <a:cubicBezTo>
                    <a:pt x="38670" y="64008"/>
                    <a:pt x="23480" y="49270"/>
                    <a:pt x="23480" y="32238"/>
                  </a:cubicBezTo>
                  <a:cubicBezTo>
                    <a:pt x="23480" y="15198"/>
                    <a:pt x="38670" y="0"/>
                    <a:pt x="56170" y="0"/>
                  </a:cubicBezTo>
                  <a:cubicBezTo>
                    <a:pt x="73671" y="0"/>
                    <a:pt x="88861" y="15190"/>
                    <a:pt x="88861" y="32238"/>
                  </a:cubicBezTo>
                  <a:cubicBezTo>
                    <a:pt x="88861" y="49270"/>
                    <a:pt x="73671" y="64008"/>
                    <a:pt x="56170" y="64008"/>
                  </a:cubicBezTo>
                  <a:close/>
                  <a:moveTo>
                    <a:pt x="91624" y="299324"/>
                  </a:moveTo>
                  <a:cubicBezTo>
                    <a:pt x="111420" y="299324"/>
                    <a:pt x="129841" y="289652"/>
                    <a:pt x="145040" y="271238"/>
                  </a:cubicBezTo>
                  <a:lnTo>
                    <a:pt x="145040" y="230250"/>
                  </a:lnTo>
                  <a:cubicBezTo>
                    <a:pt x="132144" y="227026"/>
                    <a:pt x="118789" y="225644"/>
                    <a:pt x="106823" y="225644"/>
                  </a:cubicBezTo>
                  <a:cubicBezTo>
                    <a:pt x="72290" y="225644"/>
                    <a:pt x="52486" y="239452"/>
                    <a:pt x="52486" y="264322"/>
                  </a:cubicBezTo>
                  <a:cubicBezTo>
                    <a:pt x="52477" y="285968"/>
                    <a:pt x="67684" y="299324"/>
                    <a:pt x="91624" y="299324"/>
                  </a:cubicBezTo>
                  <a:close/>
                  <a:moveTo>
                    <a:pt x="151948" y="64008"/>
                  </a:moveTo>
                  <a:cubicBezTo>
                    <a:pt x="134447" y="64008"/>
                    <a:pt x="119258" y="49270"/>
                    <a:pt x="119258" y="32238"/>
                  </a:cubicBezTo>
                  <a:cubicBezTo>
                    <a:pt x="119258" y="15198"/>
                    <a:pt x="134447" y="0"/>
                    <a:pt x="151948" y="0"/>
                  </a:cubicBezTo>
                  <a:cubicBezTo>
                    <a:pt x="169448" y="0"/>
                    <a:pt x="184639" y="15190"/>
                    <a:pt x="184639" y="32238"/>
                  </a:cubicBezTo>
                  <a:cubicBezTo>
                    <a:pt x="184647" y="49270"/>
                    <a:pt x="169448" y="64008"/>
                    <a:pt x="151948" y="6400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4" name="Freihandform: Form 243">
              <a:extLst>
                <a:ext uri="{FF2B5EF4-FFF2-40B4-BE49-F238E27FC236}">
                  <a16:creationId xmlns:a16="http://schemas.microsoft.com/office/drawing/2014/main" id="{CEB3EB81-D1C4-D044-AF1C-A8DEBD1A5204}"/>
                </a:ext>
              </a:extLst>
            </p:cNvPr>
            <p:cNvSpPr/>
            <p:nvPr/>
          </p:nvSpPr>
          <p:spPr>
            <a:xfrm>
              <a:off x="10641954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67" y="264791"/>
                    <a:pt x="145977" y="26018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5" name="Freihandform: Form 244">
              <a:extLst>
                <a:ext uri="{FF2B5EF4-FFF2-40B4-BE49-F238E27FC236}">
                  <a16:creationId xmlns:a16="http://schemas.microsoft.com/office/drawing/2014/main" id="{0F085344-7F64-BC41-B7A2-F0B1CFC073CE}"/>
                </a:ext>
              </a:extLst>
            </p:cNvPr>
            <p:cNvSpPr/>
            <p:nvPr/>
          </p:nvSpPr>
          <p:spPr>
            <a:xfrm>
              <a:off x="4034676" y="2461949"/>
              <a:ext cx="203537" cy="324184"/>
            </a:xfrm>
            <a:custGeom>
              <a:avLst/>
              <a:gdLst>
                <a:gd name="connsiteX0" fmla="*/ 203538 w 203537"/>
                <a:gd name="connsiteY0" fmla="*/ 52955 h 324184"/>
                <a:gd name="connsiteX1" fmla="*/ 57561 w 203537"/>
                <a:gd name="connsiteY1" fmla="*/ 52955 h 324184"/>
                <a:gd name="connsiteX2" fmla="*/ 57561 w 203537"/>
                <a:gd name="connsiteY2" fmla="*/ 133543 h 324184"/>
                <a:gd name="connsiteX3" fmla="*/ 166694 w 203537"/>
                <a:gd name="connsiteY3" fmla="*/ 133543 h 324184"/>
                <a:gd name="connsiteX4" fmla="*/ 166694 w 203537"/>
                <a:gd name="connsiteY4" fmla="*/ 186037 h 324184"/>
                <a:gd name="connsiteX5" fmla="*/ 57561 w 203537"/>
                <a:gd name="connsiteY5" fmla="*/ 186037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55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55"/>
                  </a:moveTo>
                  <a:lnTo>
                    <a:pt x="57561" y="52955"/>
                  </a:lnTo>
                  <a:lnTo>
                    <a:pt x="57561" y="133543"/>
                  </a:lnTo>
                  <a:lnTo>
                    <a:pt x="166694" y="133543"/>
                  </a:lnTo>
                  <a:lnTo>
                    <a:pt x="166694" y="186037"/>
                  </a:lnTo>
                  <a:lnTo>
                    <a:pt x="57561" y="186037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5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6" name="Freihandform: Form 245">
              <a:extLst>
                <a:ext uri="{FF2B5EF4-FFF2-40B4-BE49-F238E27FC236}">
                  <a16:creationId xmlns:a16="http://schemas.microsoft.com/office/drawing/2014/main" id="{E329E034-02D6-8E4E-B8DF-04E61F43DE7C}"/>
                </a:ext>
              </a:extLst>
            </p:cNvPr>
            <p:cNvSpPr/>
            <p:nvPr/>
          </p:nvSpPr>
          <p:spPr>
            <a:xfrm>
              <a:off x="4248564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94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5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7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52" y="132621"/>
                    <a:pt x="118796" y="131240"/>
                    <a:pt x="106822" y="131240"/>
                  </a:cubicBezTo>
                  <a:cubicBezTo>
                    <a:pt x="72289" y="131240"/>
                    <a:pt x="52494" y="145048"/>
                    <a:pt x="52494" y="169918"/>
                  </a:cubicBezTo>
                  <a:cubicBezTo>
                    <a:pt x="52494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7" name="Freihandform: Form 246">
              <a:extLst>
                <a:ext uri="{FF2B5EF4-FFF2-40B4-BE49-F238E27FC236}">
                  <a16:creationId xmlns:a16="http://schemas.microsoft.com/office/drawing/2014/main" id="{A32F911F-8DE3-CA4E-A53E-F107EE54ADA3}"/>
                </a:ext>
              </a:extLst>
            </p:cNvPr>
            <p:cNvSpPr/>
            <p:nvPr/>
          </p:nvSpPr>
          <p:spPr>
            <a:xfrm>
              <a:off x="4504663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1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09" y="50191"/>
                  </a:cubicBezTo>
                  <a:cubicBezTo>
                    <a:pt x="78276" y="50191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71" y="196161"/>
                    <a:pt x="145509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8" name="Freihandform: Form 247">
              <a:extLst>
                <a:ext uri="{FF2B5EF4-FFF2-40B4-BE49-F238E27FC236}">
                  <a16:creationId xmlns:a16="http://schemas.microsoft.com/office/drawing/2014/main" id="{02DEC2DE-6F39-2E43-A81F-878F069A5605}"/>
                </a:ext>
              </a:extLst>
            </p:cNvPr>
            <p:cNvSpPr/>
            <p:nvPr/>
          </p:nvSpPr>
          <p:spPr>
            <a:xfrm>
              <a:off x="4749206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8 w 201695"/>
                <a:gd name="connsiteY10" fmla="*/ 136298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298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9" name="Freihandform: Form 248">
              <a:extLst>
                <a:ext uri="{FF2B5EF4-FFF2-40B4-BE49-F238E27FC236}">
                  <a16:creationId xmlns:a16="http://schemas.microsoft.com/office/drawing/2014/main" id="{F66429FB-ECC8-0A45-85D8-A187E3D060D9}"/>
                </a:ext>
              </a:extLst>
            </p:cNvPr>
            <p:cNvSpPr/>
            <p:nvPr/>
          </p:nvSpPr>
          <p:spPr>
            <a:xfrm>
              <a:off x="5020788" y="2443535"/>
              <a:ext cx="218735" cy="348125"/>
            </a:xfrm>
            <a:custGeom>
              <a:avLst/>
              <a:gdLst>
                <a:gd name="connsiteX0" fmla="*/ 218736 w 218735"/>
                <a:gd name="connsiteY0" fmla="*/ 223785 h 348125"/>
                <a:gd name="connsiteX1" fmla="*/ 122959 w 218735"/>
                <a:gd name="connsiteY1" fmla="*/ 348125 h 348125"/>
                <a:gd name="connsiteX2" fmla="*/ 53424 w 218735"/>
                <a:gd name="connsiteY2" fmla="*/ 315434 h 348125"/>
                <a:gd name="connsiteX3" fmla="*/ 52503 w 218735"/>
                <a:gd name="connsiteY3" fmla="*/ 315434 h 348125"/>
                <a:gd name="connsiteX4" fmla="*/ 52503 w 218735"/>
                <a:gd name="connsiteY4" fmla="*/ 342599 h 348125"/>
                <a:gd name="connsiteX5" fmla="*/ 0 w 218735"/>
                <a:gd name="connsiteY5" fmla="*/ 342599 h 348125"/>
                <a:gd name="connsiteX6" fmla="*/ 0 w 218735"/>
                <a:gd name="connsiteY6" fmla="*/ 13808 h 348125"/>
                <a:gd name="connsiteX7" fmla="*/ 54806 w 218735"/>
                <a:gd name="connsiteY7" fmla="*/ 0 h 348125"/>
                <a:gd name="connsiteX8" fmla="*/ 54806 w 218735"/>
                <a:gd name="connsiteY8" fmla="*/ 135376 h 348125"/>
                <a:gd name="connsiteX9" fmla="*/ 55719 w 218735"/>
                <a:gd name="connsiteY9" fmla="*/ 135376 h 348125"/>
                <a:gd name="connsiteX10" fmla="*/ 124332 w 218735"/>
                <a:gd name="connsiteY10" fmla="*/ 102225 h 348125"/>
                <a:gd name="connsiteX11" fmla="*/ 218736 w 218735"/>
                <a:gd name="connsiteY11" fmla="*/ 223785 h 348125"/>
                <a:gd name="connsiteX12" fmla="*/ 164852 w 218735"/>
                <a:gd name="connsiteY12" fmla="*/ 225167 h 348125"/>
                <a:gd name="connsiteX13" fmla="*/ 110055 w 218735"/>
                <a:gd name="connsiteY13" fmla="*/ 151487 h 348125"/>
                <a:gd name="connsiteX14" fmla="*/ 54797 w 218735"/>
                <a:gd name="connsiteY14" fmla="*/ 181883 h 348125"/>
                <a:gd name="connsiteX15" fmla="*/ 54797 w 218735"/>
                <a:gd name="connsiteY15" fmla="*/ 267537 h 348125"/>
                <a:gd name="connsiteX16" fmla="*/ 110507 w 218735"/>
                <a:gd name="connsiteY16" fmla="*/ 299315 h 348125"/>
                <a:gd name="connsiteX17" fmla="*/ 164852 w 218735"/>
                <a:gd name="connsiteY17" fmla="*/ 225167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8735" h="348125">
                  <a:moveTo>
                    <a:pt x="218736" y="223785"/>
                  </a:moveTo>
                  <a:cubicBezTo>
                    <a:pt x="218736" y="299315"/>
                    <a:pt x="180519" y="348125"/>
                    <a:pt x="122959" y="348125"/>
                  </a:cubicBezTo>
                  <a:cubicBezTo>
                    <a:pt x="93483" y="348125"/>
                    <a:pt x="69074" y="335690"/>
                    <a:pt x="53424" y="315434"/>
                  </a:cubicBezTo>
                  <a:lnTo>
                    <a:pt x="52503" y="315434"/>
                  </a:lnTo>
                  <a:lnTo>
                    <a:pt x="52503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806" y="0"/>
                  </a:lnTo>
                  <a:lnTo>
                    <a:pt x="54806" y="135376"/>
                  </a:lnTo>
                  <a:lnTo>
                    <a:pt x="55719" y="135376"/>
                  </a:lnTo>
                  <a:cubicBezTo>
                    <a:pt x="71377" y="114652"/>
                    <a:pt x="95317" y="102225"/>
                    <a:pt x="124332" y="102225"/>
                  </a:cubicBezTo>
                  <a:cubicBezTo>
                    <a:pt x="180510" y="102217"/>
                    <a:pt x="218736" y="147803"/>
                    <a:pt x="218736" y="223785"/>
                  </a:cubicBezTo>
                  <a:close/>
                  <a:moveTo>
                    <a:pt x="164852" y="225167"/>
                  </a:moveTo>
                  <a:cubicBezTo>
                    <a:pt x="164852" y="176826"/>
                    <a:pt x="145056" y="151487"/>
                    <a:pt x="110055" y="151487"/>
                  </a:cubicBezTo>
                  <a:cubicBezTo>
                    <a:pt x="88878" y="151487"/>
                    <a:pt x="71838" y="160707"/>
                    <a:pt x="54797" y="181883"/>
                  </a:cubicBezTo>
                  <a:lnTo>
                    <a:pt x="54797" y="267537"/>
                  </a:lnTo>
                  <a:cubicBezTo>
                    <a:pt x="70448" y="288262"/>
                    <a:pt x="87949" y="299315"/>
                    <a:pt x="110507" y="299315"/>
                  </a:cubicBezTo>
                  <a:cubicBezTo>
                    <a:pt x="145969" y="299307"/>
                    <a:pt x="164852" y="272134"/>
                    <a:pt x="164852" y="225167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0" name="Freihandform: Form 249">
              <a:extLst>
                <a:ext uri="{FF2B5EF4-FFF2-40B4-BE49-F238E27FC236}">
                  <a16:creationId xmlns:a16="http://schemas.microsoft.com/office/drawing/2014/main" id="{E3494488-3642-EE4C-8114-D1013B394EB0}"/>
                </a:ext>
              </a:extLst>
            </p:cNvPr>
            <p:cNvSpPr/>
            <p:nvPr/>
          </p:nvSpPr>
          <p:spPr>
            <a:xfrm>
              <a:off x="5287630" y="2545752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806 w 214138"/>
                <a:gd name="connsiteY10" fmla="*/ 101765 h 245899"/>
                <a:gd name="connsiteX11" fmla="*/ 161176 w 214138"/>
                <a:gd name="connsiteY11" fmla="*/ 101765 h 245899"/>
                <a:gd name="connsiteX12" fmla="*/ 109134 w 214138"/>
                <a:gd name="connsiteY12" fmla="*/ 45125 h 245899"/>
                <a:gd name="connsiteX13" fmla="*/ 54806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7" y="198924"/>
                    <a:pt x="155658" y="190634"/>
                    <a:pt x="174079" y="171291"/>
                  </a:cubicBezTo>
                  <a:lnTo>
                    <a:pt x="208152" y="207214"/>
                  </a:lnTo>
                  <a:cubicBezTo>
                    <a:pt x="181440" y="233465"/>
                    <a:pt x="151504" y="245900"/>
                    <a:pt x="116042" y="245900"/>
                  </a:cubicBezTo>
                  <a:close/>
                  <a:moveTo>
                    <a:pt x="54806" y="101765"/>
                  </a:moveTo>
                  <a:lnTo>
                    <a:pt x="161176" y="101765"/>
                  </a:lnTo>
                  <a:cubicBezTo>
                    <a:pt x="158873" y="65850"/>
                    <a:pt x="139990" y="45125"/>
                    <a:pt x="109134" y="45125"/>
                  </a:cubicBezTo>
                  <a:cubicBezTo>
                    <a:pt x="78746" y="45134"/>
                    <a:pt x="59411" y="65390"/>
                    <a:pt x="54806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1" name="Freihandform: Form 250">
              <a:extLst>
                <a:ext uri="{FF2B5EF4-FFF2-40B4-BE49-F238E27FC236}">
                  <a16:creationId xmlns:a16="http://schemas.microsoft.com/office/drawing/2014/main" id="{A3A2F3C6-2C0D-4D45-B46F-BF1DE25E1CC6}"/>
                </a:ext>
              </a:extLst>
            </p:cNvPr>
            <p:cNvSpPr/>
            <p:nvPr/>
          </p:nvSpPr>
          <p:spPr>
            <a:xfrm>
              <a:off x="5561607" y="2545769"/>
              <a:ext cx="141832" cy="240365"/>
            </a:xfrm>
            <a:custGeom>
              <a:avLst/>
              <a:gdLst>
                <a:gd name="connsiteX0" fmla="*/ 141833 w 141832"/>
                <a:gd name="connsiteY0" fmla="*/ 5049 h 240365"/>
                <a:gd name="connsiteX1" fmla="*/ 133082 w 141832"/>
                <a:gd name="connsiteY1" fmla="*/ 61228 h 240365"/>
                <a:gd name="connsiteX2" fmla="*/ 102686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34 w 141832"/>
                <a:gd name="connsiteY10" fmla="*/ 0 h 240365"/>
                <a:gd name="connsiteX11" fmla="*/ 141833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3" y="5049"/>
                  </a:moveTo>
                  <a:lnTo>
                    <a:pt x="133082" y="61228"/>
                  </a:lnTo>
                  <a:cubicBezTo>
                    <a:pt x="124792" y="56623"/>
                    <a:pt x="114661" y="53859"/>
                    <a:pt x="102686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4" y="0"/>
                  </a:cubicBezTo>
                  <a:cubicBezTo>
                    <a:pt x="123879" y="-17"/>
                    <a:pt x="133543" y="1365"/>
                    <a:pt x="141833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2" name="Freihandform: Form 251">
              <a:extLst>
                <a:ext uri="{FF2B5EF4-FFF2-40B4-BE49-F238E27FC236}">
                  <a16:creationId xmlns:a16="http://schemas.microsoft.com/office/drawing/2014/main" id="{604E27F8-3A52-2F4E-8C66-946E882601A7}"/>
                </a:ext>
              </a:extLst>
            </p:cNvPr>
            <p:cNvSpPr/>
            <p:nvPr/>
          </p:nvSpPr>
          <p:spPr>
            <a:xfrm>
              <a:off x="5733668" y="2545752"/>
              <a:ext cx="214138" cy="245899"/>
            </a:xfrm>
            <a:custGeom>
              <a:avLst/>
              <a:gdLst>
                <a:gd name="connsiteX0" fmla="*/ 116041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6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1 w 214138"/>
                <a:gd name="connsiteY8" fmla="*/ 207214 h 245899"/>
                <a:gd name="connsiteX9" fmla="*/ 116041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5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1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6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6" y="198924"/>
                    <a:pt x="155657" y="190634"/>
                    <a:pt x="174079" y="171291"/>
                  </a:cubicBezTo>
                  <a:lnTo>
                    <a:pt x="208151" y="207214"/>
                  </a:lnTo>
                  <a:cubicBezTo>
                    <a:pt x="181431" y="233465"/>
                    <a:pt x="151495" y="245900"/>
                    <a:pt x="116041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5"/>
                    <a:pt x="109125" y="45125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3" name="Freihandform: Form 252">
              <a:extLst>
                <a:ext uri="{FF2B5EF4-FFF2-40B4-BE49-F238E27FC236}">
                  <a16:creationId xmlns:a16="http://schemas.microsoft.com/office/drawing/2014/main" id="{C3503F79-8014-F34D-81A3-95D14825164D}"/>
                </a:ext>
              </a:extLst>
            </p:cNvPr>
            <p:cNvSpPr/>
            <p:nvPr/>
          </p:nvSpPr>
          <p:spPr>
            <a:xfrm>
              <a:off x="5999489" y="2447663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4" name="Freihandform: Form 253">
              <a:extLst>
                <a:ext uri="{FF2B5EF4-FFF2-40B4-BE49-F238E27FC236}">
                  <a16:creationId xmlns:a16="http://schemas.microsoft.com/office/drawing/2014/main" id="{01242C23-F6AF-0D4E-B856-CA42B9F54609}"/>
                </a:ext>
              </a:extLst>
            </p:cNvPr>
            <p:cNvSpPr/>
            <p:nvPr/>
          </p:nvSpPr>
          <p:spPr>
            <a:xfrm>
              <a:off x="6120438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8 w 197542"/>
                <a:gd name="connsiteY5" fmla="*/ 75974 h 245899"/>
                <a:gd name="connsiteX6" fmla="*/ 112810 w 197542"/>
                <a:gd name="connsiteY6" fmla="*/ 50191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8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63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5" name="Freihandform: Form 254">
              <a:extLst>
                <a:ext uri="{FF2B5EF4-FFF2-40B4-BE49-F238E27FC236}">
                  <a16:creationId xmlns:a16="http://schemas.microsoft.com/office/drawing/2014/main" id="{4CA1F2F5-DC2F-794B-9A56-DF56538018F3}"/>
                </a:ext>
              </a:extLst>
            </p:cNvPr>
            <p:cNvSpPr/>
            <p:nvPr/>
          </p:nvSpPr>
          <p:spPr>
            <a:xfrm>
              <a:off x="6364973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9 w 201695"/>
                <a:gd name="connsiteY10" fmla="*/ 136298 h 342598"/>
                <a:gd name="connsiteX11" fmla="*/ 124324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9" y="136298"/>
                  </a:lnTo>
                  <a:cubicBezTo>
                    <a:pt x="69074" y="115573"/>
                    <a:pt x="93483" y="102225"/>
                    <a:pt x="124324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6" name="Freihandform: Form 255">
              <a:extLst>
                <a:ext uri="{FF2B5EF4-FFF2-40B4-BE49-F238E27FC236}">
                  <a16:creationId xmlns:a16="http://schemas.microsoft.com/office/drawing/2014/main" id="{D6DCBF28-06AD-9D4B-849B-0C1AD6B0A7F3}"/>
                </a:ext>
              </a:extLst>
            </p:cNvPr>
            <p:cNvSpPr/>
            <p:nvPr/>
          </p:nvSpPr>
          <p:spPr>
            <a:xfrm>
              <a:off x="6751826" y="2461940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9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2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9 w 398768"/>
                <a:gd name="connsiteY9" fmla="*/ 0 h 324184"/>
                <a:gd name="connsiteX10" fmla="*/ 317260 w 398768"/>
                <a:gd name="connsiteY10" fmla="*/ 324185 h 324184"/>
                <a:gd name="connsiteX11" fmla="*/ 257858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9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2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9" y="0"/>
                  </a:lnTo>
                  <a:lnTo>
                    <a:pt x="317260" y="324185"/>
                  </a:lnTo>
                  <a:lnTo>
                    <a:pt x="257858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7" name="Freihandform: Form 256">
              <a:extLst>
                <a:ext uri="{FF2B5EF4-FFF2-40B4-BE49-F238E27FC236}">
                  <a16:creationId xmlns:a16="http://schemas.microsoft.com/office/drawing/2014/main" id="{5B0B90D1-8D4F-EF4E-9979-19365E5D27C9}"/>
                </a:ext>
              </a:extLst>
            </p:cNvPr>
            <p:cNvSpPr/>
            <p:nvPr/>
          </p:nvSpPr>
          <p:spPr>
            <a:xfrm>
              <a:off x="7196759" y="2447663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8" name="Freihandform: Form 257">
              <a:extLst>
                <a:ext uri="{FF2B5EF4-FFF2-40B4-BE49-F238E27FC236}">
                  <a16:creationId xmlns:a16="http://schemas.microsoft.com/office/drawing/2014/main" id="{BE10948C-97EB-A442-9B65-93A193D2BB80}"/>
                </a:ext>
              </a:extLst>
            </p:cNvPr>
            <p:cNvSpPr/>
            <p:nvPr/>
          </p:nvSpPr>
          <p:spPr>
            <a:xfrm>
              <a:off x="7330586" y="2545769"/>
              <a:ext cx="141832" cy="240365"/>
            </a:xfrm>
            <a:custGeom>
              <a:avLst/>
              <a:gdLst>
                <a:gd name="connsiteX0" fmla="*/ 141832 w 141832"/>
                <a:gd name="connsiteY0" fmla="*/ 5049 h 240365"/>
                <a:gd name="connsiteX1" fmla="*/ 133082 w 141832"/>
                <a:gd name="connsiteY1" fmla="*/ 61228 h 240365"/>
                <a:gd name="connsiteX2" fmla="*/ 102694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41 w 141832"/>
                <a:gd name="connsiteY10" fmla="*/ 0 h 240365"/>
                <a:gd name="connsiteX11" fmla="*/ 141832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2" y="5049"/>
                  </a:moveTo>
                  <a:lnTo>
                    <a:pt x="133082" y="61228"/>
                  </a:lnTo>
                  <a:cubicBezTo>
                    <a:pt x="124792" y="56623"/>
                    <a:pt x="114668" y="53859"/>
                    <a:pt x="102694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3" y="13348"/>
                    <a:pt x="89330" y="0"/>
                    <a:pt x="116041" y="0"/>
                  </a:cubicBezTo>
                  <a:cubicBezTo>
                    <a:pt x="123871" y="-17"/>
                    <a:pt x="133543" y="1365"/>
                    <a:pt x="141832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9" name="Freihandform: Form 258">
              <a:extLst>
                <a:ext uri="{FF2B5EF4-FFF2-40B4-BE49-F238E27FC236}">
                  <a16:creationId xmlns:a16="http://schemas.microsoft.com/office/drawing/2014/main" id="{4C288427-37D2-FB4D-B408-246FF3E06988}"/>
                </a:ext>
              </a:extLst>
            </p:cNvPr>
            <p:cNvSpPr/>
            <p:nvPr/>
          </p:nvSpPr>
          <p:spPr>
            <a:xfrm>
              <a:off x="7506323" y="2475749"/>
              <a:ext cx="145977" cy="315903"/>
            </a:xfrm>
            <a:custGeom>
              <a:avLst/>
              <a:gdLst>
                <a:gd name="connsiteX0" fmla="*/ 145978 w 145977"/>
                <a:gd name="connsiteY0" fmla="*/ 260185 h 315903"/>
                <a:gd name="connsiteX1" fmla="*/ 145978 w 145977"/>
                <a:gd name="connsiteY1" fmla="*/ 307153 h 315903"/>
                <a:gd name="connsiteX2" fmla="*/ 99923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2 w 145977"/>
                <a:gd name="connsiteY15" fmla="*/ 268006 h 315903"/>
                <a:gd name="connsiteX16" fmla="*/ 145978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3" y="312680"/>
                    <a:pt x="116041" y="315903"/>
                    <a:pt x="99923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20" y="268006"/>
                    <a:pt x="115572" y="268006"/>
                  </a:cubicBezTo>
                  <a:cubicBezTo>
                    <a:pt x="125721" y="268015"/>
                    <a:pt x="136766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0" name="Freihandform: Form 259">
              <a:extLst>
                <a:ext uri="{FF2B5EF4-FFF2-40B4-BE49-F238E27FC236}">
                  <a16:creationId xmlns:a16="http://schemas.microsoft.com/office/drawing/2014/main" id="{6E0B30B8-8311-4245-A333-A8DCC8F1926B}"/>
                </a:ext>
              </a:extLst>
            </p:cNvPr>
            <p:cNvSpPr/>
            <p:nvPr/>
          </p:nvSpPr>
          <p:spPr>
            <a:xfrm>
              <a:off x="7691154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3" y="53415"/>
                    <a:pt x="115121" y="46499"/>
                    <a:pt x="97159" y="46499"/>
                  </a:cubicBezTo>
                  <a:cubicBezTo>
                    <a:pt x="76896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1" name="Freihandform: Form 260">
              <a:extLst>
                <a:ext uri="{FF2B5EF4-FFF2-40B4-BE49-F238E27FC236}">
                  <a16:creationId xmlns:a16="http://schemas.microsoft.com/office/drawing/2014/main" id="{462B3C2A-5B5A-E843-8BFD-8621A1CDE12D}"/>
                </a:ext>
              </a:extLst>
            </p:cNvPr>
            <p:cNvSpPr/>
            <p:nvPr/>
          </p:nvSpPr>
          <p:spPr>
            <a:xfrm>
              <a:off x="7916480" y="2545760"/>
              <a:ext cx="197541" cy="245899"/>
            </a:xfrm>
            <a:custGeom>
              <a:avLst/>
              <a:gdLst>
                <a:gd name="connsiteX0" fmla="*/ 196169 w 197541"/>
                <a:gd name="connsiteY0" fmla="*/ 208135 h 245899"/>
                <a:gd name="connsiteX1" fmla="*/ 112357 w 197541"/>
                <a:gd name="connsiteY1" fmla="*/ 245900 h 245899"/>
                <a:gd name="connsiteX2" fmla="*/ 0 w 197541"/>
                <a:gd name="connsiteY2" fmla="*/ 123871 h 245899"/>
                <a:gd name="connsiteX3" fmla="*/ 113278 w 197541"/>
                <a:gd name="connsiteY3" fmla="*/ 0 h 245899"/>
                <a:gd name="connsiteX4" fmla="*/ 197542 w 197541"/>
                <a:gd name="connsiteY4" fmla="*/ 40059 h 245899"/>
                <a:gd name="connsiteX5" fmla="*/ 159777 w 197541"/>
                <a:gd name="connsiteY5" fmla="*/ 75974 h 245899"/>
                <a:gd name="connsiteX6" fmla="*/ 112810 w 197541"/>
                <a:gd name="connsiteY6" fmla="*/ 50191 h 245899"/>
                <a:gd name="connsiteX7" fmla="*/ 54788 w 197541"/>
                <a:gd name="connsiteY7" fmla="*/ 122942 h 245899"/>
                <a:gd name="connsiteX8" fmla="*/ 112349 w 197541"/>
                <a:gd name="connsiteY8" fmla="*/ 196161 h 245899"/>
                <a:gd name="connsiteX9" fmla="*/ 160699 w 197541"/>
                <a:gd name="connsiteY9" fmla="*/ 170370 h 245899"/>
                <a:gd name="connsiteX10" fmla="*/ 196169 w 197541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1" h="245899">
                  <a:moveTo>
                    <a:pt x="196169" y="208135"/>
                  </a:moveTo>
                  <a:cubicBezTo>
                    <a:pt x="172680" y="233926"/>
                    <a:pt x="145977" y="245900"/>
                    <a:pt x="112357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8" y="78737"/>
                    <a:pt x="54788" y="122942"/>
                  </a:cubicBezTo>
                  <a:cubicBezTo>
                    <a:pt x="54788" y="166694"/>
                    <a:pt x="78277" y="196161"/>
                    <a:pt x="112349" y="196161"/>
                  </a:cubicBezTo>
                  <a:cubicBezTo>
                    <a:pt x="130762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2" name="Freihandform: Form 261">
              <a:extLst>
                <a:ext uri="{FF2B5EF4-FFF2-40B4-BE49-F238E27FC236}">
                  <a16:creationId xmlns:a16="http://schemas.microsoft.com/office/drawing/2014/main" id="{9458C6EE-D393-0446-A576-F9838D0740F1}"/>
                </a:ext>
              </a:extLst>
            </p:cNvPr>
            <p:cNvSpPr/>
            <p:nvPr/>
          </p:nvSpPr>
          <p:spPr>
            <a:xfrm>
              <a:off x="8161024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8 w 201695"/>
                <a:gd name="connsiteY1" fmla="*/ 342590 h 342598"/>
                <a:gd name="connsiteX2" fmla="*/ 146898 w 201695"/>
                <a:gd name="connsiteY2" fmla="*/ 208587 h 342598"/>
                <a:gd name="connsiteX3" fmla="*/ 103607 w 201695"/>
                <a:gd name="connsiteY3" fmla="*/ 151487 h 342598"/>
                <a:gd name="connsiteX4" fmla="*/ 54798 w 201695"/>
                <a:gd name="connsiteY4" fmla="*/ 208135 h 342598"/>
                <a:gd name="connsiteX5" fmla="*/ 54798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8 w 201695"/>
                <a:gd name="connsiteY8" fmla="*/ 0 h 342598"/>
                <a:gd name="connsiteX9" fmla="*/ 54798 w 201695"/>
                <a:gd name="connsiteY9" fmla="*/ 136298 h 342598"/>
                <a:gd name="connsiteX10" fmla="*/ 55719 w 201695"/>
                <a:gd name="connsiteY10" fmla="*/ 136298 h 342598"/>
                <a:gd name="connsiteX11" fmla="*/ 124332 w 201695"/>
                <a:gd name="connsiteY11" fmla="*/ 102225 h 342598"/>
                <a:gd name="connsiteX12" fmla="*/ 201688 w 201695"/>
                <a:gd name="connsiteY12" fmla="*/ 197082 h 342598"/>
                <a:gd name="connsiteX13" fmla="*/ 201688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306" y="151487"/>
                    <a:pt x="103607" y="151487"/>
                  </a:cubicBezTo>
                  <a:cubicBezTo>
                    <a:pt x="65850" y="151487"/>
                    <a:pt x="54798" y="181423"/>
                    <a:pt x="54798" y="208135"/>
                  </a:cubicBezTo>
                  <a:lnTo>
                    <a:pt x="54798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8" y="0"/>
                  </a:lnTo>
                  <a:lnTo>
                    <a:pt x="54798" y="136298"/>
                  </a:lnTo>
                  <a:lnTo>
                    <a:pt x="55719" y="136298"/>
                  </a:lnTo>
                  <a:cubicBezTo>
                    <a:pt x="69074" y="115573"/>
                    <a:pt x="93484" y="102225"/>
                    <a:pt x="124332" y="102225"/>
                  </a:cubicBezTo>
                  <a:cubicBezTo>
                    <a:pt x="178660" y="102225"/>
                    <a:pt x="201688" y="142745"/>
                    <a:pt x="201688" y="197082"/>
                  </a:cubicBezTo>
                  <a:lnTo>
                    <a:pt x="201688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3" name="Freihandform: Form 262">
              <a:extLst>
                <a:ext uri="{FF2B5EF4-FFF2-40B4-BE49-F238E27FC236}">
                  <a16:creationId xmlns:a16="http://schemas.microsoft.com/office/drawing/2014/main" id="{CC1AC48D-45B3-3F4A-9BAE-9ECF8928E700}"/>
                </a:ext>
              </a:extLst>
            </p:cNvPr>
            <p:cNvSpPr/>
            <p:nvPr/>
          </p:nvSpPr>
          <p:spPr>
            <a:xfrm>
              <a:off x="8416729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40 w 198923"/>
                <a:gd name="connsiteY1" fmla="*/ 99922 h 245899"/>
                <a:gd name="connsiteX2" fmla="*/ 145040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6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495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26" y="94856"/>
                    <a:pt x="129851" y="95778"/>
                    <a:pt x="145040" y="99922"/>
                  </a:cubicBezTo>
                  <a:lnTo>
                    <a:pt x="145040" y="91633"/>
                  </a:lnTo>
                  <a:cubicBezTo>
                    <a:pt x="145040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2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28" y="204919"/>
                    <a:pt x="129851" y="195248"/>
                    <a:pt x="145048" y="176834"/>
                  </a:cubicBezTo>
                  <a:lnTo>
                    <a:pt x="145048" y="135845"/>
                  </a:lnTo>
                  <a:cubicBezTo>
                    <a:pt x="132152" y="132621"/>
                    <a:pt x="118797" y="131240"/>
                    <a:pt x="106831" y="131240"/>
                  </a:cubicBezTo>
                  <a:cubicBezTo>
                    <a:pt x="72298" y="131240"/>
                    <a:pt x="52495" y="145048"/>
                    <a:pt x="52495" y="169918"/>
                  </a:cubicBezTo>
                  <a:cubicBezTo>
                    <a:pt x="52486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4" name="Freihandform: Form 263">
              <a:extLst>
                <a:ext uri="{FF2B5EF4-FFF2-40B4-BE49-F238E27FC236}">
                  <a16:creationId xmlns:a16="http://schemas.microsoft.com/office/drawing/2014/main" id="{0381D8F0-FF8A-044E-8592-C7C2426E759F}"/>
                </a:ext>
              </a:extLst>
            </p:cNvPr>
            <p:cNvSpPr/>
            <p:nvPr/>
          </p:nvSpPr>
          <p:spPr>
            <a:xfrm>
              <a:off x="8659530" y="2440295"/>
              <a:ext cx="143667" cy="345830"/>
            </a:xfrm>
            <a:custGeom>
              <a:avLst/>
              <a:gdLst>
                <a:gd name="connsiteX0" fmla="*/ 143667 w 143667"/>
                <a:gd name="connsiteY0" fmla="*/ 51582 h 345830"/>
                <a:gd name="connsiteX1" fmla="*/ 119727 w 143667"/>
                <a:gd name="connsiteY1" fmla="*/ 46976 h 345830"/>
                <a:gd name="connsiteX2" fmla="*/ 90712 w 143667"/>
                <a:gd name="connsiteY2" fmla="*/ 79667 h 345830"/>
                <a:gd name="connsiteX3" fmla="*/ 90712 w 143667"/>
                <a:gd name="connsiteY3" fmla="*/ 111445 h 345830"/>
                <a:gd name="connsiteX4" fmla="*/ 137228 w 143667"/>
                <a:gd name="connsiteY4" fmla="*/ 111445 h 345830"/>
                <a:gd name="connsiteX5" fmla="*/ 137228 w 143667"/>
                <a:gd name="connsiteY5" fmla="*/ 157031 h 345830"/>
                <a:gd name="connsiteX6" fmla="*/ 91173 w 143667"/>
                <a:gd name="connsiteY6" fmla="*/ 157031 h 345830"/>
                <a:gd name="connsiteX7" fmla="*/ 91173 w 143667"/>
                <a:gd name="connsiteY7" fmla="*/ 345831 h 345830"/>
                <a:gd name="connsiteX8" fmla="*/ 36375 w 143667"/>
                <a:gd name="connsiteY8" fmla="*/ 345831 h 345830"/>
                <a:gd name="connsiteX9" fmla="*/ 36375 w 143667"/>
                <a:gd name="connsiteY9" fmla="*/ 157031 h 345830"/>
                <a:gd name="connsiteX10" fmla="*/ 0 w 143667"/>
                <a:gd name="connsiteY10" fmla="*/ 157031 h 345830"/>
                <a:gd name="connsiteX11" fmla="*/ 0 w 143667"/>
                <a:gd name="connsiteY11" fmla="*/ 111445 h 345830"/>
                <a:gd name="connsiteX12" fmla="*/ 36375 w 143667"/>
                <a:gd name="connsiteY12" fmla="*/ 111445 h 345830"/>
                <a:gd name="connsiteX13" fmla="*/ 36375 w 143667"/>
                <a:gd name="connsiteY13" fmla="*/ 77824 h 345830"/>
                <a:gd name="connsiteX14" fmla="*/ 110976 w 143667"/>
                <a:gd name="connsiteY14" fmla="*/ 0 h 345830"/>
                <a:gd name="connsiteX15" fmla="*/ 143667 w 143667"/>
                <a:gd name="connsiteY15" fmla="*/ 5066 h 345830"/>
                <a:gd name="connsiteX16" fmla="*/ 143667 w 143667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67" h="345830">
                  <a:moveTo>
                    <a:pt x="143667" y="51582"/>
                  </a:moveTo>
                  <a:cubicBezTo>
                    <a:pt x="136298" y="48358"/>
                    <a:pt x="127548" y="46976"/>
                    <a:pt x="119727" y="46976"/>
                  </a:cubicBezTo>
                  <a:cubicBezTo>
                    <a:pt x="99001" y="46976"/>
                    <a:pt x="90712" y="57569"/>
                    <a:pt x="90712" y="79667"/>
                  </a:cubicBezTo>
                  <a:lnTo>
                    <a:pt x="90712" y="111445"/>
                  </a:lnTo>
                  <a:lnTo>
                    <a:pt x="137228" y="111445"/>
                  </a:lnTo>
                  <a:lnTo>
                    <a:pt x="137228" y="157031"/>
                  </a:lnTo>
                  <a:lnTo>
                    <a:pt x="91173" y="157031"/>
                  </a:lnTo>
                  <a:lnTo>
                    <a:pt x="91173" y="345831"/>
                  </a:lnTo>
                  <a:lnTo>
                    <a:pt x="36375" y="345831"/>
                  </a:lnTo>
                  <a:lnTo>
                    <a:pt x="36375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75" y="111445"/>
                  </a:lnTo>
                  <a:lnTo>
                    <a:pt x="36375" y="77824"/>
                  </a:lnTo>
                  <a:cubicBezTo>
                    <a:pt x="36375" y="29015"/>
                    <a:pt x="58481" y="0"/>
                    <a:pt x="110976" y="0"/>
                  </a:cubicBezTo>
                  <a:cubicBezTo>
                    <a:pt x="122951" y="0"/>
                    <a:pt x="134465" y="1382"/>
                    <a:pt x="143667" y="5066"/>
                  </a:cubicBezTo>
                  <a:lnTo>
                    <a:pt x="143667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5" name="Freihandform: Form 264">
              <a:extLst>
                <a:ext uri="{FF2B5EF4-FFF2-40B4-BE49-F238E27FC236}">
                  <a16:creationId xmlns:a16="http://schemas.microsoft.com/office/drawing/2014/main" id="{5733C57A-4B8D-9E44-BAAB-39E2270882A9}"/>
                </a:ext>
              </a:extLst>
            </p:cNvPr>
            <p:cNvSpPr/>
            <p:nvPr/>
          </p:nvSpPr>
          <p:spPr>
            <a:xfrm>
              <a:off x="8832370" y="2475749"/>
              <a:ext cx="145978" cy="315903"/>
            </a:xfrm>
            <a:custGeom>
              <a:avLst/>
              <a:gdLst>
                <a:gd name="connsiteX0" fmla="*/ 145978 w 145978"/>
                <a:gd name="connsiteY0" fmla="*/ 260185 h 315903"/>
                <a:gd name="connsiteX1" fmla="*/ 145978 w 145978"/>
                <a:gd name="connsiteY1" fmla="*/ 307153 h 315903"/>
                <a:gd name="connsiteX2" fmla="*/ 99923 w 145978"/>
                <a:gd name="connsiteY2" fmla="*/ 315903 h 315903"/>
                <a:gd name="connsiteX3" fmla="*/ 35915 w 145978"/>
                <a:gd name="connsiteY3" fmla="*/ 250053 h 315903"/>
                <a:gd name="connsiteX4" fmla="*/ 35915 w 145978"/>
                <a:gd name="connsiteY4" fmla="*/ 121577 h 315903"/>
                <a:gd name="connsiteX5" fmla="*/ 0 w 145978"/>
                <a:gd name="connsiteY5" fmla="*/ 121577 h 315903"/>
                <a:gd name="connsiteX6" fmla="*/ 0 w 145978"/>
                <a:gd name="connsiteY6" fmla="*/ 75991 h 315903"/>
                <a:gd name="connsiteX7" fmla="*/ 35454 w 145978"/>
                <a:gd name="connsiteY7" fmla="*/ 75991 h 315903"/>
                <a:gd name="connsiteX8" fmla="*/ 35454 w 145978"/>
                <a:gd name="connsiteY8" fmla="*/ 11983 h 315903"/>
                <a:gd name="connsiteX9" fmla="*/ 90252 w 145978"/>
                <a:gd name="connsiteY9" fmla="*/ 0 h 315903"/>
                <a:gd name="connsiteX10" fmla="*/ 90252 w 145978"/>
                <a:gd name="connsiteY10" fmla="*/ 75982 h 315903"/>
                <a:gd name="connsiteX11" fmla="*/ 145969 w 145978"/>
                <a:gd name="connsiteY11" fmla="*/ 75982 h 315903"/>
                <a:gd name="connsiteX12" fmla="*/ 145969 w 145978"/>
                <a:gd name="connsiteY12" fmla="*/ 121568 h 315903"/>
                <a:gd name="connsiteX13" fmla="*/ 90252 w 145978"/>
                <a:gd name="connsiteY13" fmla="*/ 121568 h 315903"/>
                <a:gd name="connsiteX14" fmla="*/ 90252 w 145978"/>
                <a:gd name="connsiteY14" fmla="*/ 237149 h 315903"/>
                <a:gd name="connsiteX15" fmla="*/ 115573 w 145978"/>
                <a:gd name="connsiteY15" fmla="*/ 268006 h 315903"/>
                <a:gd name="connsiteX16" fmla="*/ 145978 w 145978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8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4" y="312680"/>
                    <a:pt x="116042" y="315903"/>
                    <a:pt x="99923" y="315903"/>
                  </a:cubicBezTo>
                  <a:cubicBezTo>
                    <a:pt x="58481" y="315903"/>
                    <a:pt x="35915" y="292876"/>
                    <a:pt x="35915" y="250053"/>
                  </a:cubicBezTo>
                  <a:lnTo>
                    <a:pt x="35915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2" y="0"/>
                  </a:lnTo>
                  <a:lnTo>
                    <a:pt x="90252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2" y="121568"/>
                  </a:lnTo>
                  <a:lnTo>
                    <a:pt x="90252" y="237149"/>
                  </a:lnTo>
                  <a:cubicBezTo>
                    <a:pt x="90252" y="258795"/>
                    <a:pt x="97620" y="268006"/>
                    <a:pt x="115573" y="268006"/>
                  </a:cubicBezTo>
                  <a:cubicBezTo>
                    <a:pt x="125714" y="268015"/>
                    <a:pt x="136758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6" name="Freihandform: Form 265">
              <a:extLst>
                <a:ext uri="{FF2B5EF4-FFF2-40B4-BE49-F238E27FC236}">
                  <a16:creationId xmlns:a16="http://schemas.microsoft.com/office/drawing/2014/main" id="{74B88222-7231-1E47-914A-5A89420805C7}"/>
                </a:ext>
              </a:extLst>
            </p:cNvPr>
            <p:cNvSpPr/>
            <p:nvPr/>
          </p:nvSpPr>
          <p:spPr>
            <a:xfrm>
              <a:off x="9017185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7" name="Freihandform: Form 266">
              <a:extLst>
                <a:ext uri="{FF2B5EF4-FFF2-40B4-BE49-F238E27FC236}">
                  <a16:creationId xmlns:a16="http://schemas.microsoft.com/office/drawing/2014/main" id="{9DA20F80-F615-0048-B7B4-35869E352513}"/>
                </a:ext>
              </a:extLst>
            </p:cNvPr>
            <p:cNvSpPr/>
            <p:nvPr/>
          </p:nvSpPr>
          <p:spPr>
            <a:xfrm>
              <a:off x="9240728" y="2616208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8" name="Freihandform: Form 267">
              <a:extLst>
                <a:ext uri="{FF2B5EF4-FFF2-40B4-BE49-F238E27FC236}">
                  <a16:creationId xmlns:a16="http://schemas.microsoft.com/office/drawing/2014/main" id="{528D026C-5241-8C4D-8B0B-D13CD139AFE5}"/>
                </a:ext>
              </a:extLst>
            </p:cNvPr>
            <p:cNvSpPr/>
            <p:nvPr/>
          </p:nvSpPr>
          <p:spPr>
            <a:xfrm>
              <a:off x="9550208" y="2551739"/>
              <a:ext cx="201686" cy="239921"/>
            </a:xfrm>
            <a:custGeom>
              <a:avLst/>
              <a:gdLst>
                <a:gd name="connsiteX0" fmla="*/ 54797 w 201686"/>
                <a:gd name="connsiteY0" fmla="*/ 140911 h 239921"/>
                <a:gd name="connsiteX1" fmla="*/ 101304 w 201686"/>
                <a:gd name="connsiteY1" fmla="*/ 190182 h 239921"/>
                <a:gd name="connsiteX2" fmla="*/ 146890 w 201686"/>
                <a:gd name="connsiteY2" fmla="*/ 140451 h 239921"/>
                <a:gd name="connsiteX3" fmla="*/ 146890 w 201686"/>
                <a:gd name="connsiteY3" fmla="*/ 8 h 239921"/>
                <a:gd name="connsiteX4" fmla="*/ 201687 w 201686"/>
                <a:gd name="connsiteY4" fmla="*/ 8 h 239921"/>
                <a:gd name="connsiteX5" fmla="*/ 201687 w 201686"/>
                <a:gd name="connsiteY5" fmla="*/ 142301 h 239921"/>
                <a:gd name="connsiteX6" fmla="*/ 102685 w 201686"/>
                <a:gd name="connsiteY6" fmla="*/ 239921 h 239921"/>
                <a:gd name="connsiteX7" fmla="*/ 0 w 201686"/>
                <a:gd name="connsiteY7" fmla="*/ 142754 h 239921"/>
                <a:gd name="connsiteX8" fmla="*/ 0 w 201686"/>
                <a:gd name="connsiteY8" fmla="*/ 0 h 239921"/>
                <a:gd name="connsiteX9" fmla="*/ 54797 w 201686"/>
                <a:gd name="connsiteY9" fmla="*/ 0 h 239921"/>
                <a:gd name="connsiteX10" fmla="*/ 54797 w 201686"/>
                <a:gd name="connsiteY10" fmla="*/ 140911 h 23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1686" h="239921">
                  <a:moveTo>
                    <a:pt x="54797" y="140911"/>
                  </a:moveTo>
                  <a:cubicBezTo>
                    <a:pt x="54797" y="173141"/>
                    <a:pt x="70916" y="190182"/>
                    <a:pt x="101304" y="190182"/>
                  </a:cubicBezTo>
                  <a:cubicBezTo>
                    <a:pt x="131240" y="190182"/>
                    <a:pt x="146890" y="173610"/>
                    <a:pt x="146890" y="140451"/>
                  </a:cubicBezTo>
                  <a:lnTo>
                    <a:pt x="146890" y="8"/>
                  </a:lnTo>
                  <a:lnTo>
                    <a:pt x="201687" y="8"/>
                  </a:lnTo>
                  <a:lnTo>
                    <a:pt x="201687" y="142301"/>
                  </a:lnTo>
                  <a:cubicBezTo>
                    <a:pt x="201687" y="203998"/>
                    <a:pt x="167155" y="239921"/>
                    <a:pt x="102685" y="239921"/>
                  </a:cubicBezTo>
                  <a:cubicBezTo>
                    <a:pt x="38678" y="239921"/>
                    <a:pt x="0" y="203998"/>
                    <a:pt x="0" y="142754"/>
                  </a:cubicBezTo>
                  <a:lnTo>
                    <a:pt x="0" y="0"/>
                  </a:lnTo>
                  <a:lnTo>
                    <a:pt x="54797" y="0"/>
                  </a:lnTo>
                  <a:lnTo>
                    <a:pt x="54797" y="14091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9" name="Freihandform: Form 268">
              <a:extLst>
                <a:ext uri="{FF2B5EF4-FFF2-40B4-BE49-F238E27FC236}">
                  <a16:creationId xmlns:a16="http://schemas.microsoft.com/office/drawing/2014/main" id="{EFCD1579-3F04-2A4C-BFDA-8EFFBDE8E1D4}"/>
                </a:ext>
              </a:extLst>
            </p:cNvPr>
            <p:cNvSpPr/>
            <p:nvPr/>
          </p:nvSpPr>
          <p:spPr>
            <a:xfrm>
              <a:off x="9821371" y="2545760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89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0" name="Freihandform: Form 269">
              <a:extLst>
                <a:ext uri="{FF2B5EF4-FFF2-40B4-BE49-F238E27FC236}">
                  <a16:creationId xmlns:a16="http://schemas.microsoft.com/office/drawing/2014/main" id="{8791EAE5-AAA2-514D-93E0-615D9DDC4BAF}"/>
                </a:ext>
              </a:extLst>
            </p:cNvPr>
            <p:cNvSpPr/>
            <p:nvPr/>
          </p:nvSpPr>
          <p:spPr>
            <a:xfrm>
              <a:off x="10081021" y="2443527"/>
              <a:ext cx="219196" cy="348125"/>
            </a:xfrm>
            <a:custGeom>
              <a:avLst/>
              <a:gdLst>
                <a:gd name="connsiteX0" fmla="*/ 0 w 219196"/>
                <a:gd name="connsiteY0" fmla="*/ 224715 h 348125"/>
                <a:gd name="connsiteX1" fmla="*/ 95326 w 219196"/>
                <a:gd name="connsiteY1" fmla="*/ 102225 h 348125"/>
                <a:gd name="connsiteX2" fmla="*/ 163478 w 219196"/>
                <a:gd name="connsiteY2" fmla="*/ 133995 h 348125"/>
                <a:gd name="connsiteX3" fmla="*/ 164399 w 219196"/>
                <a:gd name="connsiteY3" fmla="*/ 133995 h 348125"/>
                <a:gd name="connsiteX4" fmla="*/ 164399 w 219196"/>
                <a:gd name="connsiteY4" fmla="*/ 13808 h 348125"/>
                <a:gd name="connsiteX5" fmla="*/ 219196 w 219196"/>
                <a:gd name="connsiteY5" fmla="*/ 0 h 348125"/>
                <a:gd name="connsiteX6" fmla="*/ 219196 w 219196"/>
                <a:gd name="connsiteY6" fmla="*/ 342598 h 348125"/>
                <a:gd name="connsiteX7" fmla="*/ 165781 w 219196"/>
                <a:gd name="connsiteY7" fmla="*/ 342598 h 348125"/>
                <a:gd name="connsiteX8" fmla="*/ 165781 w 219196"/>
                <a:gd name="connsiteY8" fmla="*/ 314965 h 348125"/>
                <a:gd name="connsiteX9" fmla="*/ 164860 w 219196"/>
                <a:gd name="connsiteY9" fmla="*/ 314965 h 348125"/>
                <a:gd name="connsiteX10" fmla="*/ 94405 w 219196"/>
                <a:gd name="connsiteY10" fmla="*/ 348125 h 348125"/>
                <a:gd name="connsiteX11" fmla="*/ 0 w 219196"/>
                <a:gd name="connsiteY11" fmla="*/ 224715 h 348125"/>
                <a:gd name="connsiteX12" fmla="*/ 54345 w 219196"/>
                <a:gd name="connsiteY12" fmla="*/ 224715 h 348125"/>
                <a:gd name="connsiteX13" fmla="*/ 108681 w 219196"/>
                <a:gd name="connsiteY13" fmla="*/ 299776 h 348125"/>
                <a:gd name="connsiteX14" fmla="*/ 164399 w 219196"/>
                <a:gd name="connsiteY14" fmla="*/ 268919 h 348125"/>
                <a:gd name="connsiteX15" fmla="*/ 164399 w 219196"/>
                <a:gd name="connsiteY15" fmla="*/ 183265 h 348125"/>
                <a:gd name="connsiteX16" fmla="*/ 108681 w 219196"/>
                <a:gd name="connsiteY16" fmla="*/ 151956 h 348125"/>
                <a:gd name="connsiteX17" fmla="*/ 54345 w 219196"/>
                <a:gd name="connsiteY17" fmla="*/ 224715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6" h="348125">
                  <a:moveTo>
                    <a:pt x="0" y="224715"/>
                  </a:moveTo>
                  <a:cubicBezTo>
                    <a:pt x="0" y="149193"/>
                    <a:pt x="38217" y="102225"/>
                    <a:pt x="95326" y="102225"/>
                  </a:cubicBezTo>
                  <a:cubicBezTo>
                    <a:pt x="124801" y="102225"/>
                    <a:pt x="147828" y="114652"/>
                    <a:pt x="163478" y="133995"/>
                  </a:cubicBezTo>
                  <a:lnTo>
                    <a:pt x="164399" y="133995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8"/>
                  </a:lnTo>
                  <a:lnTo>
                    <a:pt x="165781" y="342598"/>
                  </a:lnTo>
                  <a:lnTo>
                    <a:pt x="165781" y="314965"/>
                  </a:lnTo>
                  <a:lnTo>
                    <a:pt x="164860" y="314965"/>
                  </a:lnTo>
                  <a:cubicBezTo>
                    <a:pt x="147828" y="335690"/>
                    <a:pt x="123419" y="348125"/>
                    <a:pt x="94405" y="348125"/>
                  </a:cubicBezTo>
                  <a:cubicBezTo>
                    <a:pt x="38686" y="348125"/>
                    <a:pt x="0" y="300697"/>
                    <a:pt x="0" y="224715"/>
                  </a:cubicBezTo>
                  <a:close/>
                  <a:moveTo>
                    <a:pt x="54345" y="224715"/>
                  </a:moveTo>
                  <a:cubicBezTo>
                    <a:pt x="54345" y="272603"/>
                    <a:pt x="74148" y="299776"/>
                    <a:pt x="108681" y="299776"/>
                  </a:cubicBezTo>
                  <a:cubicBezTo>
                    <a:pt x="129867" y="299776"/>
                    <a:pt x="147359" y="289644"/>
                    <a:pt x="164399" y="268919"/>
                  </a:cubicBezTo>
                  <a:lnTo>
                    <a:pt x="164399" y="183265"/>
                  </a:lnTo>
                  <a:cubicBezTo>
                    <a:pt x="148740" y="162088"/>
                    <a:pt x="130780" y="151956"/>
                    <a:pt x="108681" y="151956"/>
                  </a:cubicBezTo>
                  <a:cubicBezTo>
                    <a:pt x="73227" y="151965"/>
                    <a:pt x="54345" y="177747"/>
                    <a:pt x="54345" y="22471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1" name="Freihandform: Form 270">
              <a:extLst>
                <a:ext uri="{FF2B5EF4-FFF2-40B4-BE49-F238E27FC236}">
                  <a16:creationId xmlns:a16="http://schemas.microsoft.com/office/drawing/2014/main" id="{00DC3CCC-B352-A04E-921E-1B8C185397FB}"/>
                </a:ext>
              </a:extLst>
            </p:cNvPr>
            <p:cNvSpPr/>
            <p:nvPr/>
          </p:nvSpPr>
          <p:spPr>
            <a:xfrm>
              <a:off x="4011188" y="2963018"/>
              <a:ext cx="227478" cy="335246"/>
            </a:xfrm>
            <a:custGeom>
              <a:avLst/>
              <a:gdLst>
                <a:gd name="connsiteX0" fmla="*/ 36383 w 227478"/>
                <a:gd name="connsiteY0" fmla="*/ 245900 h 335246"/>
                <a:gd name="connsiteX1" fmla="*/ 116963 w 227478"/>
                <a:gd name="connsiteY1" fmla="*/ 282283 h 335246"/>
                <a:gd name="connsiteX2" fmla="*/ 169465 w 227478"/>
                <a:gd name="connsiteY2" fmla="*/ 241755 h 335246"/>
                <a:gd name="connsiteX3" fmla="*/ 10593 w 227478"/>
                <a:gd name="connsiteY3" fmla="*/ 93944 h 335246"/>
                <a:gd name="connsiteX4" fmla="*/ 120656 w 227478"/>
                <a:gd name="connsiteY4" fmla="*/ 0 h 335246"/>
                <a:gd name="connsiteX5" fmla="*/ 225183 w 227478"/>
                <a:gd name="connsiteY5" fmla="*/ 39147 h 335246"/>
                <a:gd name="connsiteX6" fmla="*/ 188800 w 227478"/>
                <a:gd name="connsiteY6" fmla="*/ 83812 h 335246"/>
                <a:gd name="connsiteX7" fmla="*/ 117884 w 227478"/>
                <a:gd name="connsiteY7" fmla="*/ 52503 h 335246"/>
                <a:gd name="connsiteX8" fmla="*/ 68613 w 227478"/>
                <a:gd name="connsiteY8" fmla="*/ 88886 h 335246"/>
                <a:gd name="connsiteX9" fmla="*/ 227478 w 227478"/>
                <a:gd name="connsiteY9" fmla="*/ 237158 h 335246"/>
                <a:gd name="connsiteX10" fmla="*/ 115590 w 227478"/>
                <a:gd name="connsiteY10" fmla="*/ 335246 h 335246"/>
                <a:gd name="connsiteX11" fmla="*/ 0 w 227478"/>
                <a:gd name="connsiteY11" fmla="*/ 290573 h 335246"/>
                <a:gd name="connsiteX12" fmla="*/ 36383 w 227478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78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63" y="282283"/>
                  </a:cubicBezTo>
                  <a:cubicBezTo>
                    <a:pt x="147359" y="282283"/>
                    <a:pt x="169465" y="265243"/>
                    <a:pt x="169465" y="241755"/>
                  </a:cubicBezTo>
                  <a:cubicBezTo>
                    <a:pt x="169465" y="179589"/>
                    <a:pt x="10593" y="198932"/>
                    <a:pt x="10593" y="93944"/>
                  </a:cubicBezTo>
                  <a:cubicBezTo>
                    <a:pt x="10593" y="38226"/>
                    <a:pt x="55726" y="0"/>
                    <a:pt x="120656" y="0"/>
                  </a:cubicBezTo>
                  <a:cubicBezTo>
                    <a:pt x="159333" y="0"/>
                    <a:pt x="195256" y="13356"/>
                    <a:pt x="225183" y="39147"/>
                  </a:cubicBezTo>
                  <a:lnTo>
                    <a:pt x="188800" y="83812"/>
                  </a:lnTo>
                  <a:cubicBezTo>
                    <a:pt x="165312" y="63087"/>
                    <a:pt x="141832" y="52503"/>
                    <a:pt x="117884" y="52503"/>
                  </a:cubicBezTo>
                  <a:cubicBezTo>
                    <a:pt x="89338" y="52503"/>
                    <a:pt x="68613" y="67692"/>
                    <a:pt x="68613" y="88886"/>
                  </a:cubicBezTo>
                  <a:cubicBezTo>
                    <a:pt x="68613" y="147359"/>
                    <a:pt x="227478" y="128024"/>
                    <a:pt x="227478" y="237158"/>
                  </a:cubicBezTo>
                  <a:cubicBezTo>
                    <a:pt x="227478" y="295639"/>
                    <a:pt x="182352" y="335246"/>
                    <a:pt x="115590" y="335246"/>
                  </a:cubicBezTo>
                  <a:cubicBezTo>
                    <a:pt x="72758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2" name="Freihandform: Form 271">
              <a:extLst>
                <a:ext uri="{FF2B5EF4-FFF2-40B4-BE49-F238E27FC236}">
                  <a16:creationId xmlns:a16="http://schemas.microsoft.com/office/drawing/2014/main" id="{44221BFB-0764-814E-A707-D05F85FE776C}"/>
                </a:ext>
              </a:extLst>
            </p:cNvPr>
            <p:cNvSpPr/>
            <p:nvPr/>
          </p:nvSpPr>
          <p:spPr>
            <a:xfrm>
              <a:off x="4287334" y="3052356"/>
              <a:ext cx="225644" cy="245908"/>
            </a:xfrm>
            <a:custGeom>
              <a:avLst/>
              <a:gdLst>
                <a:gd name="connsiteX0" fmla="*/ 0 w 225644"/>
                <a:gd name="connsiteY0" fmla="*/ 122950 h 245908"/>
                <a:gd name="connsiteX1" fmla="*/ 113748 w 225644"/>
                <a:gd name="connsiteY1" fmla="*/ 0 h 245908"/>
                <a:gd name="connsiteX2" fmla="*/ 225644 w 225644"/>
                <a:gd name="connsiteY2" fmla="*/ 122950 h 245908"/>
                <a:gd name="connsiteX3" fmla="*/ 113748 w 225644"/>
                <a:gd name="connsiteY3" fmla="*/ 245908 h 245908"/>
                <a:gd name="connsiteX4" fmla="*/ 0 w 225644"/>
                <a:gd name="connsiteY4" fmla="*/ 122950 h 245908"/>
                <a:gd name="connsiteX5" fmla="*/ 171308 w 225644"/>
                <a:gd name="connsiteY5" fmla="*/ 123410 h 245908"/>
                <a:gd name="connsiteX6" fmla="*/ 112826 w 225644"/>
                <a:gd name="connsiteY6" fmla="*/ 49731 h 245908"/>
                <a:gd name="connsiteX7" fmla="*/ 54345 w 225644"/>
                <a:gd name="connsiteY7" fmla="*/ 122481 h 245908"/>
                <a:gd name="connsiteX8" fmla="*/ 113287 w 225644"/>
                <a:gd name="connsiteY8" fmla="*/ 196621 h 245908"/>
                <a:gd name="connsiteX9" fmla="*/ 171308 w 225644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44" h="245908">
                  <a:moveTo>
                    <a:pt x="0" y="122950"/>
                  </a:moveTo>
                  <a:cubicBezTo>
                    <a:pt x="0" y="49270"/>
                    <a:pt x="45586" y="0"/>
                    <a:pt x="113748" y="0"/>
                  </a:cubicBezTo>
                  <a:cubicBezTo>
                    <a:pt x="181440" y="0"/>
                    <a:pt x="225644" y="48349"/>
                    <a:pt x="225644" y="122950"/>
                  </a:cubicBezTo>
                  <a:cubicBezTo>
                    <a:pt x="225644" y="196629"/>
                    <a:pt x="181892" y="245908"/>
                    <a:pt x="113748" y="245908"/>
                  </a:cubicBezTo>
                  <a:cubicBezTo>
                    <a:pt x="46055" y="245900"/>
                    <a:pt x="0" y="197090"/>
                    <a:pt x="0" y="122950"/>
                  </a:cubicBezTo>
                  <a:close/>
                  <a:moveTo>
                    <a:pt x="171308" y="123410"/>
                  </a:moveTo>
                  <a:cubicBezTo>
                    <a:pt x="171308" y="77824"/>
                    <a:pt x="148741" y="49731"/>
                    <a:pt x="112826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12" y="196621"/>
                    <a:pt x="113287" y="196621"/>
                  </a:cubicBezTo>
                  <a:cubicBezTo>
                    <a:pt x="149202" y="196629"/>
                    <a:pt x="171308" y="168536"/>
                    <a:pt x="171308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3" name="Freihandform: Form 272">
              <a:extLst>
                <a:ext uri="{FF2B5EF4-FFF2-40B4-BE49-F238E27FC236}">
                  <a16:creationId xmlns:a16="http://schemas.microsoft.com/office/drawing/2014/main" id="{5ADBF159-40D1-DB49-8482-2DC07A166EFC}"/>
                </a:ext>
              </a:extLst>
            </p:cNvPr>
            <p:cNvSpPr/>
            <p:nvPr/>
          </p:nvSpPr>
          <p:spPr>
            <a:xfrm>
              <a:off x="4551790" y="3058352"/>
              <a:ext cx="185115" cy="234377"/>
            </a:xfrm>
            <a:custGeom>
              <a:avLst/>
              <a:gdLst>
                <a:gd name="connsiteX0" fmla="*/ 185108 w 185115"/>
                <a:gd name="connsiteY0" fmla="*/ 234378 h 234377"/>
                <a:gd name="connsiteX1" fmla="*/ 0 w 185115"/>
                <a:gd name="connsiteY1" fmla="*/ 234378 h 234377"/>
                <a:gd name="connsiteX2" fmla="*/ 0 w 185115"/>
                <a:gd name="connsiteY2" fmla="*/ 187410 h 234377"/>
                <a:gd name="connsiteX3" fmla="*/ 116963 w 185115"/>
                <a:gd name="connsiteY3" fmla="*/ 46968 h 234377"/>
                <a:gd name="connsiteX4" fmla="*/ 6900 w 185115"/>
                <a:gd name="connsiteY4" fmla="*/ 46968 h 234377"/>
                <a:gd name="connsiteX5" fmla="*/ 6900 w 185115"/>
                <a:gd name="connsiteY5" fmla="*/ 0 h 234377"/>
                <a:gd name="connsiteX6" fmla="*/ 183274 w 185115"/>
                <a:gd name="connsiteY6" fmla="*/ 0 h 234377"/>
                <a:gd name="connsiteX7" fmla="*/ 183274 w 185115"/>
                <a:gd name="connsiteY7" fmla="*/ 46968 h 234377"/>
                <a:gd name="connsiteX8" fmla="*/ 65850 w 185115"/>
                <a:gd name="connsiteY8" fmla="*/ 187410 h 234377"/>
                <a:gd name="connsiteX9" fmla="*/ 185116 w 185115"/>
                <a:gd name="connsiteY9" fmla="*/ 187410 h 234377"/>
                <a:gd name="connsiteX10" fmla="*/ 185116 w 185115"/>
                <a:gd name="connsiteY10" fmla="*/ 234378 h 2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5115" h="234377">
                  <a:moveTo>
                    <a:pt x="185108" y="234378"/>
                  </a:moveTo>
                  <a:lnTo>
                    <a:pt x="0" y="234378"/>
                  </a:lnTo>
                  <a:lnTo>
                    <a:pt x="0" y="187410"/>
                  </a:lnTo>
                  <a:lnTo>
                    <a:pt x="116963" y="46968"/>
                  </a:lnTo>
                  <a:lnTo>
                    <a:pt x="6900" y="46968"/>
                  </a:lnTo>
                  <a:lnTo>
                    <a:pt x="6900" y="0"/>
                  </a:lnTo>
                  <a:lnTo>
                    <a:pt x="183274" y="0"/>
                  </a:lnTo>
                  <a:lnTo>
                    <a:pt x="183274" y="46968"/>
                  </a:lnTo>
                  <a:lnTo>
                    <a:pt x="65850" y="187410"/>
                  </a:lnTo>
                  <a:lnTo>
                    <a:pt x="185116" y="187410"/>
                  </a:lnTo>
                  <a:lnTo>
                    <a:pt x="185116" y="23437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4" name="Freihandform: Form 273">
              <a:extLst>
                <a:ext uri="{FF2B5EF4-FFF2-40B4-BE49-F238E27FC236}">
                  <a16:creationId xmlns:a16="http://schemas.microsoft.com/office/drawing/2014/main" id="{CCAC49CF-D88F-3D47-8DBC-BAD8458B40EF}"/>
                </a:ext>
              </a:extLst>
            </p:cNvPr>
            <p:cNvSpPr/>
            <p:nvPr/>
          </p:nvSpPr>
          <p:spPr>
            <a:xfrm>
              <a:off x="478624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84" y="66311"/>
                    <a:pt x="34533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33" y="0"/>
                  </a:cubicBezTo>
                  <a:cubicBezTo>
                    <a:pt x="53884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5" name="Freihandform: Form 274">
              <a:extLst>
                <a:ext uri="{FF2B5EF4-FFF2-40B4-BE49-F238E27FC236}">
                  <a16:creationId xmlns:a16="http://schemas.microsoft.com/office/drawing/2014/main" id="{9C93582C-155D-D94E-873A-38165218730F}"/>
                </a:ext>
              </a:extLst>
            </p:cNvPr>
            <p:cNvSpPr/>
            <p:nvPr/>
          </p:nvSpPr>
          <p:spPr>
            <a:xfrm>
              <a:off x="4904378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503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6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36" y="204919"/>
                    <a:pt x="129850" y="195248"/>
                    <a:pt x="145048" y="176834"/>
                  </a:cubicBezTo>
                  <a:lnTo>
                    <a:pt x="145048" y="135845"/>
                  </a:lnTo>
                  <a:cubicBezTo>
                    <a:pt x="132161" y="132621"/>
                    <a:pt x="118805" y="131240"/>
                    <a:pt x="106831" y="131240"/>
                  </a:cubicBezTo>
                  <a:cubicBezTo>
                    <a:pt x="72298" y="131240"/>
                    <a:pt x="52503" y="145048"/>
                    <a:pt x="52503" y="169918"/>
                  </a:cubicBezTo>
                  <a:cubicBezTo>
                    <a:pt x="52494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6" name="Freihandform: Form 275">
              <a:extLst>
                <a:ext uri="{FF2B5EF4-FFF2-40B4-BE49-F238E27FC236}">
                  <a16:creationId xmlns:a16="http://schemas.microsoft.com/office/drawing/2014/main" id="{FAA02EE9-C67D-4E4C-B077-F5E67F2A8ED0}"/>
                </a:ext>
              </a:extLst>
            </p:cNvPr>
            <p:cNvSpPr/>
            <p:nvPr/>
          </p:nvSpPr>
          <p:spPr>
            <a:xfrm>
              <a:off x="5173423" y="2950592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7" name="Freihandform: Form 276">
              <a:extLst>
                <a:ext uri="{FF2B5EF4-FFF2-40B4-BE49-F238E27FC236}">
                  <a16:creationId xmlns:a16="http://schemas.microsoft.com/office/drawing/2014/main" id="{FD1548DF-0C71-A84F-98F1-737F64C226AD}"/>
                </a:ext>
              </a:extLst>
            </p:cNvPr>
            <p:cNvSpPr/>
            <p:nvPr/>
          </p:nvSpPr>
          <p:spPr>
            <a:xfrm>
              <a:off x="5275974" y="3058344"/>
              <a:ext cx="330180" cy="234386"/>
            </a:xfrm>
            <a:custGeom>
              <a:avLst/>
              <a:gdLst>
                <a:gd name="connsiteX0" fmla="*/ 330180 w 330180"/>
                <a:gd name="connsiteY0" fmla="*/ 0 h 234386"/>
                <a:gd name="connsiteX1" fmla="*/ 260646 w 330180"/>
                <a:gd name="connsiteY1" fmla="*/ 234386 h 234386"/>
                <a:gd name="connsiteX2" fmla="*/ 208143 w 330180"/>
                <a:gd name="connsiteY2" fmla="*/ 234386 h 234386"/>
                <a:gd name="connsiteX3" fmla="*/ 165320 w 330180"/>
                <a:gd name="connsiteY3" fmla="*/ 72298 h 234386"/>
                <a:gd name="connsiteX4" fmla="*/ 164408 w 330180"/>
                <a:gd name="connsiteY4" fmla="*/ 72298 h 234386"/>
                <a:gd name="connsiteX5" fmla="*/ 122037 w 330180"/>
                <a:gd name="connsiteY5" fmla="*/ 234386 h 234386"/>
                <a:gd name="connsiteX6" fmla="*/ 69535 w 330180"/>
                <a:gd name="connsiteY6" fmla="*/ 234386 h 234386"/>
                <a:gd name="connsiteX7" fmla="*/ 0 w 330180"/>
                <a:gd name="connsiteY7" fmla="*/ 0 h 234386"/>
                <a:gd name="connsiteX8" fmla="*/ 57560 w 330180"/>
                <a:gd name="connsiteY8" fmla="*/ 0 h 234386"/>
                <a:gd name="connsiteX9" fmla="*/ 98089 w 330180"/>
                <a:gd name="connsiteY9" fmla="*/ 157943 h 234386"/>
                <a:gd name="connsiteX10" fmla="*/ 99001 w 330180"/>
                <a:gd name="connsiteY10" fmla="*/ 157943 h 234386"/>
                <a:gd name="connsiteX11" fmla="*/ 140451 w 330180"/>
                <a:gd name="connsiteY11" fmla="*/ 0 h 234386"/>
                <a:gd name="connsiteX12" fmla="*/ 190642 w 330180"/>
                <a:gd name="connsiteY12" fmla="*/ 0 h 234386"/>
                <a:gd name="connsiteX13" fmla="*/ 233465 w 330180"/>
                <a:gd name="connsiteY13" fmla="*/ 157943 h 234386"/>
                <a:gd name="connsiteX14" fmla="*/ 234378 w 330180"/>
                <a:gd name="connsiteY14" fmla="*/ 157943 h 234386"/>
                <a:gd name="connsiteX15" fmla="*/ 273524 w 330180"/>
                <a:gd name="connsiteY15" fmla="*/ 0 h 234386"/>
                <a:gd name="connsiteX16" fmla="*/ 330180 w 330180"/>
                <a:gd name="connsiteY16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180" h="234386">
                  <a:moveTo>
                    <a:pt x="330180" y="0"/>
                  </a:moveTo>
                  <a:lnTo>
                    <a:pt x="260646" y="234386"/>
                  </a:lnTo>
                  <a:lnTo>
                    <a:pt x="208143" y="234386"/>
                  </a:lnTo>
                  <a:lnTo>
                    <a:pt x="165320" y="72298"/>
                  </a:lnTo>
                  <a:lnTo>
                    <a:pt x="164408" y="72298"/>
                  </a:lnTo>
                  <a:lnTo>
                    <a:pt x="122037" y="234386"/>
                  </a:lnTo>
                  <a:lnTo>
                    <a:pt x="69535" y="234386"/>
                  </a:lnTo>
                  <a:lnTo>
                    <a:pt x="0" y="0"/>
                  </a:lnTo>
                  <a:lnTo>
                    <a:pt x="57560" y="0"/>
                  </a:lnTo>
                  <a:lnTo>
                    <a:pt x="98089" y="157943"/>
                  </a:lnTo>
                  <a:lnTo>
                    <a:pt x="99001" y="157943"/>
                  </a:lnTo>
                  <a:lnTo>
                    <a:pt x="140451" y="0"/>
                  </a:lnTo>
                  <a:lnTo>
                    <a:pt x="190642" y="0"/>
                  </a:lnTo>
                  <a:lnTo>
                    <a:pt x="233465" y="157943"/>
                  </a:lnTo>
                  <a:lnTo>
                    <a:pt x="234378" y="157943"/>
                  </a:lnTo>
                  <a:lnTo>
                    <a:pt x="273524" y="0"/>
                  </a:lnTo>
                  <a:lnTo>
                    <a:pt x="33018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8" name="Freihandform: Form 277">
              <a:extLst>
                <a:ext uri="{FF2B5EF4-FFF2-40B4-BE49-F238E27FC236}">
                  <a16:creationId xmlns:a16="http://schemas.microsoft.com/office/drawing/2014/main" id="{AF286C01-D727-DF44-9099-27523073E534}"/>
                </a:ext>
              </a:extLst>
            </p:cNvPr>
            <p:cNvSpPr/>
            <p:nvPr/>
          </p:nvSpPr>
          <p:spPr>
            <a:xfrm>
              <a:off x="5647320" y="2954268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9" name="Freihandform: Form 278">
              <a:extLst>
                <a:ext uri="{FF2B5EF4-FFF2-40B4-BE49-F238E27FC236}">
                  <a16:creationId xmlns:a16="http://schemas.microsoft.com/office/drawing/2014/main" id="{A722A2BA-8A52-1147-88C2-9E02D126DF45}"/>
                </a:ext>
              </a:extLst>
            </p:cNvPr>
            <p:cNvSpPr/>
            <p:nvPr/>
          </p:nvSpPr>
          <p:spPr>
            <a:xfrm>
              <a:off x="5759802" y="3052356"/>
              <a:ext cx="180502" cy="245891"/>
            </a:xfrm>
            <a:custGeom>
              <a:avLst/>
              <a:gdLst>
                <a:gd name="connsiteX0" fmla="*/ 26235 w 180502"/>
                <a:gd name="connsiteY0" fmla="*/ 174063 h 245891"/>
                <a:gd name="connsiteX1" fmla="*/ 92545 w 180502"/>
                <a:gd name="connsiteY1" fmla="*/ 200314 h 245891"/>
                <a:gd name="connsiteX2" fmla="*/ 127078 w 180502"/>
                <a:gd name="connsiteY2" fmla="*/ 176826 h 245891"/>
                <a:gd name="connsiteX3" fmla="*/ 9655 w 180502"/>
                <a:gd name="connsiteY3" fmla="*/ 72750 h 245891"/>
                <a:gd name="connsiteX4" fmla="*/ 98072 w 180502"/>
                <a:gd name="connsiteY4" fmla="*/ 0 h 245891"/>
                <a:gd name="connsiteX5" fmla="*/ 179120 w 180502"/>
                <a:gd name="connsiteY5" fmla="*/ 24401 h 245891"/>
                <a:gd name="connsiteX6" fmla="*/ 153338 w 180502"/>
                <a:gd name="connsiteY6" fmla="*/ 67223 h 245891"/>
                <a:gd name="connsiteX7" fmla="*/ 97159 w 180502"/>
                <a:gd name="connsiteY7" fmla="*/ 46499 h 245891"/>
                <a:gd name="connsiteX8" fmla="*/ 63539 w 180502"/>
                <a:gd name="connsiteY8" fmla="*/ 68145 h 245891"/>
                <a:gd name="connsiteX9" fmla="*/ 180502 w 180502"/>
                <a:gd name="connsiteY9" fmla="*/ 171751 h 245891"/>
                <a:gd name="connsiteX10" fmla="*/ 90251 w 180502"/>
                <a:gd name="connsiteY10" fmla="*/ 245891 h 245891"/>
                <a:gd name="connsiteX11" fmla="*/ 0 w 180502"/>
                <a:gd name="connsiteY11" fmla="*/ 217337 h 245891"/>
                <a:gd name="connsiteX12" fmla="*/ 26235 w 180502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02" h="245891">
                  <a:moveTo>
                    <a:pt x="26235" y="174063"/>
                  </a:moveTo>
                  <a:cubicBezTo>
                    <a:pt x="49254" y="191563"/>
                    <a:pt x="71821" y="200314"/>
                    <a:pt x="92545" y="200314"/>
                  </a:cubicBezTo>
                  <a:cubicBezTo>
                    <a:pt x="112801" y="200314"/>
                    <a:pt x="127078" y="191103"/>
                    <a:pt x="127078" y="176826"/>
                  </a:cubicBezTo>
                  <a:cubicBezTo>
                    <a:pt x="127078" y="136766"/>
                    <a:pt x="9655" y="151035"/>
                    <a:pt x="9655" y="72750"/>
                  </a:cubicBezTo>
                  <a:cubicBezTo>
                    <a:pt x="9655" y="29467"/>
                    <a:pt x="45578" y="0"/>
                    <a:pt x="98072" y="0"/>
                  </a:cubicBezTo>
                  <a:cubicBezTo>
                    <a:pt x="126166" y="0"/>
                    <a:pt x="154259" y="8282"/>
                    <a:pt x="179120" y="24401"/>
                  </a:cubicBezTo>
                  <a:lnTo>
                    <a:pt x="153338" y="67223"/>
                  </a:lnTo>
                  <a:cubicBezTo>
                    <a:pt x="133074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02" y="93014"/>
                    <a:pt x="180502" y="171751"/>
                  </a:cubicBezTo>
                  <a:cubicBezTo>
                    <a:pt x="180502" y="215956"/>
                    <a:pt x="144127" y="245891"/>
                    <a:pt x="90251" y="245891"/>
                  </a:cubicBezTo>
                  <a:cubicBezTo>
                    <a:pt x="58942" y="245891"/>
                    <a:pt x="27164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0" name="Freihandform: Form 279">
              <a:extLst>
                <a:ext uri="{FF2B5EF4-FFF2-40B4-BE49-F238E27FC236}">
                  <a16:creationId xmlns:a16="http://schemas.microsoft.com/office/drawing/2014/main" id="{B4737A5E-CBC1-BA41-AA58-0C30675AFB15}"/>
                </a:ext>
              </a:extLst>
            </p:cNvPr>
            <p:cNvSpPr/>
            <p:nvPr/>
          </p:nvSpPr>
          <p:spPr>
            <a:xfrm>
              <a:off x="597652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87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47 w 180510"/>
                <a:gd name="connsiteY8" fmla="*/ 68145 h 245891"/>
                <a:gd name="connsiteX9" fmla="*/ 180510 w 180510"/>
                <a:gd name="connsiteY9" fmla="*/ 171751 h 245891"/>
                <a:gd name="connsiteX10" fmla="*/ 90259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1" y="200314"/>
                    <a:pt x="92545" y="200314"/>
                  </a:cubicBezTo>
                  <a:cubicBezTo>
                    <a:pt x="112809" y="200314"/>
                    <a:pt x="127087" y="191103"/>
                    <a:pt x="127087" y="176826"/>
                  </a:cubicBezTo>
                  <a:cubicBezTo>
                    <a:pt x="127087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2" y="53415"/>
                    <a:pt x="115129" y="46499"/>
                    <a:pt x="97159" y="46499"/>
                  </a:cubicBezTo>
                  <a:cubicBezTo>
                    <a:pt x="76904" y="46499"/>
                    <a:pt x="63547" y="55249"/>
                    <a:pt x="63547" y="68145"/>
                  </a:cubicBezTo>
                  <a:cubicBezTo>
                    <a:pt x="63547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9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1" name="Freihandform: Form 280">
              <a:extLst>
                <a:ext uri="{FF2B5EF4-FFF2-40B4-BE49-F238E27FC236}">
                  <a16:creationId xmlns:a16="http://schemas.microsoft.com/office/drawing/2014/main" id="{EAD69F8B-7CD7-E549-947F-D5E7DCF7E46A}"/>
                </a:ext>
              </a:extLst>
            </p:cNvPr>
            <p:cNvSpPr/>
            <p:nvPr/>
          </p:nvSpPr>
          <p:spPr>
            <a:xfrm>
              <a:off x="6201863" y="3052356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5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7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4" y="207214"/>
                  </a:lnTo>
                  <a:cubicBezTo>
                    <a:pt x="181432" y="233465"/>
                    <a:pt x="151496" y="245900"/>
                    <a:pt x="116034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5" y="65850"/>
                    <a:pt x="139990" y="45125"/>
                    <a:pt x="109134" y="45125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2" name="Freihandform: Form 281">
              <a:extLst>
                <a:ext uri="{FF2B5EF4-FFF2-40B4-BE49-F238E27FC236}">
                  <a16:creationId xmlns:a16="http://schemas.microsoft.com/office/drawing/2014/main" id="{46083ACE-AA11-514A-B2EE-11D06495A276}"/>
                </a:ext>
              </a:extLst>
            </p:cNvPr>
            <p:cNvSpPr/>
            <p:nvPr/>
          </p:nvSpPr>
          <p:spPr>
            <a:xfrm>
              <a:off x="6475831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7 w 201695"/>
                <a:gd name="connsiteY4" fmla="*/ 105910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7" y="80579"/>
                    <a:pt x="54797" y="105910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3" name="Freihandform: Form 282">
              <a:extLst>
                <a:ext uri="{FF2B5EF4-FFF2-40B4-BE49-F238E27FC236}">
                  <a16:creationId xmlns:a16="http://schemas.microsoft.com/office/drawing/2014/main" id="{14D7F9C9-0615-8C45-8036-3EB7502F6D47}"/>
                </a:ext>
              </a:extLst>
            </p:cNvPr>
            <p:cNvSpPr/>
            <p:nvPr/>
          </p:nvSpPr>
          <p:spPr>
            <a:xfrm>
              <a:off x="672606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7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0" y="200314"/>
                    <a:pt x="92545" y="200314"/>
                  </a:cubicBezTo>
                  <a:cubicBezTo>
                    <a:pt x="112809" y="200314"/>
                    <a:pt x="127078" y="191103"/>
                    <a:pt x="127078" y="176826"/>
                  </a:cubicBezTo>
                  <a:cubicBezTo>
                    <a:pt x="127078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5" y="0"/>
                    <a:pt x="154259" y="8282"/>
                    <a:pt x="179128" y="24401"/>
                  </a:cubicBezTo>
                  <a:lnTo>
                    <a:pt x="153337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1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4" name="Freihandform: Form 283">
              <a:extLst>
                <a:ext uri="{FF2B5EF4-FFF2-40B4-BE49-F238E27FC236}">
                  <a16:creationId xmlns:a16="http://schemas.microsoft.com/office/drawing/2014/main" id="{70C87191-295C-7E40-BD93-115D51649AC9}"/>
                </a:ext>
              </a:extLst>
            </p:cNvPr>
            <p:cNvSpPr/>
            <p:nvPr/>
          </p:nvSpPr>
          <p:spPr>
            <a:xfrm>
              <a:off x="6951395" y="3052365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8 w 197542"/>
                <a:gd name="connsiteY3" fmla="*/ 0 h 245899"/>
                <a:gd name="connsiteX4" fmla="*/ 197542 w 197542"/>
                <a:gd name="connsiteY4" fmla="*/ 40060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25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60"/>
                  </a:cubicBezTo>
                  <a:lnTo>
                    <a:pt x="159777" y="75974"/>
                  </a:lnTo>
                  <a:cubicBezTo>
                    <a:pt x="145969" y="58013"/>
                    <a:pt x="131231" y="50192"/>
                    <a:pt x="112809" y="50192"/>
                  </a:cubicBezTo>
                  <a:cubicBezTo>
                    <a:pt x="78276" y="50192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62" y="196161"/>
                    <a:pt x="145500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8" name="Freihandform: Form 284">
              <a:extLst>
                <a:ext uri="{FF2B5EF4-FFF2-40B4-BE49-F238E27FC236}">
                  <a16:creationId xmlns:a16="http://schemas.microsoft.com/office/drawing/2014/main" id="{0950DE9E-800B-5246-BA6F-C4E8BF8AB060}"/>
                </a:ext>
              </a:extLst>
            </p:cNvPr>
            <p:cNvSpPr/>
            <p:nvPr/>
          </p:nvSpPr>
          <p:spPr>
            <a:xfrm>
              <a:off x="7195938" y="2950140"/>
              <a:ext cx="201695" cy="342598"/>
            </a:xfrm>
            <a:custGeom>
              <a:avLst/>
              <a:gdLst>
                <a:gd name="connsiteX0" fmla="*/ 201695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7 h 342598"/>
                <a:gd name="connsiteX10" fmla="*/ 55718 w 201695"/>
                <a:gd name="connsiteY10" fmla="*/ 136297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5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7"/>
                  </a:lnTo>
                  <a:lnTo>
                    <a:pt x="55718" y="136297"/>
                  </a:lnTo>
                  <a:cubicBezTo>
                    <a:pt x="69074" y="115573"/>
                    <a:pt x="93483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9" name="Freihandform: Form 285">
              <a:extLst>
                <a:ext uri="{FF2B5EF4-FFF2-40B4-BE49-F238E27FC236}">
                  <a16:creationId xmlns:a16="http://schemas.microsoft.com/office/drawing/2014/main" id="{FB6700C5-621E-C04A-A4B7-AF67ADE642FF}"/>
                </a:ext>
              </a:extLst>
            </p:cNvPr>
            <p:cNvSpPr/>
            <p:nvPr/>
          </p:nvSpPr>
          <p:spPr>
            <a:xfrm>
              <a:off x="7451652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86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8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19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8" y="131240"/>
                    <a:pt x="106822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7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0" name="Freihandform: Form 286">
              <a:extLst>
                <a:ext uri="{FF2B5EF4-FFF2-40B4-BE49-F238E27FC236}">
                  <a16:creationId xmlns:a16="http://schemas.microsoft.com/office/drawing/2014/main" id="{57CB02E1-5F4F-6148-9B81-71E42116E79F}"/>
                </a:ext>
              </a:extLst>
            </p:cNvPr>
            <p:cNvSpPr/>
            <p:nvPr/>
          </p:nvSpPr>
          <p:spPr>
            <a:xfrm>
              <a:off x="7694437" y="2946899"/>
              <a:ext cx="143674" cy="345830"/>
            </a:xfrm>
            <a:custGeom>
              <a:avLst/>
              <a:gdLst>
                <a:gd name="connsiteX0" fmla="*/ 143674 w 143674"/>
                <a:gd name="connsiteY0" fmla="*/ 51582 h 345830"/>
                <a:gd name="connsiteX1" fmla="*/ 119734 w 143674"/>
                <a:gd name="connsiteY1" fmla="*/ 46976 h 345830"/>
                <a:gd name="connsiteX2" fmla="*/ 90720 w 143674"/>
                <a:gd name="connsiteY2" fmla="*/ 79667 h 345830"/>
                <a:gd name="connsiteX3" fmla="*/ 90720 w 143674"/>
                <a:gd name="connsiteY3" fmla="*/ 111445 h 345830"/>
                <a:gd name="connsiteX4" fmla="*/ 137235 w 143674"/>
                <a:gd name="connsiteY4" fmla="*/ 111445 h 345830"/>
                <a:gd name="connsiteX5" fmla="*/ 137235 w 143674"/>
                <a:gd name="connsiteY5" fmla="*/ 157031 h 345830"/>
                <a:gd name="connsiteX6" fmla="*/ 91180 w 143674"/>
                <a:gd name="connsiteY6" fmla="*/ 157031 h 345830"/>
                <a:gd name="connsiteX7" fmla="*/ 91180 w 143674"/>
                <a:gd name="connsiteY7" fmla="*/ 345831 h 345830"/>
                <a:gd name="connsiteX8" fmla="*/ 36383 w 143674"/>
                <a:gd name="connsiteY8" fmla="*/ 345831 h 345830"/>
                <a:gd name="connsiteX9" fmla="*/ 36383 w 143674"/>
                <a:gd name="connsiteY9" fmla="*/ 157031 h 345830"/>
                <a:gd name="connsiteX10" fmla="*/ 0 w 143674"/>
                <a:gd name="connsiteY10" fmla="*/ 157031 h 345830"/>
                <a:gd name="connsiteX11" fmla="*/ 0 w 143674"/>
                <a:gd name="connsiteY11" fmla="*/ 111445 h 345830"/>
                <a:gd name="connsiteX12" fmla="*/ 36383 w 143674"/>
                <a:gd name="connsiteY12" fmla="*/ 111445 h 345830"/>
                <a:gd name="connsiteX13" fmla="*/ 36383 w 143674"/>
                <a:gd name="connsiteY13" fmla="*/ 77825 h 345830"/>
                <a:gd name="connsiteX14" fmla="*/ 110983 w 143674"/>
                <a:gd name="connsiteY14" fmla="*/ 0 h 345830"/>
                <a:gd name="connsiteX15" fmla="*/ 143674 w 143674"/>
                <a:gd name="connsiteY15" fmla="*/ 5066 h 345830"/>
                <a:gd name="connsiteX16" fmla="*/ 143674 w 143674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74" h="345830">
                  <a:moveTo>
                    <a:pt x="143674" y="51582"/>
                  </a:moveTo>
                  <a:cubicBezTo>
                    <a:pt x="136306" y="48358"/>
                    <a:pt x="127555" y="46976"/>
                    <a:pt x="119734" y="46976"/>
                  </a:cubicBezTo>
                  <a:cubicBezTo>
                    <a:pt x="99010" y="46976"/>
                    <a:pt x="90720" y="57569"/>
                    <a:pt x="90720" y="79667"/>
                  </a:cubicBezTo>
                  <a:lnTo>
                    <a:pt x="90720" y="111445"/>
                  </a:lnTo>
                  <a:lnTo>
                    <a:pt x="137235" y="111445"/>
                  </a:lnTo>
                  <a:lnTo>
                    <a:pt x="137235" y="157031"/>
                  </a:lnTo>
                  <a:lnTo>
                    <a:pt x="91180" y="157031"/>
                  </a:lnTo>
                  <a:lnTo>
                    <a:pt x="91180" y="345831"/>
                  </a:lnTo>
                  <a:lnTo>
                    <a:pt x="36383" y="345831"/>
                  </a:lnTo>
                  <a:lnTo>
                    <a:pt x="36383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83" y="111445"/>
                  </a:lnTo>
                  <a:lnTo>
                    <a:pt x="36383" y="77825"/>
                  </a:lnTo>
                  <a:cubicBezTo>
                    <a:pt x="36383" y="29015"/>
                    <a:pt x="58490" y="0"/>
                    <a:pt x="110983" y="0"/>
                  </a:cubicBezTo>
                  <a:cubicBezTo>
                    <a:pt x="122958" y="0"/>
                    <a:pt x="134472" y="1382"/>
                    <a:pt x="143674" y="5066"/>
                  </a:cubicBezTo>
                  <a:lnTo>
                    <a:pt x="143674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1" name="Freihandform: Form 287">
              <a:extLst>
                <a:ext uri="{FF2B5EF4-FFF2-40B4-BE49-F238E27FC236}">
                  <a16:creationId xmlns:a16="http://schemas.microsoft.com/office/drawing/2014/main" id="{01D84E81-8079-0146-9BDB-51F090F16BEC}"/>
                </a:ext>
              </a:extLst>
            </p:cNvPr>
            <p:cNvSpPr/>
            <p:nvPr/>
          </p:nvSpPr>
          <p:spPr>
            <a:xfrm>
              <a:off x="7867277" y="2982353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2" name="Freihandform: Form 288">
              <a:extLst>
                <a:ext uri="{FF2B5EF4-FFF2-40B4-BE49-F238E27FC236}">
                  <a16:creationId xmlns:a16="http://schemas.microsoft.com/office/drawing/2014/main" id="{746B60EE-3B74-5E42-BDB5-48D0C84E9956}"/>
                </a:ext>
              </a:extLst>
            </p:cNvPr>
            <p:cNvSpPr/>
            <p:nvPr/>
          </p:nvSpPr>
          <p:spPr>
            <a:xfrm>
              <a:off x="8049797" y="3052356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4 w 214130"/>
                <a:gd name="connsiteY2" fmla="*/ 0 h 245899"/>
                <a:gd name="connsiteX3" fmla="*/ 214131 w 214130"/>
                <a:gd name="connsiteY3" fmla="*/ 119266 h 245899"/>
                <a:gd name="connsiteX4" fmla="*/ 213209 w 214130"/>
                <a:gd name="connsiteY4" fmla="*/ 141824 h 245899"/>
                <a:gd name="connsiteX5" fmla="*/ 55727 w 214130"/>
                <a:gd name="connsiteY5" fmla="*/ 141824 h 245899"/>
                <a:gd name="connsiteX6" fmla="*/ 116510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88 w 214130"/>
                <a:gd name="connsiteY10" fmla="*/ 101765 h 245899"/>
                <a:gd name="connsiteX11" fmla="*/ 161159 w 214130"/>
                <a:gd name="connsiteY11" fmla="*/ 101765 h 245899"/>
                <a:gd name="connsiteX12" fmla="*/ 109125 w 214130"/>
                <a:gd name="connsiteY12" fmla="*/ 45125 h 245899"/>
                <a:gd name="connsiteX13" fmla="*/ 5478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4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09" y="141824"/>
                  </a:cubicBezTo>
                  <a:lnTo>
                    <a:pt x="55727" y="141824"/>
                  </a:lnTo>
                  <a:cubicBezTo>
                    <a:pt x="61714" y="178207"/>
                    <a:pt x="83351" y="198924"/>
                    <a:pt x="116510" y="198924"/>
                  </a:cubicBezTo>
                  <a:cubicBezTo>
                    <a:pt x="138147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23" y="233465"/>
                    <a:pt x="151487" y="245900"/>
                    <a:pt x="116033" y="245900"/>
                  </a:cubicBezTo>
                  <a:close/>
                  <a:moveTo>
                    <a:pt x="54788" y="101765"/>
                  </a:moveTo>
                  <a:lnTo>
                    <a:pt x="161159" y="101765"/>
                  </a:lnTo>
                  <a:cubicBezTo>
                    <a:pt x="158864" y="65850"/>
                    <a:pt x="139981" y="45125"/>
                    <a:pt x="109125" y="45125"/>
                  </a:cubicBezTo>
                  <a:cubicBezTo>
                    <a:pt x="78729" y="45134"/>
                    <a:pt x="59394" y="65390"/>
                    <a:pt x="54788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3" name="Freihandform: Form 289">
              <a:extLst>
                <a:ext uri="{FF2B5EF4-FFF2-40B4-BE49-F238E27FC236}">
                  <a16:creationId xmlns:a16="http://schemas.microsoft.com/office/drawing/2014/main" id="{130A88CC-2055-9D46-A3AB-5C259A9E4297}"/>
                </a:ext>
              </a:extLst>
            </p:cNvPr>
            <p:cNvSpPr/>
            <p:nvPr/>
          </p:nvSpPr>
          <p:spPr>
            <a:xfrm>
              <a:off x="8323756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4" name="Freihandform: Form 290">
              <a:extLst>
                <a:ext uri="{FF2B5EF4-FFF2-40B4-BE49-F238E27FC236}">
                  <a16:creationId xmlns:a16="http://schemas.microsoft.com/office/drawing/2014/main" id="{3395C0E0-7108-1441-9D16-60C76E734E62}"/>
                </a:ext>
              </a:extLst>
            </p:cNvPr>
            <p:cNvSpPr/>
            <p:nvPr/>
          </p:nvSpPr>
          <p:spPr>
            <a:xfrm>
              <a:off x="8741466" y="2935854"/>
              <a:ext cx="31309" cy="452200"/>
            </a:xfrm>
            <a:custGeom>
              <a:avLst/>
              <a:gdLst>
                <a:gd name="connsiteX0" fmla="*/ 31309 w 31309"/>
                <a:gd name="connsiteY0" fmla="*/ 452201 h 452200"/>
                <a:gd name="connsiteX1" fmla="*/ 0 w 31309"/>
                <a:gd name="connsiteY1" fmla="*/ 452201 h 452200"/>
                <a:gd name="connsiteX2" fmla="*/ 0 w 31309"/>
                <a:gd name="connsiteY2" fmla="*/ 0 h 452200"/>
                <a:gd name="connsiteX3" fmla="*/ 31309 w 31309"/>
                <a:gd name="connsiteY3" fmla="*/ 0 h 452200"/>
                <a:gd name="connsiteX4" fmla="*/ 31309 w 31309"/>
                <a:gd name="connsiteY4" fmla="*/ 452201 h 45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09" h="452200">
                  <a:moveTo>
                    <a:pt x="31309" y="452201"/>
                  </a:moveTo>
                  <a:lnTo>
                    <a:pt x="0" y="452201"/>
                  </a:lnTo>
                  <a:lnTo>
                    <a:pt x="0" y="0"/>
                  </a:lnTo>
                  <a:lnTo>
                    <a:pt x="31309" y="0"/>
                  </a:lnTo>
                  <a:lnTo>
                    <a:pt x="31309" y="45220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5" name="Freihandform: Form 291">
              <a:extLst>
                <a:ext uri="{FF2B5EF4-FFF2-40B4-BE49-F238E27FC236}">
                  <a16:creationId xmlns:a16="http://schemas.microsoft.com/office/drawing/2014/main" id="{BE188E28-8C81-C948-981E-9C491190E489}"/>
                </a:ext>
              </a:extLst>
            </p:cNvPr>
            <p:cNvSpPr/>
            <p:nvPr/>
          </p:nvSpPr>
          <p:spPr>
            <a:xfrm>
              <a:off x="8970820" y="2968545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8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3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8 w 398768"/>
                <a:gd name="connsiteY9" fmla="*/ 0 h 324184"/>
                <a:gd name="connsiteX10" fmla="*/ 317260 w 398768"/>
                <a:gd name="connsiteY10" fmla="*/ 324185 h 324184"/>
                <a:gd name="connsiteX11" fmla="*/ 257857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8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3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8" y="0"/>
                  </a:lnTo>
                  <a:lnTo>
                    <a:pt x="317260" y="324185"/>
                  </a:lnTo>
                  <a:lnTo>
                    <a:pt x="257857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6" name="Freihandform: Form 292">
              <a:extLst>
                <a:ext uri="{FF2B5EF4-FFF2-40B4-BE49-F238E27FC236}">
                  <a16:creationId xmlns:a16="http://schemas.microsoft.com/office/drawing/2014/main" id="{BD522304-05FD-9B45-9FEC-ADB7C49BF4C8}"/>
                </a:ext>
              </a:extLst>
            </p:cNvPr>
            <p:cNvSpPr/>
            <p:nvPr/>
          </p:nvSpPr>
          <p:spPr>
            <a:xfrm>
              <a:off x="941575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7" name="Freihandform: Form 293">
              <a:extLst>
                <a:ext uri="{FF2B5EF4-FFF2-40B4-BE49-F238E27FC236}">
                  <a16:creationId xmlns:a16="http://schemas.microsoft.com/office/drawing/2014/main" id="{A51A11CC-8B87-C44C-AB51-56AAE0918B9D}"/>
                </a:ext>
              </a:extLst>
            </p:cNvPr>
            <p:cNvSpPr/>
            <p:nvPr/>
          </p:nvSpPr>
          <p:spPr>
            <a:xfrm>
              <a:off x="9528805" y="2963018"/>
              <a:ext cx="227486" cy="335246"/>
            </a:xfrm>
            <a:custGeom>
              <a:avLst/>
              <a:gdLst>
                <a:gd name="connsiteX0" fmla="*/ 36383 w 227486"/>
                <a:gd name="connsiteY0" fmla="*/ 245900 h 335246"/>
                <a:gd name="connsiteX1" fmla="*/ 116971 w 227486"/>
                <a:gd name="connsiteY1" fmla="*/ 282283 h 335246"/>
                <a:gd name="connsiteX2" fmla="*/ 169466 w 227486"/>
                <a:gd name="connsiteY2" fmla="*/ 241755 h 335246"/>
                <a:gd name="connsiteX3" fmla="*/ 10601 w 227486"/>
                <a:gd name="connsiteY3" fmla="*/ 93944 h 335246"/>
                <a:gd name="connsiteX4" fmla="*/ 120656 w 227486"/>
                <a:gd name="connsiteY4" fmla="*/ 0 h 335246"/>
                <a:gd name="connsiteX5" fmla="*/ 225183 w 227486"/>
                <a:gd name="connsiteY5" fmla="*/ 39147 h 335246"/>
                <a:gd name="connsiteX6" fmla="*/ 188808 w 227486"/>
                <a:gd name="connsiteY6" fmla="*/ 83812 h 335246"/>
                <a:gd name="connsiteX7" fmla="*/ 117884 w 227486"/>
                <a:gd name="connsiteY7" fmla="*/ 52503 h 335246"/>
                <a:gd name="connsiteX8" fmla="*/ 68613 w 227486"/>
                <a:gd name="connsiteY8" fmla="*/ 88886 h 335246"/>
                <a:gd name="connsiteX9" fmla="*/ 227486 w 227486"/>
                <a:gd name="connsiteY9" fmla="*/ 237158 h 335246"/>
                <a:gd name="connsiteX10" fmla="*/ 115590 w 227486"/>
                <a:gd name="connsiteY10" fmla="*/ 335246 h 335246"/>
                <a:gd name="connsiteX11" fmla="*/ 0 w 227486"/>
                <a:gd name="connsiteY11" fmla="*/ 290573 h 335246"/>
                <a:gd name="connsiteX12" fmla="*/ 36383 w 227486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86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71" y="282283"/>
                  </a:cubicBezTo>
                  <a:cubicBezTo>
                    <a:pt x="147359" y="282283"/>
                    <a:pt x="169466" y="265243"/>
                    <a:pt x="169466" y="241755"/>
                  </a:cubicBezTo>
                  <a:cubicBezTo>
                    <a:pt x="169466" y="179589"/>
                    <a:pt x="10601" y="198932"/>
                    <a:pt x="10601" y="93944"/>
                  </a:cubicBezTo>
                  <a:cubicBezTo>
                    <a:pt x="10601" y="38226"/>
                    <a:pt x="55727" y="0"/>
                    <a:pt x="120656" y="0"/>
                  </a:cubicBezTo>
                  <a:cubicBezTo>
                    <a:pt x="159342" y="0"/>
                    <a:pt x="195256" y="13356"/>
                    <a:pt x="225183" y="39147"/>
                  </a:cubicBezTo>
                  <a:lnTo>
                    <a:pt x="188808" y="83812"/>
                  </a:lnTo>
                  <a:cubicBezTo>
                    <a:pt x="165321" y="63087"/>
                    <a:pt x="141841" y="52503"/>
                    <a:pt x="117884" y="52503"/>
                  </a:cubicBezTo>
                  <a:cubicBezTo>
                    <a:pt x="89339" y="52503"/>
                    <a:pt x="68613" y="67692"/>
                    <a:pt x="68613" y="88886"/>
                  </a:cubicBezTo>
                  <a:cubicBezTo>
                    <a:pt x="68613" y="147359"/>
                    <a:pt x="227486" y="128024"/>
                    <a:pt x="227486" y="237158"/>
                  </a:cubicBezTo>
                  <a:cubicBezTo>
                    <a:pt x="227486" y="295639"/>
                    <a:pt x="182352" y="335246"/>
                    <a:pt x="115590" y="335246"/>
                  </a:cubicBezTo>
                  <a:cubicBezTo>
                    <a:pt x="72767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8" name="Freihandform: Form 294">
              <a:extLst>
                <a:ext uri="{FF2B5EF4-FFF2-40B4-BE49-F238E27FC236}">
                  <a16:creationId xmlns:a16="http://schemas.microsoft.com/office/drawing/2014/main" id="{FDD6B35D-53A4-614E-8257-E137E5BCEE7C}"/>
                </a:ext>
              </a:extLst>
            </p:cNvPr>
            <p:cNvSpPr/>
            <p:nvPr/>
          </p:nvSpPr>
          <p:spPr>
            <a:xfrm>
              <a:off x="9804959" y="3052356"/>
              <a:ext cx="225636" cy="245908"/>
            </a:xfrm>
            <a:custGeom>
              <a:avLst/>
              <a:gdLst>
                <a:gd name="connsiteX0" fmla="*/ 0 w 225636"/>
                <a:gd name="connsiteY0" fmla="*/ 122950 h 245908"/>
                <a:gd name="connsiteX1" fmla="*/ 113739 w 225636"/>
                <a:gd name="connsiteY1" fmla="*/ 0 h 245908"/>
                <a:gd name="connsiteX2" fmla="*/ 225636 w 225636"/>
                <a:gd name="connsiteY2" fmla="*/ 122950 h 245908"/>
                <a:gd name="connsiteX3" fmla="*/ 113739 w 225636"/>
                <a:gd name="connsiteY3" fmla="*/ 245908 h 245908"/>
                <a:gd name="connsiteX4" fmla="*/ 0 w 225636"/>
                <a:gd name="connsiteY4" fmla="*/ 122950 h 245908"/>
                <a:gd name="connsiteX5" fmla="*/ 171300 w 225636"/>
                <a:gd name="connsiteY5" fmla="*/ 123410 h 245908"/>
                <a:gd name="connsiteX6" fmla="*/ 112818 w 225636"/>
                <a:gd name="connsiteY6" fmla="*/ 49731 h 245908"/>
                <a:gd name="connsiteX7" fmla="*/ 54345 w 225636"/>
                <a:gd name="connsiteY7" fmla="*/ 122481 h 245908"/>
                <a:gd name="connsiteX8" fmla="*/ 113287 w 225636"/>
                <a:gd name="connsiteY8" fmla="*/ 196621 h 245908"/>
                <a:gd name="connsiteX9" fmla="*/ 171300 w 225636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36" h="245908">
                  <a:moveTo>
                    <a:pt x="0" y="122950"/>
                  </a:moveTo>
                  <a:cubicBezTo>
                    <a:pt x="0" y="49270"/>
                    <a:pt x="45586" y="0"/>
                    <a:pt x="113739" y="0"/>
                  </a:cubicBezTo>
                  <a:cubicBezTo>
                    <a:pt x="181431" y="0"/>
                    <a:pt x="225636" y="48349"/>
                    <a:pt x="225636" y="122950"/>
                  </a:cubicBezTo>
                  <a:cubicBezTo>
                    <a:pt x="225636" y="196629"/>
                    <a:pt x="181884" y="245908"/>
                    <a:pt x="113739" y="245908"/>
                  </a:cubicBezTo>
                  <a:cubicBezTo>
                    <a:pt x="46047" y="245900"/>
                    <a:pt x="0" y="197090"/>
                    <a:pt x="0" y="122950"/>
                  </a:cubicBezTo>
                  <a:close/>
                  <a:moveTo>
                    <a:pt x="171300" y="123410"/>
                  </a:moveTo>
                  <a:cubicBezTo>
                    <a:pt x="171300" y="77824"/>
                    <a:pt x="148741" y="49731"/>
                    <a:pt x="112818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03" y="196621"/>
                    <a:pt x="113287" y="196621"/>
                  </a:cubicBezTo>
                  <a:cubicBezTo>
                    <a:pt x="149193" y="196629"/>
                    <a:pt x="171300" y="168536"/>
                    <a:pt x="171300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89" name="Freihandform: Form 92">
            <a:extLst>
              <a:ext uri="{FF2B5EF4-FFF2-40B4-BE49-F238E27FC236}">
                <a16:creationId xmlns:a16="http://schemas.microsoft.com/office/drawing/2014/main" id="{FFD1B120-0C8C-FE4B-BEEB-E62E3BAE19A0}"/>
              </a:ext>
            </a:extLst>
          </p:cNvPr>
          <p:cNvSpPr/>
          <p:nvPr userDrawn="1"/>
        </p:nvSpPr>
        <p:spPr>
          <a:xfrm>
            <a:off x="10272160" y="300704"/>
            <a:ext cx="1403903" cy="535987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rgbClr val="041E42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20" y="2930402"/>
            <a:ext cx="11157743" cy="997196"/>
          </a:xfrm>
        </p:spPr>
        <p:txBody>
          <a:bodyPr anchor="ctr" anchorCtr="0"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Kapiteltrenner</a:t>
            </a:r>
            <a:br>
              <a:rPr lang="de-DE"/>
            </a:br>
            <a:r>
              <a:rPr lang="de-DE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444903-923D-4B2A-A382-CD9330EAD3FE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20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7987594-F169-42FB-8839-77BF8D405E37}"/>
              </a:ext>
            </a:extLst>
          </p:cNvPr>
          <p:cNvSpPr/>
          <p:nvPr userDrawn="1"/>
        </p:nvSpPr>
        <p:spPr>
          <a:xfrm>
            <a:off x="518400" y="1196733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20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5"/>
            <a:ext cx="1619126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620"/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9A6E8BA9-5951-4163-8A80-4621C65DA816}"/>
              </a:ext>
            </a:extLst>
          </p:cNvPr>
          <p:cNvGrpSpPr/>
          <p:nvPr userDrawn="1"/>
        </p:nvGrpSpPr>
        <p:grpSpPr>
          <a:xfrm>
            <a:off x="-390525" y="160153"/>
            <a:ext cx="333376" cy="136812"/>
            <a:chOff x="-133350" y="2711163"/>
            <a:chExt cx="333375" cy="136812"/>
          </a:xfrm>
        </p:grpSpPr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59DAB7DF-1308-4B09-91FE-7DF38D6584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87654828-5D94-4A05-BD5F-25792A149E05}"/>
                </a:ext>
              </a:extLst>
            </p:cNvPr>
            <p:cNvSpPr txBox="1"/>
            <p:nvPr userDrawn="1"/>
          </p:nvSpPr>
          <p:spPr>
            <a:xfrm>
              <a:off x="-82078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9D3F2F75-1623-4F64-97FE-EA0C4D9FABDC}"/>
              </a:ext>
            </a:extLst>
          </p:cNvPr>
          <p:cNvGrpSpPr/>
          <p:nvPr userDrawn="1"/>
        </p:nvGrpSpPr>
        <p:grpSpPr>
          <a:xfrm>
            <a:off x="-390525" y="1131703"/>
            <a:ext cx="333376" cy="136812"/>
            <a:chOff x="-133350" y="2711163"/>
            <a:chExt cx="333375" cy="136812"/>
          </a:xfrm>
        </p:grpSpPr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B042E0F0-49A6-465F-A607-A4C2EFB548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9D612980-2A2D-4E94-8238-9C67C608554C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2CE76F8C-9B22-4BB3-B2D6-15EC2A58C7A7}"/>
              </a:ext>
            </a:extLst>
          </p:cNvPr>
          <p:cNvGrpSpPr/>
          <p:nvPr userDrawn="1"/>
        </p:nvGrpSpPr>
        <p:grpSpPr>
          <a:xfrm>
            <a:off x="-390525" y="1491963"/>
            <a:ext cx="333376" cy="136812"/>
            <a:chOff x="-133350" y="2711163"/>
            <a:chExt cx="333375" cy="136812"/>
          </a:xfrm>
        </p:grpSpPr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9C843E82-BEFA-4CF2-BA2F-3C80060D316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4762BE88-2459-479F-84FF-4DF483AA142C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104E26F8-EA1A-4C6F-92E1-8F6F98ABFA13}"/>
              </a:ext>
            </a:extLst>
          </p:cNvPr>
          <p:cNvGrpSpPr/>
          <p:nvPr userDrawn="1"/>
        </p:nvGrpSpPr>
        <p:grpSpPr>
          <a:xfrm>
            <a:off x="-390525" y="3292188"/>
            <a:ext cx="333376" cy="136812"/>
            <a:chOff x="-133350" y="2711163"/>
            <a:chExt cx="333375" cy="136812"/>
          </a:xfrm>
        </p:grpSpPr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1A8A854C-301D-4327-AEA2-BCC20A887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5A547124-456E-49C6-8FC8-111D0AAFEB7F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73B26B5D-1FEC-45B5-B34A-6A1B50955F0E}"/>
              </a:ext>
            </a:extLst>
          </p:cNvPr>
          <p:cNvGrpSpPr/>
          <p:nvPr userDrawn="1"/>
        </p:nvGrpSpPr>
        <p:grpSpPr>
          <a:xfrm>
            <a:off x="-390525" y="6063963"/>
            <a:ext cx="333376" cy="136812"/>
            <a:chOff x="-133350" y="2711163"/>
            <a:chExt cx="333375" cy="136812"/>
          </a:xfrm>
        </p:grpSpPr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3423A679-4F5C-456E-AB6C-7A18EA3E5B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69754FAD-5E71-4087-B3E8-0FEC37E0D864}"/>
                </a:ext>
              </a:extLst>
            </p:cNvPr>
            <p:cNvSpPr txBox="1"/>
            <p:nvPr userDrawn="1"/>
          </p:nvSpPr>
          <p:spPr>
            <a:xfrm>
              <a:off x="-82076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7C156EC4-BDB3-4DEA-9B78-E98FCFD2F54B}"/>
              </a:ext>
            </a:extLst>
          </p:cNvPr>
          <p:cNvGrpSpPr/>
          <p:nvPr userDrawn="1"/>
        </p:nvGrpSpPr>
        <p:grpSpPr>
          <a:xfrm>
            <a:off x="-390525" y="6495763"/>
            <a:ext cx="333376" cy="136812"/>
            <a:chOff x="-133350" y="2711163"/>
            <a:chExt cx="333375" cy="136812"/>
          </a:xfrm>
        </p:grpSpPr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9E9C384D-D46B-429F-9A97-86F6E3560F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64B7918E-86D1-49EB-8917-1468D42A6E25}"/>
                </a:ext>
              </a:extLst>
            </p:cNvPr>
            <p:cNvSpPr txBox="1"/>
            <p:nvPr userDrawn="1"/>
          </p:nvSpPr>
          <p:spPr>
            <a:xfrm>
              <a:off x="-82075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750A6733-FD78-4442-98B4-E2BED64B460F}"/>
              </a:ext>
            </a:extLst>
          </p:cNvPr>
          <p:cNvGrpSpPr/>
          <p:nvPr userDrawn="1"/>
        </p:nvGrpSpPr>
        <p:grpSpPr>
          <a:xfrm rot="16200000">
            <a:off x="284750" y="-296027"/>
            <a:ext cx="333375" cy="130588"/>
            <a:chOff x="-133350" y="2717387"/>
            <a:chExt cx="333375" cy="130588"/>
          </a:xfrm>
        </p:grpSpPr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77BB574D-D198-49E4-874D-732C0CBD5BF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67A72ACB-A6A0-450F-A8F3-9CA35EFC5560}"/>
                </a:ext>
              </a:extLst>
            </p:cNvPr>
            <p:cNvSpPr txBox="1"/>
            <p:nvPr userDrawn="1"/>
          </p:nvSpPr>
          <p:spPr>
            <a:xfrm>
              <a:off x="-82079" y="2717387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C4970FA2-8D2D-462F-BD21-BDE052DC5824}"/>
              </a:ext>
            </a:extLst>
          </p:cNvPr>
          <p:cNvGrpSpPr/>
          <p:nvPr userDrawn="1"/>
        </p:nvGrpSpPr>
        <p:grpSpPr>
          <a:xfrm rot="16200000">
            <a:off x="5756070" y="-296028"/>
            <a:ext cx="333375" cy="130584"/>
            <a:chOff x="-133350" y="2717391"/>
            <a:chExt cx="333375" cy="130584"/>
          </a:xfrm>
        </p:grpSpPr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A7C30986-FB99-416E-BC3E-3BAEC067C1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4CE018F4-A860-49B3-B4CD-A328759F15C6}"/>
                </a:ext>
              </a:extLst>
            </p:cNvPr>
            <p:cNvSpPr txBox="1"/>
            <p:nvPr userDrawn="1"/>
          </p:nvSpPr>
          <p:spPr>
            <a:xfrm>
              <a:off x="-82076" y="2717391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7C2BACBD-0A67-4A9A-B5DC-10C76F5DE4C2}"/>
              </a:ext>
            </a:extLst>
          </p:cNvPr>
          <p:cNvGrpSpPr/>
          <p:nvPr userDrawn="1"/>
        </p:nvGrpSpPr>
        <p:grpSpPr>
          <a:xfrm>
            <a:off x="6203945" y="-397424"/>
            <a:ext cx="118684" cy="333375"/>
            <a:chOff x="6416681" y="-397424"/>
            <a:chExt cx="118684" cy="333375"/>
          </a:xfrm>
        </p:grpSpPr>
        <p:cxnSp>
          <p:nvCxnSpPr>
            <p:cNvPr id="85" name="Gerader Verbinder 84">
              <a:extLst>
                <a:ext uri="{FF2B5EF4-FFF2-40B4-BE49-F238E27FC236}">
                  <a16:creationId xmlns:a16="http://schemas.microsoft.com/office/drawing/2014/main" id="{65F81584-9968-42FA-B3A9-1C13CEAE92A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B6D353C6-61DE-4475-8AC6-6D8AF12D49FB}"/>
                </a:ext>
              </a:extLst>
            </p:cNvPr>
            <p:cNvSpPr txBox="1"/>
            <p:nvPr userDrawn="1"/>
          </p:nvSpPr>
          <p:spPr>
            <a:xfrm rot="16200000">
              <a:off x="6363716" y="-286972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935008F2-D1D5-498F-9932-727B677C0ADE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4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9E72FA59-B055-4F1F-8F32-E797C18F96F9}"/>
              </a:ext>
            </a:extLst>
          </p:cNvPr>
          <p:cNvGrpSpPr/>
          <p:nvPr userDrawn="1"/>
        </p:nvGrpSpPr>
        <p:grpSpPr>
          <a:xfrm rot="16200000">
            <a:off x="11450432" y="-296031"/>
            <a:ext cx="333375" cy="130580"/>
            <a:chOff x="-133350" y="2717395"/>
            <a:chExt cx="333375" cy="130580"/>
          </a:xfrm>
        </p:grpSpPr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B89FA96C-C88D-4C6A-BE88-F3E3083BC5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feld 89">
              <a:extLst>
                <a:ext uri="{FF2B5EF4-FFF2-40B4-BE49-F238E27FC236}">
                  <a16:creationId xmlns:a16="http://schemas.microsoft.com/office/drawing/2014/main" id="{CD67028C-ACEA-4E1C-BF3F-B09177D4335E}"/>
                </a:ext>
              </a:extLst>
            </p:cNvPr>
            <p:cNvSpPr txBox="1"/>
            <p:nvPr userDrawn="1"/>
          </p:nvSpPr>
          <p:spPr>
            <a:xfrm>
              <a:off x="-82072" y="2717395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12" name="Grafik 3">
            <a:extLst>
              <a:ext uri="{FF2B5EF4-FFF2-40B4-BE49-F238E27FC236}">
                <a16:creationId xmlns:a16="http://schemas.microsoft.com/office/drawing/2014/main" id="{C7BBC885-0DED-4896-9346-B81B3DFDE163}"/>
              </a:ext>
            </a:extLst>
          </p:cNvPr>
          <p:cNvGrpSpPr/>
          <p:nvPr userDrawn="1"/>
        </p:nvGrpSpPr>
        <p:grpSpPr>
          <a:xfrm>
            <a:off x="510640" y="293688"/>
            <a:ext cx="2631832" cy="563562"/>
            <a:chOff x="4011188" y="1936931"/>
            <a:chExt cx="6776742" cy="1451124"/>
          </a:xfrm>
          <a:solidFill>
            <a:schemeClr val="tx1"/>
          </a:solidFill>
        </p:grpSpPr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3CC4892F-A906-4E4B-BEBB-92977436EBE7}"/>
                </a:ext>
              </a:extLst>
            </p:cNvPr>
            <p:cNvSpPr/>
            <p:nvPr/>
          </p:nvSpPr>
          <p:spPr>
            <a:xfrm>
              <a:off x="4034676" y="1955336"/>
              <a:ext cx="203537" cy="324184"/>
            </a:xfrm>
            <a:custGeom>
              <a:avLst/>
              <a:gdLst>
                <a:gd name="connsiteX0" fmla="*/ 203538 w 203537"/>
                <a:gd name="connsiteY0" fmla="*/ 52963 h 324184"/>
                <a:gd name="connsiteX1" fmla="*/ 57561 w 203537"/>
                <a:gd name="connsiteY1" fmla="*/ 52963 h 324184"/>
                <a:gd name="connsiteX2" fmla="*/ 57561 w 203537"/>
                <a:gd name="connsiteY2" fmla="*/ 133551 h 324184"/>
                <a:gd name="connsiteX3" fmla="*/ 166694 w 203537"/>
                <a:gd name="connsiteY3" fmla="*/ 133551 h 324184"/>
                <a:gd name="connsiteX4" fmla="*/ 166694 w 203537"/>
                <a:gd name="connsiteY4" fmla="*/ 186045 h 324184"/>
                <a:gd name="connsiteX5" fmla="*/ 57561 w 203537"/>
                <a:gd name="connsiteY5" fmla="*/ 186045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63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63"/>
                  </a:moveTo>
                  <a:lnTo>
                    <a:pt x="57561" y="52963"/>
                  </a:lnTo>
                  <a:lnTo>
                    <a:pt x="57561" y="133551"/>
                  </a:lnTo>
                  <a:lnTo>
                    <a:pt x="166694" y="133551"/>
                  </a:lnTo>
                  <a:lnTo>
                    <a:pt x="166694" y="186045"/>
                  </a:lnTo>
                  <a:lnTo>
                    <a:pt x="57561" y="186045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44B6FC23-C285-48C4-8A96-6359C6B7586F}"/>
                </a:ext>
              </a:extLst>
            </p:cNvPr>
            <p:cNvSpPr/>
            <p:nvPr/>
          </p:nvSpPr>
          <p:spPr>
            <a:xfrm>
              <a:off x="426950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94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84 w 141832"/>
                <a:gd name="connsiteY7" fmla="*/ 5979 h 240364"/>
                <a:gd name="connsiteX8" fmla="*/ 53884 w 141832"/>
                <a:gd name="connsiteY8" fmla="*/ 35454 h 240364"/>
                <a:gd name="connsiteX9" fmla="*/ 54797 w 141832"/>
                <a:gd name="connsiteY9" fmla="*/ 35454 h 240364"/>
                <a:gd name="connsiteX10" fmla="*/ 116041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800" y="56631"/>
                    <a:pt x="114668" y="53868"/>
                    <a:pt x="102694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84" y="5979"/>
                  </a:lnTo>
                  <a:lnTo>
                    <a:pt x="53884" y="35454"/>
                  </a:lnTo>
                  <a:lnTo>
                    <a:pt x="54797" y="35454"/>
                  </a:lnTo>
                  <a:cubicBezTo>
                    <a:pt x="67232" y="13348"/>
                    <a:pt x="89338" y="0"/>
                    <a:pt x="116041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C116F810-D7E5-4F55-8ABD-84A95E364884}"/>
                </a:ext>
              </a:extLst>
            </p:cNvPr>
            <p:cNvSpPr/>
            <p:nvPr/>
          </p:nvSpPr>
          <p:spPr>
            <a:xfrm>
              <a:off x="4450268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5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5 w 69542"/>
                <a:gd name="connsiteY8" fmla="*/ 104076 h 338461"/>
                <a:gd name="connsiteX9" fmla="*/ 62175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76" y="0"/>
                    <a:pt x="69543" y="14277"/>
                    <a:pt x="69543" y="33160"/>
                  </a:cubicBezTo>
                  <a:close/>
                  <a:moveTo>
                    <a:pt x="6217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5" y="104076"/>
                  </a:lnTo>
                  <a:lnTo>
                    <a:pt x="6217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D4042654-B2BC-4AA6-A157-885C0B58E2F9}"/>
                </a:ext>
              </a:extLst>
            </p:cNvPr>
            <p:cNvSpPr/>
            <p:nvPr/>
          </p:nvSpPr>
          <p:spPr>
            <a:xfrm>
              <a:off x="4570153" y="2039148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6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8"/>
                    <a:pt x="83360" y="198924"/>
                    <a:pt x="116511" y="198924"/>
                  </a:cubicBezTo>
                  <a:cubicBezTo>
                    <a:pt x="138157" y="198924"/>
                    <a:pt x="155657" y="190634"/>
                    <a:pt x="174079" y="171291"/>
                  </a:cubicBezTo>
                  <a:lnTo>
                    <a:pt x="208152" y="207214"/>
                  </a:lnTo>
                  <a:cubicBezTo>
                    <a:pt x="181431" y="233465"/>
                    <a:pt x="151495" y="245900"/>
                    <a:pt x="116042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6"/>
                    <a:pt x="109125" y="45126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1C1F8A9F-2959-43DD-BD31-1434DDEB6A7C}"/>
                </a:ext>
              </a:extLst>
            </p:cNvPr>
            <p:cNvSpPr/>
            <p:nvPr/>
          </p:nvSpPr>
          <p:spPr>
            <a:xfrm>
              <a:off x="4831929" y="1936931"/>
              <a:ext cx="219187" cy="348116"/>
            </a:xfrm>
            <a:custGeom>
              <a:avLst/>
              <a:gdLst>
                <a:gd name="connsiteX0" fmla="*/ 0 w 219187"/>
                <a:gd name="connsiteY0" fmla="*/ 224706 h 348116"/>
                <a:gd name="connsiteX1" fmla="*/ 95317 w 219187"/>
                <a:gd name="connsiteY1" fmla="*/ 102217 h 348116"/>
                <a:gd name="connsiteX2" fmla="*/ 163478 w 219187"/>
                <a:gd name="connsiteY2" fmla="*/ 133986 h 348116"/>
                <a:gd name="connsiteX3" fmla="*/ 164391 w 219187"/>
                <a:gd name="connsiteY3" fmla="*/ 133986 h 348116"/>
                <a:gd name="connsiteX4" fmla="*/ 164391 w 219187"/>
                <a:gd name="connsiteY4" fmla="*/ 13808 h 348116"/>
                <a:gd name="connsiteX5" fmla="*/ 219188 w 219187"/>
                <a:gd name="connsiteY5" fmla="*/ 0 h 348116"/>
                <a:gd name="connsiteX6" fmla="*/ 219188 w 219187"/>
                <a:gd name="connsiteY6" fmla="*/ 342590 h 348116"/>
                <a:gd name="connsiteX7" fmla="*/ 165773 w 219187"/>
                <a:gd name="connsiteY7" fmla="*/ 342590 h 348116"/>
                <a:gd name="connsiteX8" fmla="*/ 165773 w 219187"/>
                <a:gd name="connsiteY8" fmla="*/ 314957 h 348116"/>
                <a:gd name="connsiteX9" fmla="*/ 164851 w 219187"/>
                <a:gd name="connsiteY9" fmla="*/ 314957 h 348116"/>
                <a:gd name="connsiteX10" fmla="*/ 94404 w 219187"/>
                <a:gd name="connsiteY10" fmla="*/ 348117 h 348116"/>
                <a:gd name="connsiteX11" fmla="*/ 0 w 219187"/>
                <a:gd name="connsiteY11" fmla="*/ 224706 h 348116"/>
                <a:gd name="connsiteX12" fmla="*/ 54328 w 219187"/>
                <a:gd name="connsiteY12" fmla="*/ 224706 h 348116"/>
                <a:gd name="connsiteX13" fmla="*/ 108664 w 219187"/>
                <a:gd name="connsiteY13" fmla="*/ 299767 h 348116"/>
                <a:gd name="connsiteX14" fmla="*/ 164383 w 219187"/>
                <a:gd name="connsiteY14" fmla="*/ 268911 h 348116"/>
                <a:gd name="connsiteX15" fmla="*/ 164383 w 219187"/>
                <a:gd name="connsiteY15" fmla="*/ 183265 h 348116"/>
                <a:gd name="connsiteX16" fmla="*/ 108664 w 219187"/>
                <a:gd name="connsiteY16" fmla="*/ 151956 h 348116"/>
                <a:gd name="connsiteX17" fmla="*/ 54328 w 219187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87" h="348116">
                  <a:moveTo>
                    <a:pt x="0" y="224706"/>
                  </a:moveTo>
                  <a:cubicBezTo>
                    <a:pt x="0" y="149185"/>
                    <a:pt x="38217" y="102217"/>
                    <a:pt x="95317" y="102217"/>
                  </a:cubicBezTo>
                  <a:cubicBezTo>
                    <a:pt x="124792" y="102217"/>
                    <a:pt x="147819" y="114643"/>
                    <a:pt x="163478" y="133986"/>
                  </a:cubicBezTo>
                  <a:lnTo>
                    <a:pt x="164391" y="133986"/>
                  </a:lnTo>
                  <a:lnTo>
                    <a:pt x="164391" y="13808"/>
                  </a:lnTo>
                  <a:lnTo>
                    <a:pt x="219188" y="0"/>
                  </a:lnTo>
                  <a:lnTo>
                    <a:pt x="219188" y="342590"/>
                  </a:lnTo>
                  <a:lnTo>
                    <a:pt x="165773" y="342590"/>
                  </a:lnTo>
                  <a:lnTo>
                    <a:pt x="165773" y="314957"/>
                  </a:lnTo>
                  <a:lnTo>
                    <a:pt x="164851" y="314957"/>
                  </a:lnTo>
                  <a:cubicBezTo>
                    <a:pt x="147819" y="335682"/>
                    <a:pt x="123410" y="348117"/>
                    <a:pt x="94404" y="348117"/>
                  </a:cubicBezTo>
                  <a:cubicBezTo>
                    <a:pt x="38677" y="348117"/>
                    <a:pt x="0" y="300689"/>
                    <a:pt x="0" y="224706"/>
                  </a:cubicBezTo>
                  <a:close/>
                  <a:moveTo>
                    <a:pt x="54328" y="224706"/>
                  </a:moveTo>
                  <a:cubicBezTo>
                    <a:pt x="54328" y="272595"/>
                    <a:pt x="74131" y="299767"/>
                    <a:pt x="108664" y="299767"/>
                  </a:cubicBezTo>
                  <a:cubicBezTo>
                    <a:pt x="129849" y="299767"/>
                    <a:pt x="147351" y="289635"/>
                    <a:pt x="164383" y="268911"/>
                  </a:cubicBezTo>
                  <a:lnTo>
                    <a:pt x="164383" y="183265"/>
                  </a:lnTo>
                  <a:cubicBezTo>
                    <a:pt x="148732" y="162088"/>
                    <a:pt x="130762" y="151956"/>
                    <a:pt x="108664" y="151956"/>
                  </a:cubicBezTo>
                  <a:cubicBezTo>
                    <a:pt x="73210" y="151956"/>
                    <a:pt x="54328" y="177739"/>
                    <a:pt x="54328" y="224706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FE6073BB-B987-443D-93D9-49C8E659470B}"/>
                </a:ext>
              </a:extLst>
            </p:cNvPr>
            <p:cNvSpPr/>
            <p:nvPr/>
          </p:nvSpPr>
          <p:spPr>
            <a:xfrm>
              <a:off x="512248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86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7 w 141832"/>
                <a:gd name="connsiteY9" fmla="*/ 35454 h 240364"/>
                <a:gd name="connsiteX10" fmla="*/ 116033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792" y="56631"/>
                    <a:pt x="114660" y="53868"/>
                    <a:pt x="102686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3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F9006685-D690-40E5-BDDF-68D7A3F24A92}"/>
                </a:ext>
              </a:extLst>
            </p:cNvPr>
            <p:cNvSpPr/>
            <p:nvPr/>
          </p:nvSpPr>
          <p:spPr>
            <a:xfrm>
              <a:off x="5303239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00601C1C-5D55-4BF3-A5A7-1A3AE6189209}"/>
                </a:ext>
              </a:extLst>
            </p:cNvPr>
            <p:cNvSpPr/>
            <p:nvPr/>
          </p:nvSpPr>
          <p:spPr>
            <a:xfrm>
              <a:off x="5424179" y="2039156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2"/>
                    <a:pt x="112809" y="50192"/>
                  </a:cubicBezTo>
                  <a:cubicBezTo>
                    <a:pt x="78277" y="50192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71" y="196161"/>
                    <a:pt x="145509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817C1DF2-9151-4C01-A684-0700826D1283}"/>
                </a:ext>
              </a:extLst>
            </p:cNvPr>
            <p:cNvSpPr/>
            <p:nvPr/>
          </p:nvSpPr>
          <p:spPr>
            <a:xfrm>
              <a:off x="5668731" y="1936931"/>
              <a:ext cx="201695" cy="342590"/>
            </a:xfrm>
            <a:custGeom>
              <a:avLst/>
              <a:gdLst>
                <a:gd name="connsiteX0" fmla="*/ 201695 w 201695"/>
                <a:gd name="connsiteY0" fmla="*/ 342590 h 342590"/>
                <a:gd name="connsiteX1" fmla="*/ 146898 w 201695"/>
                <a:gd name="connsiteY1" fmla="*/ 342590 h 342590"/>
                <a:gd name="connsiteX2" fmla="*/ 146898 w 201695"/>
                <a:gd name="connsiteY2" fmla="*/ 208587 h 342590"/>
                <a:gd name="connsiteX3" fmla="*/ 103607 w 201695"/>
                <a:gd name="connsiteY3" fmla="*/ 151487 h 342590"/>
                <a:gd name="connsiteX4" fmla="*/ 54797 w 201695"/>
                <a:gd name="connsiteY4" fmla="*/ 208135 h 342590"/>
                <a:gd name="connsiteX5" fmla="*/ 54797 w 201695"/>
                <a:gd name="connsiteY5" fmla="*/ 342590 h 342590"/>
                <a:gd name="connsiteX6" fmla="*/ 0 w 201695"/>
                <a:gd name="connsiteY6" fmla="*/ 342590 h 342590"/>
                <a:gd name="connsiteX7" fmla="*/ 0 w 201695"/>
                <a:gd name="connsiteY7" fmla="*/ 13808 h 342590"/>
                <a:gd name="connsiteX8" fmla="*/ 54797 w 201695"/>
                <a:gd name="connsiteY8" fmla="*/ 0 h 342590"/>
                <a:gd name="connsiteX9" fmla="*/ 54797 w 201695"/>
                <a:gd name="connsiteY9" fmla="*/ 136298 h 342590"/>
                <a:gd name="connsiteX10" fmla="*/ 55718 w 201695"/>
                <a:gd name="connsiteY10" fmla="*/ 136298 h 342590"/>
                <a:gd name="connsiteX11" fmla="*/ 124323 w 201695"/>
                <a:gd name="connsiteY11" fmla="*/ 102225 h 342590"/>
                <a:gd name="connsiteX12" fmla="*/ 201687 w 201695"/>
                <a:gd name="connsiteY12" fmla="*/ 197082 h 342590"/>
                <a:gd name="connsiteX13" fmla="*/ 201687 w 201695"/>
                <a:gd name="connsiteY13" fmla="*/ 342590 h 34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0">
                  <a:moveTo>
                    <a:pt x="201695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297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0"/>
                  </a:lnTo>
                  <a:lnTo>
                    <a:pt x="0" y="342590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6B106256-8404-4067-8E7A-E01321DCBA03}"/>
                </a:ext>
              </a:extLst>
            </p:cNvPr>
            <p:cNvSpPr/>
            <p:nvPr/>
          </p:nvSpPr>
          <p:spPr>
            <a:xfrm>
              <a:off x="5933312" y="2109603"/>
              <a:ext cx="115120" cy="52033"/>
            </a:xfrm>
            <a:custGeom>
              <a:avLst/>
              <a:gdLst>
                <a:gd name="connsiteX0" fmla="*/ 115121 w 115120"/>
                <a:gd name="connsiteY0" fmla="*/ 52034 h 52033"/>
                <a:gd name="connsiteX1" fmla="*/ 0 w 115120"/>
                <a:gd name="connsiteY1" fmla="*/ 52034 h 52033"/>
                <a:gd name="connsiteX2" fmla="*/ 0 w 115120"/>
                <a:gd name="connsiteY2" fmla="*/ 0 h 52033"/>
                <a:gd name="connsiteX3" fmla="*/ 115121 w 115120"/>
                <a:gd name="connsiteY3" fmla="*/ 0 h 52033"/>
                <a:gd name="connsiteX4" fmla="*/ 115121 w 115120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20" h="52033">
                  <a:moveTo>
                    <a:pt x="115121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1" y="0"/>
                  </a:lnTo>
                  <a:lnTo>
                    <a:pt x="115121" y="52034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6927C2D1-9462-4534-9A9E-8418E1EA163F}"/>
                </a:ext>
              </a:extLst>
            </p:cNvPr>
            <p:cNvSpPr/>
            <p:nvPr/>
          </p:nvSpPr>
          <p:spPr>
            <a:xfrm>
              <a:off x="6076636" y="1955336"/>
              <a:ext cx="302078" cy="324184"/>
            </a:xfrm>
            <a:custGeom>
              <a:avLst/>
              <a:gdLst>
                <a:gd name="connsiteX0" fmla="*/ 120647 w 302078"/>
                <a:gd name="connsiteY0" fmla="*/ 0 h 324184"/>
                <a:gd name="connsiteX1" fmla="*/ 181431 w 302078"/>
                <a:gd name="connsiteY1" fmla="*/ 0 h 324184"/>
                <a:gd name="connsiteX2" fmla="*/ 302079 w 302078"/>
                <a:gd name="connsiteY2" fmla="*/ 324185 h 324184"/>
                <a:gd name="connsiteX3" fmla="*/ 238991 w 302078"/>
                <a:gd name="connsiteY3" fmla="*/ 324185 h 324184"/>
                <a:gd name="connsiteX4" fmla="*/ 215503 w 302078"/>
                <a:gd name="connsiteY4" fmla="*/ 255111 h 324184"/>
                <a:gd name="connsiteX5" fmla="*/ 84732 w 302078"/>
                <a:gd name="connsiteY5" fmla="*/ 255111 h 324184"/>
                <a:gd name="connsiteX6" fmla="*/ 61244 w 302078"/>
                <a:gd name="connsiteY6" fmla="*/ 324185 h 324184"/>
                <a:gd name="connsiteX7" fmla="*/ 0 w 302078"/>
                <a:gd name="connsiteY7" fmla="*/ 324185 h 324184"/>
                <a:gd name="connsiteX8" fmla="*/ 120647 w 302078"/>
                <a:gd name="connsiteY8" fmla="*/ 0 h 324184"/>
                <a:gd name="connsiteX9" fmla="*/ 102686 w 302078"/>
                <a:gd name="connsiteY9" fmla="*/ 203538 h 324184"/>
                <a:gd name="connsiteX10" fmla="*/ 197542 w 302078"/>
                <a:gd name="connsiteY10" fmla="*/ 203538 h 324184"/>
                <a:gd name="connsiteX11" fmla="*/ 150575 w 302078"/>
                <a:gd name="connsiteY11" fmla="*/ 65859 h 324184"/>
                <a:gd name="connsiteX12" fmla="*/ 149654 w 302078"/>
                <a:gd name="connsiteY12" fmla="*/ 65859 h 324184"/>
                <a:gd name="connsiteX13" fmla="*/ 102686 w 302078"/>
                <a:gd name="connsiteY13" fmla="*/ 203538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2078" h="324184">
                  <a:moveTo>
                    <a:pt x="120647" y="0"/>
                  </a:moveTo>
                  <a:lnTo>
                    <a:pt x="181431" y="0"/>
                  </a:lnTo>
                  <a:lnTo>
                    <a:pt x="302079" y="324185"/>
                  </a:lnTo>
                  <a:lnTo>
                    <a:pt x="238991" y="324185"/>
                  </a:lnTo>
                  <a:lnTo>
                    <a:pt x="215503" y="255111"/>
                  </a:lnTo>
                  <a:lnTo>
                    <a:pt x="84732" y="255111"/>
                  </a:lnTo>
                  <a:lnTo>
                    <a:pt x="61244" y="324185"/>
                  </a:lnTo>
                  <a:lnTo>
                    <a:pt x="0" y="324185"/>
                  </a:lnTo>
                  <a:lnTo>
                    <a:pt x="120647" y="0"/>
                  </a:lnTo>
                  <a:close/>
                  <a:moveTo>
                    <a:pt x="102686" y="203538"/>
                  </a:moveTo>
                  <a:lnTo>
                    <a:pt x="197542" y="203538"/>
                  </a:lnTo>
                  <a:lnTo>
                    <a:pt x="150575" y="65859"/>
                  </a:lnTo>
                  <a:lnTo>
                    <a:pt x="149654" y="65859"/>
                  </a:lnTo>
                  <a:lnTo>
                    <a:pt x="102686" y="20353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4D24B4B9-ED7F-4932-B6A0-95BAB2E6BAA1}"/>
                </a:ext>
              </a:extLst>
            </p:cNvPr>
            <p:cNvSpPr/>
            <p:nvPr/>
          </p:nvSpPr>
          <p:spPr>
            <a:xfrm>
              <a:off x="6426787" y="1937383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5B42272A-45E1-4F0A-8F5A-871FF29FF040}"/>
                </a:ext>
              </a:extLst>
            </p:cNvPr>
            <p:cNvSpPr/>
            <p:nvPr/>
          </p:nvSpPr>
          <p:spPr>
            <a:xfrm>
              <a:off x="6541003" y="2039148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0 w 214130"/>
                <a:gd name="connsiteY3" fmla="*/ 119266 h 245899"/>
                <a:gd name="connsiteX4" fmla="*/ 213209 w 214130"/>
                <a:gd name="connsiteY4" fmla="*/ 141824 h 245899"/>
                <a:gd name="connsiteX5" fmla="*/ 55726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6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0" y="46968"/>
                    <a:pt x="214130" y="119266"/>
                  </a:cubicBezTo>
                  <a:cubicBezTo>
                    <a:pt x="214130" y="127095"/>
                    <a:pt x="213670" y="135385"/>
                    <a:pt x="213209" y="141824"/>
                  </a:cubicBezTo>
                  <a:lnTo>
                    <a:pt x="55726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31" y="233465"/>
                    <a:pt x="151487" y="245900"/>
                    <a:pt x="116033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72" y="65850"/>
                    <a:pt x="139990" y="45126"/>
                    <a:pt x="109134" y="45126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7CA3A6CD-6E16-40A8-9445-6EE8B3BB8A0D}"/>
                </a:ext>
              </a:extLst>
            </p:cNvPr>
            <p:cNvSpPr/>
            <p:nvPr/>
          </p:nvSpPr>
          <p:spPr>
            <a:xfrm>
              <a:off x="6784224" y="2045127"/>
              <a:ext cx="224245" cy="234394"/>
            </a:xfrm>
            <a:custGeom>
              <a:avLst/>
              <a:gdLst>
                <a:gd name="connsiteX0" fmla="*/ 224245 w 224245"/>
                <a:gd name="connsiteY0" fmla="*/ 234395 h 234394"/>
                <a:gd name="connsiteX1" fmla="*/ 161619 w 224245"/>
                <a:gd name="connsiteY1" fmla="*/ 234395 h 234394"/>
                <a:gd name="connsiteX2" fmla="*/ 111427 w 224245"/>
                <a:gd name="connsiteY2" fmla="*/ 153346 h 234394"/>
                <a:gd name="connsiteX3" fmla="*/ 110515 w 224245"/>
                <a:gd name="connsiteY3" fmla="*/ 153346 h 234394"/>
                <a:gd name="connsiteX4" fmla="*/ 61697 w 224245"/>
                <a:gd name="connsiteY4" fmla="*/ 234395 h 234394"/>
                <a:gd name="connsiteX5" fmla="*/ 0 w 224245"/>
                <a:gd name="connsiteY5" fmla="*/ 234395 h 234394"/>
                <a:gd name="connsiteX6" fmla="*/ 80119 w 224245"/>
                <a:gd name="connsiteY6" fmla="*/ 112826 h 234394"/>
                <a:gd name="connsiteX7" fmla="*/ 5979 w 224245"/>
                <a:gd name="connsiteY7" fmla="*/ 0 h 234394"/>
                <a:gd name="connsiteX8" fmla="*/ 67684 w 224245"/>
                <a:gd name="connsiteY8" fmla="*/ 0 h 234394"/>
                <a:gd name="connsiteX9" fmla="*/ 111888 w 224245"/>
                <a:gd name="connsiteY9" fmla="*/ 71837 h 234394"/>
                <a:gd name="connsiteX10" fmla="*/ 112801 w 224245"/>
                <a:gd name="connsiteY10" fmla="*/ 71837 h 234394"/>
                <a:gd name="connsiteX11" fmla="*/ 156553 w 224245"/>
                <a:gd name="connsiteY11" fmla="*/ 0 h 234394"/>
                <a:gd name="connsiteX12" fmla="*/ 217337 w 224245"/>
                <a:gd name="connsiteY12" fmla="*/ 0 h 234394"/>
                <a:gd name="connsiteX13" fmla="*/ 143657 w 224245"/>
                <a:gd name="connsiteY13" fmla="*/ 111897 h 234394"/>
                <a:gd name="connsiteX14" fmla="*/ 224245 w 224245"/>
                <a:gd name="connsiteY14" fmla="*/ 234395 h 234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4245" h="234394">
                  <a:moveTo>
                    <a:pt x="224245" y="234395"/>
                  </a:moveTo>
                  <a:lnTo>
                    <a:pt x="161619" y="234395"/>
                  </a:lnTo>
                  <a:lnTo>
                    <a:pt x="111427" y="153346"/>
                  </a:lnTo>
                  <a:lnTo>
                    <a:pt x="110515" y="153346"/>
                  </a:lnTo>
                  <a:lnTo>
                    <a:pt x="61697" y="234395"/>
                  </a:lnTo>
                  <a:lnTo>
                    <a:pt x="0" y="234395"/>
                  </a:lnTo>
                  <a:lnTo>
                    <a:pt x="80119" y="112826"/>
                  </a:lnTo>
                  <a:lnTo>
                    <a:pt x="5979" y="0"/>
                  </a:lnTo>
                  <a:lnTo>
                    <a:pt x="67684" y="0"/>
                  </a:lnTo>
                  <a:lnTo>
                    <a:pt x="111888" y="71837"/>
                  </a:lnTo>
                  <a:lnTo>
                    <a:pt x="112801" y="71837"/>
                  </a:lnTo>
                  <a:lnTo>
                    <a:pt x="156553" y="0"/>
                  </a:lnTo>
                  <a:lnTo>
                    <a:pt x="217337" y="0"/>
                  </a:lnTo>
                  <a:lnTo>
                    <a:pt x="143657" y="111897"/>
                  </a:lnTo>
                  <a:lnTo>
                    <a:pt x="224245" y="23439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7FE1A26D-7D77-46D7-BD0D-488898D8CD0B}"/>
                </a:ext>
              </a:extLst>
            </p:cNvPr>
            <p:cNvSpPr/>
            <p:nvPr/>
          </p:nvSpPr>
          <p:spPr>
            <a:xfrm>
              <a:off x="7037149" y="2039148"/>
              <a:ext cx="198924" cy="245899"/>
            </a:xfrm>
            <a:custGeom>
              <a:avLst/>
              <a:gdLst>
                <a:gd name="connsiteX0" fmla="*/ 100835 w 198924"/>
                <a:gd name="connsiteY0" fmla="*/ 94856 h 245899"/>
                <a:gd name="connsiteX1" fmla="*/ 145039 w 198924"/>
                <a:gd name="connsiteY1" fmla="*/ 99922 h 245899"/>
                <a:gd name="connsiteX2" fmla="*/ 145039 w 198924"/>
                <a:gd name="connsiteY2" fmla="*/ 91633 h 245899"/>
                <a:gd name="connsiteX3" fmla="*/ 93466 w 198924"/>
                <a:gd name="connsiteY3" fmla="*/ 46047 h 245899"/>
                <a:gd name="connsiteX4" fmla="*/ 34064 w 198924"/>
                <a:gd name="connsiteY4" fmla="*/ 59402 h 245899"/>
                <a:gd name="connsiteX5" fmla="*/ 22090 w 198924"/>
                <a:gd name="connsiteY5" fmla="*/ 13356 h 245899"/>
                <a:gd name="connsiteX6" fmla="*/ 98993 w 198924"/>
                <a:gd name="connsiteY6" fmla="*/ 0 h 245899"/>
                <a:gd name="connsiteX7" fmla="*/ 198924 w 198924"/>
                <a:gd name="connsiteY7" fmla="*/ 90712 h 245899"/>
                <a:gd name="connsiteX8" fmla="*/ 198924 w 198924"/>
                <a:gd name="connsiteY8" fmla="*/ 240373 h 245899"/>
                <a:gd name="connsiteX9" fmla="*/ 146882 w 198924"/>
                <a:gd name="connsiteY9" fmla="*/ 240373 h 245899"/>
                <a:gd name="connsiteX10" fmla="*/ 146882 w 198924"/>
                <a:gd name="connsiteY10" fmla="*/ 215504 h 245899"/>
                <a:gd name="connsiteX11" fmla="*/ 145969 w 198924"/>
                <a:gd name="connsiteY11" fmla="*/ 215504 h 245899"/>
                <a:gd name="connsiteX12" fmla="*/ 77356 w 198924"/>
                <a:gd name="connsiteY12" fmla="*/ 245900 h 245899"/>
                <a:gd name="connsiteX13" fmla="*/ 0 w 198924"/>
                <a:gd name="connsiteY13" fmla="*/ 171299 h 245899"/>
                <a:gd name="connsiteX14" fmla="*/ 100835 w 198924"/>
                <a:gd name="connsiteY14" fmla="*/ 94856 h 245899"/>
                <a:gd name="connsiteX15" fmla="*/ 91624 w 198924"/>
                <a:gd name="connsiteY15" fmla="*/ 204919 h 245899"/>
                <a:gd name="connsiteX16" fmla="*/ 145039 w 198924"/>
                <a:gd name="connsiteY16" fmla="*/ 176834 h 245899"/>
                <a:gd name="connsiteX17" fmla="*/ 145039 w 198924"/>
                <a:gd name="connsiteY17" fmla="*/ 135845 h 245899"/>
                <a:gd name="connsiteX18" fmla="*/ 106823 w 198924"/>
                <a:gd name="connsiteY18" fmla="*/ 131240 h 245899"/>
                <a:gd name="connsiteX19" fmla="*/ 52486 w 198924"/>
                <a:gd name="connsiteY19" fmla="*/ 169918 h 245899"/>
                <a:gd name="connsiteX20" fmla="*/ 91624 w 198924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4" h="245899">
                  <a:moveTo>
                    <a:pt x="100835" y="94856"/>
                  </a:moveTo>
                  <a:cubicBezTo>
                    <a:pt x="116025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2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46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0" y="204919"/>
                    <a:pt x="129842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9" y="131240"/>
                    <a:pt x="106823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8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091F6143-639A-4F3D-8B07-39438D782D44}"/>
                </a:ext>
              </a:extLst>
            </p:cNvPr>
            <p:cNvSpPr/>
            <p:nvPr/>
          </p:nvSpPr>
          <p:spPr>
            <a:xfrm>
              <a:off x="7305540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0 w 201695"/>
                <a:gd name="connsiteY1" fmla="*/ 240373 h 240373"/>
                <a:gd name="connsiteX2" fmla="*/ 146890 w 201695"/>
                <a:gd name="connsiteY2" fmla="*/ 106370 h 240373"/>
                <a:gd name="connsiteX3" fmla="*/ 103607 w 201695"/>
                <a:gd name="connsiteY3" fmla="*/ 49270 h 240373"/>
                <a:gd name="connsiteX4" fmla="*/ 54797 w 201695"/>
                <a:gd name="connsiteY4" fmla="*/ 105918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0" y="240373"/>
                  </a:lnTo>
                  <a:lnTo>
                    <a:pt x="146890" y="106370"/>
                  </a:lnTo>
                  <a:cubicBezTo>
                    <a:pt x="146890" y="72298"/>
                    <a:pt x="136767" y="49270"/>
                    <a:pt x="103607" y="49270"/>
                  </a:cubicBezTo>
                  <a:cubicBezTo>
                    <a:pt x="65390" y="49270"/>
                    <a:pt x="54797" y="80588"/>
                    <a:pt x="54797" y="105918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7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0719B3E5-5B65-43B2-9D81-D3CFE51DE9F6}"/>
                </a:ext>
              </a:extLst>
            </p:cNvPr>
            <p:cNvSpPr/>
            <p:nvPr/>
          </p:nvSpPr>
          <p:spPr>
            <a:xfrm>
              <a:off x="7565198" y="1936931"/>
              <a:ext cx="219195" cy="348116"/>
            </a:xfrm>
            <a:custGeom>
              <a:avLst/>
              <a:gdLst>
                <a:gd name="connsiteX0" fmla="*/ 0 w 219195"/>
                <a:gd name="connsiteY0" fmla="*/ 224706 h 348116"/>
                <a:gd name="connsiteX1" fmla="*/ 95325 w 219195"/>
                <a:gd name="connsiteY1" fmla="*/ 102217 h 348116"/>
                <a:gd name="connsiteX2" fmla="*/ 163478 w 219195"/>
                <a:gd name="connsiteY2" fmla="*/ 133986 h 348116"/>
                <a:gd name="connsiteX3" fmla="*/ 164399 w 219195"/>
                <a:gd name="connsiteY3" fmla="*/ 133986 h 348116"/>
                <a:gd name="connsiteX4" fmla="*/ 164399 w 219195"/>
                <a:gd name="connsiteY4" fmla="*/ 13808 h 348116"/>
                <a:gd name="connsiteX5" fmla="*/ 219196 w 219195"/>
                <a:gd name="connsiteY5" fmla="*/ 0 h 348116"/>
                <a:gd name="connsiteX6" fmla="*/ 219196 w 219195"/>
                <a:gd name="connsiteY6" fmla="*/ 342590 h 348116"/>
                <a:gd name="connsiteX7" fmla="*/ 165781 w 219195"/>
                <a:gd name="connsiteY7" fmla="*/ 342590 h 348116"/>
                <a:gd name="connsiteX8" fmla="*/ 165781 w 219195"/>
                <a:gd name="connsiteY8" fmla="*/ 314957 h 348116"/>
                <a:gd name="connsiteX9" fmla="*/ 164859 w 219195"/>
                <a:gd name="connsiteY9" fmla="*/ 314957 h 348116"/>
                <a:gd name="connsiteX10" fmla="*/ 94404 w 219195"/>
                <a:gd name="connsiteY10" fmla="*/ 348117 h 348116"/>
                <a:gd name="connsiteX11" fmla="*/ 0 w 219195"/>
                <a:gd name="connsiteY11" fmla="*/ 224706 h 348116"/>
                <a:gd name="connsiteX12" fmla="*/ 54336 w 219195"/>
                <a:gd name="connsiteY12" fmla="*/ 224706 h 348116"/>
                <a:gd name="connsiteX13" fmla="*/ 108673 w 219195"/>
                <a:gd name="connsiteY13" fmla="*/ 299767 h 348116"/>
                <a:gd name="connsiteX14" fmla="*/ 164391 w 219195"/>
                <a:gd name="connsiteY14" fmla="*/ 268911 h 348116"/>
                <a:gd name="connsiteX15" fmla="*/ 164391 w 219195"/>
                <a:gd name="connsiteY15" fmla="*/ 183265 h 348116"/>
                <a:gd name="connsiteX16" fmla="*/ 108673 w 219195"/>
                <a:gd name="connsiteY16" fmla="*/ 151956 h 348116"/>
                <a:gd name="connsiteX17" fmla="*/ 54336 w 219195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5" h="348116">
                  <a:moveTo>
                    <a:pt x="0" y="224706"/>
                  </a:moveTo>
                  <a:cubicBezTo>
                    <a:pt x="0" y="149185"/>
                    <a:pt x="38217" y="102217"/>
                    <a:pt x="95325" y="102217"/>
                  </a:cubicBezTo>
                  <a:cubicBezTo>
                    <a:pt x="124800" y="102217"/>
                    <a:pt x="147828" y="114643"/>
                    <a:pt x="163478" y="133986"/>
                  </a:cubicBezTo>
                  <a:lnTo>
                    <a:pt x="164399" y="133986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0"/>
                  </a:lnTo>
                  <a:lnTo>
                    <a:pt x="165781" y="342590"/>
                  </a:lnTo>
                  <a:lnTo>
                    <a:pt x="165781" y="314957"/>
                  </a:lnTo>
                  <a:lnTo>
                    <a:pt x="164859" y="314957"/>
                  </a:lnTo>
                  <a:cubicBezTo>
                    <a:pt x="147828" y="335682"/>
                    <a:pt x="123418" y="348117"/>
                    <a:pt x="94404" y="348117"/>
                  </a:cubicBezTo>
                  <a:cubicBezTo>
                    <a:pt x="38686" y="348117"/>
                    <a:pt x="0" y="300689"/>
                    <a:pt x="0" y="224706"/>
                  </a:cubicBezTo>
                  <a:close/>
                  <a:moveTo>
                    <a:pt x="54336" y="224706"/>
                  </a:moveTo>
                  <a:cubicBezTo>
                    <a:pt x="54336" y="272595"/>
                    <a:pt x="74140" y="299767"/>
                    <a:pt x="108673" y="299767"/>
                  </a:cubicBezTo>
                  <a:cubicBezTo>
                    <a:pt x="129850" y="299767"/>
                    <a:pt x="147351" y="289635"/>
                    <a:pt x="164391" y="268911"/>
                  </a:cubicBezTo>
                  <a:lnTo>
                    <a:pt x="164391" y="183265"/>
                  </a:lnTo>
                  <a:cubicBezTo>
                    <a:pt x="148733" y="162088"/>
                    <a:pt x="130771" y="151956"/>
                    <a:pt x="108673" y="151956"/>
                  </a:cubicBezTo>
                  <a:cubicBezTo>
                    <a:pt x="73219" y="151956"/>
                    <a:pt x="54336" y="177739"/>
                    <a:pt x="54336" y="224706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F103A488-1226-4CCD-B931-5F7438AE2F80}"/>
                </a:ext>
              </a:extLst>
            </p:cNvPr>
            <p:cNvSpPr/>
            <p:nvPr/>
          </p:nvSpPr>
          <p:spPr>
            <a:xfrm>
              <a:off x="7843881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89 w 214130"/>
                <a:gd name="connsiteY10" fmla="*/ 101765 h 245899"/>
                <a:gd name="connsiteX11" fmla="*/ 161160 w 214130"/>
                <a:gd name="connsiteY11" fmla="*/ 101765 h 245899"/>
                <a:gd name="connsiteX12" fmla="*/ 109125 w 214130"/>
                <a:gd name="connsiteY12" fmla="*/ 45126 h 245899"/>
                <a:gd name="connsiteX13" fmla="*/ 54789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23" y="233465"/>
                    <a:pt x="151496" y="245900"/>
                    <a:pt x="116034" y="245900"/>
                  </a:cubicBezTo>
                  <a:close/>
                  <a:moveTo>
                    <a:pt x="54789" y="101765"/>
                  </a:moveTo>
                  <a:lnTo>
                    <a:pt x="161160" y="101765"/>
                  </a:lnTo>
                  <a:cubicBezTo>
                    <a:pt x="158857" y="65850"/>
                    <a:pt x="139982" y="45126"/>
                    <a:pt x="109125" y="45126"/>
                  </a:cubicBezTo>
                  <a:cubicBezTo>
                    <a:pt x="78738" y="45134"/>
                    <a:pt x="59394" y="65390"/>
                    <a:pt x="54789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EF3F776B-7E6A-4950-84DB-DC42302BA9B9}"/>
                </a:ext>
              </a:extLst>
            </p:cNvPr>
            <p:cNvSpPr/>
            <p:nvPr/>
          </p:nvSpPr>
          <p:spPr>
            <a:xfrm>
              <a:off x="8117849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86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801" y="56631"/>
                    <a:pt x="114668" y="53868"/>
                    <a:pt x="102686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8" y="35454"/>
                  </a:lnTo>
                  <a:cubicBezTo>
                    <a:pt x="67224" y="13348"/>
                    <a:pt x="89330" y="0"/>
                    <a:pt x="116042" y="0"/>
                  </a:cubicBezTo>
                  <a:cubicBezTo>
                    <a:pt x="123871" y="-8"/>
                    <a:pt x="133534" y="1373"/>
                    <a:pt x="141832" y="5058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FC0F14F5-38EB-4D6F-BD85-7077223A5A7A}"/>
                </a:ext>
              </a:extLst>
            </p:cNvPr>
            <p:cNvSpPr/>
            <p:nvPr/>
          </p:nvSpPr>
          <p:spPr>
            <a:xfrm>
              <a:off x="8293771" y="2109603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1E048B0E-3AE0-4AA1-A63B-68E8E4E40DD0}"/>
                </a:ext>
              </a:extLst>
            </p:cNvPr>
            <p:cNvSpPr/>
            <p:nvPr/>
          </p:nvSpPr>
          <p:spPr>
            <a:xfrm>
              <a:off x="8478811" y="1955336"/>
              <a:ext cx="253268" cy="329711"/>
            </a:xfrm>
            <a:custGeom>
              <a:avLst/>
              <a:gdLst>
                <a:gd name="connsiteX0" fmla="*/ 253268 w 253268"/>
                <a:gd name="connsiteY0" fmla="*/ 195708 h 329711"/>
                <a:gd name="connsiteX1" fmla="*/ 126174 w 253268"/>
                <a:gd name="connsiteY1" fmla="*/ 329712 h 329711"/>
                <a:gd name="connsiteX2" fmla="*/ 0 w 253268"/>
                <a:gd name="connsiteY2" fmla="*/ 195708 h 329711"/>
                <a:gd name="connsiteX3" fmla="*/ 0 w 253268"/>
                <a:gd name="connsiteY3" fmla="*/ 0 h 329711"/>
                <a:gd name="connsiteX4" fmla="*/ 58941 w 253268"/>
                <a:gd name="connsiteY4" fmla="*/ 0 h 329711"/>
                <a:gd name="connsiteX5" fmla="*/ 58941 w 253268"/>
                <a:gd name="connsiteY5" fmla="*/ 192485 h 329711"/>
                <a:gd name="connsiteX6" fmla="*/ 128016 w 253268"/>
                <a:gd name="connsiteY6" fmla="*/ 274446 h 329711"/>
                <a:gd name="connsiteX7" fmla="*/ 194795 w 253268"/>
                <a:gd name="connsiteY7" fmla="*/ 192485 h 329711"/>
                <a:gd name="connsiteX8" fmla="*/ 194795 w 253268"/>
                <a:gd name="connsiteY8" fmla="*/ 0 h 329711"/>
                <a:gd name="connsiteX9" fmla="*/ 253268 w 253268"/>
                <a:gd name="connsiteY9" fmla="*/ 0 h 329711"/>
                <a:gd name="connsiteX10" fmla="*/ 253268 w 253268"/>
                <a:gd name="connsiteY10" fmla="*/ 195708 h 32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268" h="329711">
                  <a:moveTo>
                    <a:pt x="253268" y="195708"/>
                  </a:moveTo>
                  <a:cubicBezTo>
                    <a:pt x="253268" y="273993"/>
                    <a:pt x="213209" y="329712"/>
                    <a:pt x="126174" y="329712"/>
                  </a:cubicBezTo>
                  <a:cubicBezTo>
                    <a:pt x="39599" y="329712"/>
                    <a:pt x="0" y="274446"/>
                    <a:pt x="0" y="195708"/>
                  </a:cubicBezTo>
                  <a:lnTo>
                    <a:pt x="0" y="0"/>
                  </a:lnTo>
                  <a:lnTo>
                    <a:pt x="58941" y="0"/>
                  </a:lnTo>
                  <a:lnTo>
                    <a:pt x="58941" y="192485"/>
                  </a:lnTo>
                  <a:cubicBezTo>
                    <a:pt x="58941" y="241294"/>
                    <a:pt x="80127" y="274446"/>
                    <a:pt x="128016" y="274446"/>
                  </a:cubicBezTo>
                  <a:cubicBezTo>
                    <a:pt x="175913" y="274446"/>
                    <a:pt x="194795" y="241755"/>
                    <a:pt x="194795" y="192485"/>
                  </a:cubicBezTo>
                  <a:lnTo>
                    <a:pt x="194795" y="0"/>
                  </a:lnTo>
                  <a:lnTo>
                    <a:pt x="253268" y="0"/>
                  </a:lnTo>
                  <a:lnTo>
                    <a:pt x="253268" y="19570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9327B281-6258-4D41-9D1C-4A9E4CD7B000}"/>
                </a:ext>
              </a:extLst>
            </p:cNvPr>
            <p:cNvSpPr/>
            <p:nvPr/>
          </p:nvSpPr>
          <p:spPr>
            <a:xfrm>
              <a:off x="8804838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8 w 201695"/>
                <a:gd name="connsiteY1" fmla="*/ 240373 h 240373"/>
                <a:gd name="connsiteX2" fmla="*/ 146898 w 201695"/>
                <a:gd name="connsiteY2" fmla="*/ 106370 h 240373"/>
                <a:gd name="connsiteX3" fmla="*/ 103607 w 201695"/>
                <a:gd name="connsiteY3" fmla="*/ 49270 h 240373"/>
                <a:gd name="connsiteX4" fmla="*/ 54798 w 201695"/>
                <a:gd name="connsiteY4" fmla="*/ 105918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8" y="240373"/>
                  </a:lnTo>
                  <a:lnTo>
                    <a:pt x="146898" y="106370"/>
                  </a:lnTo>
                  <a:cubicBezTo>
                    <a:pt x="146898" y="72298"/>
                    <a:pt x="136767" y="49270"/>
                    <a:pt x="103607" y="49270"/>
                  </a:cubicBezTo>
                  <a:cubicBezTo>
                    <a:pt x="65390" y="49270"/>
                    <a:pt x="54798" y="80588"/>
                    <a:pt x="54798" y="105918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7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4C83E44C-5C54-4D63-931E-F94A8FCE137A}"/>
                </a:ext>
              </a:extLst>
            </p:cNvPr>
            <p:cNvSpPr/>
            <p:nvPr/>
          </p:nvSpPr>
          <p:spPr>
            <a:xfrm>
              <a:off x="9068273" y="1941059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2 w 69534"/>
                <a:gd name="connsiteY1" fmla="*/ 66311 h 338461"/>
                <a:gd name="connsiteX2" fmla="*/ 0 w 69534"/>
                <a:gd name="connsiteY2" fmla="*/ 33160 h 338461"/>
                <a:gd name="connsiteX3" fmla="*/ 34532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2" y="66311"/>
                  </a:cubicBezTo>
                  <a:cubicBezTo>
                    <a:pt x="15649" y="66311"/>
                    <a:pt x="0" y="52503"/>
                    <a:pt x="0" y="33160"/>
                  </a:cubicBezTo>
                  <a:cubicBezTo>
                    <a:pt x="0" y="14277"/>
                    <a:pt x="15649" y="0"/>
                    <a:pt x="34532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145D09AB-BA33-4E2C-9C9B-60A9EE2AE1AB}"/>
                </a:ext>
              </a:extLst>
            </p:cNvPr>
            <p:cNvSpPr/>
            <p:nvPr/>
          </p:nvSpPr>
          <p:spPr>
            <a:xfrm>
              <a:off x="9176921" y="2045135"/>
              <a:ext cx="227478" cy="234386"/>
            </a:xfrm>
            <a:custGeom>
              <a:avLst/>
              <a:gdLst>
                <a:gd name="connsiteX0" fmla="*/ 227478 w 227478"/>
                <a:gd name="connsiteY0" fmla="*/ 0 h 234386"/>
                <a:gd name="connsiteX1" fmla="*/ 142284 w 227478"/>
                <a:gd name="connsiteY1" fmla="*/ 234386 h 234386"/>
                <a:gd name="connsiteX2" fmla="*/ 85185 w 227478"/>
                <a:gd name="connsiteY2" fmla="*/ 234386 h 234386"/>
                <a:gd name="connsiteX3" fmla="*/ 0 w 227478"/>
                <a:gd name="connsiteY3" fmla="*/ 0 h 234386"/>
                <a:gd name="connsiteX4" fmla="*/ 60323 w 227478"/>
                <a:gd name="connsiteY4" fmla="*/ 0 h 234386"/>
                <a:gd name="connsiteX5" fmla="*/ 114199 w 227478"/>
                <a:gd name="connsiteY5" fmla="*/ 170387 h 234386"/>
                <a:gd name="connsiteX6" fmla="*/ 115120 w 227478"/>
                <a:gd name="connsiteY6" fmla="*/ 170387 h 234386"/>
                <a:gd name="connsiteX7" fmla="*/ 168997 w 227478"/>
                <a:gd name="connsiteY7" fmla="*/ 0 h 234386"/>
                <a:gd name="connsiteX8" fmla="*/ 227478 w 227478"/>
                <a:gd name="connsiteY8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478" h="234386">
                  <a:moveTo>
                    <a:pt x="227478" y="0"/>
                  </a:moveTo>
                  <a:lnTo>
                    <a:pt x="142284" y="234386"/>
                  </a:lnTo>
                  <a:lnTo>
                    <a:pt x="85185" y="234386"/>
                  </a:lnTo>
                  <a:lnTo>
                    <a:pt x="0" y="0"/>
                  </a:lnTo>
                  <a:lnTo>
                    <a:pt x="60323" y="0"/>
                  </a:lnTo>
                  <a:lnTo>
                    <a:pt x="114199" y="170387"/>
                  </a:lnTo>
                  <a:lnTo>
                    <a:pt x="115120" y="170387"/>
                  </a:lnTo>
                  <a:lnTo>
                    <a:pt x="168997" y="0"/>
                  </a:lnTo>
                  <a:lnTo>
                    <a:pt x="227478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87ED857C-BFDB-4C63-9349-B04A2F2B4CB7}"/>
                </a:ext>
              </a:extLst>
            </p:cNvPr>
            <p:cNvSpPr/>
            <p:nvPr/>
          </p:nvSpPr>
          <p:spPr>
            <a:xfrm>
              <a:off x="9429904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27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8 w 214130"/>
                <a:gd name="connsiteY10" fmla="*/ 101765 h 245899"/>
                <a:gd name="connsiteX11" fmla="*/ 161168 w 214130"/>
                <a:gd name="connsiteY11" fmla="*/ 101765 h 245899"/>
                <a:gd name="connsiteX12" fmla="*/ 109134 w 214130"/>
                <a:gd name="connsiteY12" fmla="*/ 45126 h 245899"/>
                <a:gd name="connsiteX13" fmla="*/ 5479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500" y="245900"/>
                    <a:pt x="0" y="196621"/>
                    <a:pt x="0" y="122489"/>
                  </a:cubicBezTo>
                  <a:cubicBezTo>
                    <a:pt x="0" y="49739"/>
                    <a:pt x="44666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27" y="141824"/>
                  </a:lnTo>
                  <a:cubicBezTo>
                    <a:pt x="61714" y="178208"/>
                    <a:pt x="83352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31" y="233465"/>
                    <a:pt x="151488" y="245900"/>
                    <a:pt x="116034" y="245900"/>
                  </a:cubicBezTo>
                  <a:close/>
                  <a:moveTo>
                    <a:pt x="54798" y="101765"/>
                  </a:moveTo>
                  <a:lnTo>
                    <a:pt x="161168" y="101765"/>
                  </a:lnTo>
                  <a:cubicBezTo>
                    <a:pt x="158873" y="65850"/>
                    <a:pt x="139990" y="45126"/>
                    <a:pt x="109134" y="45126"/>
                  </a:cubicBezTo>
                  <a:cubicBezTo>
                    <a:pt x="78738" y="45134"/>
                    <a:pt x="59394" y="65390"/>
                    <a:pt x="54798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022462CF-1873-4148-A70A-D28CE73EB178}"/>
                </a:ext>
              </a:extLst>
            </p:cNvPr>
            <p:cNvSpPr/>
            <p:nvPr/>
          </p:nvSpPr>
          <p:spPr>
            <a:xfrm>
              <a:off x="9703872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94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7 w 141832"/>
                <a:gd name="connsiteY7" fmla="*/ 5979 h 240364"/>
                <a:gd name="connsiteX8" fmla="*/ 53877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793" y="56631"/>
                    <a:pt x="114669" y="53868"/>
                    <a:pt x="102694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7" y="5979"/>
                  </a:lnTo>
                  <a:lnTo>
                    <a:pt x="53877" y="35454"/>
                  </a:lnTo>
                  <a:lnTo>
                    <a:pt x="54798" y="35454"/>
                  </a:lnTo>
                  <a:cubicBezTo>
                    <a:pt x="67224" y="13348"/>
                    <a:pt x="89331" y="0"/>
                    <a:pt x="116042" y="0"/>
                  </a:cubicBezTo>
                  <a:cubicBezTo>
                    <a:pt x="123872" y="-8"/>
                    <a:pt x="133543" y="1373"/>
                    <a:pt x="141832" y="5058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713626AE-EAD2-4C7D-8BBD-8C2537F2C016}"/>
                </a:ext>
              </a:extLst>
            </p:cNvPr>
            <p:cNvSpPr/>
            <p:nvPr/>
          </p:nvSpPr>
          <p:spPr>
            <a:xfrm>
              <a:off x="9871287" y="2039148"/>
              <a:ext cx="180510" cy="245891"/>
            </a:xfrm>
            <a:custGeom>
              <a:avLst/>
              <a:gdLst>
                <a:gd name="connsiteX0" fmla="*/ 26234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2 h 245891"/>
                <a:gd name="connsiteX11" fmla="*/ 0 w 180510"/>
                <a:gd name="connsiteY11" fmla="*/ 217337 h 245891"/>
                <a:gd name="connsiteX12" fmla="*/ 26234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4" y="174063"/>
                  </a:moveTo>
                  <a:cubicBezTo>
                    <a:pt x="49261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82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2"/>
                    <a:pt x="90251" y="245892"/>
                  </a:cubicBezTo>
                  <a:cubicBezTo>
                    <a:pt x="58941" y="245892"/>
                    <a:pt x="27172" y="236220"/>
                    <a:pt x="0" y="217337"/>
                  </a:cubicBezTo>
                  <a:lnTo>
                    <a:pt x="26234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46946663-A499-4DAE-9CC7-A066B8C7448A}"/>
                </a:ext>
              </a:extLst>
            </p:cNvPr>
            <p:cNvSpPr/>
            <p:nvPr/>
          </p:nvSpPr>
          <p:spPr>
            <a:xfrm>
              <a:off x="10103018" y="1941059"/>
              <a:ext cx="69535" cy="338461"/>
            </a:xfrm>
            <a:custGeom>
              <a:avLst/>
              <a:gdLst>
                <a:gd name="connsiteX0" fmla="*/ 69535 w 69535"/>
                <a:gd name="connsiteY0" fmla="*/ 33160 h 338461"/>
                <a:gd name="connsiteX1" fmla="*/ 34533 w 69535"/>
                <a:gd name="connsiteY1" fmla="*/ 66311 h 338461"/>
                <a:gd name="connsiteX2" fmla="*/ 0 w 69535"/>
                <a:gd name="connsiteY2" fmla="*/ 33160 h 338461"/>
                <a:gd name="connsiteX3" fmla="*/ 34533 w 69535"/>
                <a:gd name="connsiteY3" fmla="*/ 0 h 338461"/>
                <a:gd name="connsiteX4" fmla="*/ 69535 w 69535"/>
                <a:gd name="connsiteY4" fmla="*/ 33160 h 338461"/>
                <a:gd name="connsiteX5" fmla="*/ 62166 w 69535"/>
                <a:gd name="connsiteY5" fmla="*/ 338462 h 338461"/>
                <a:gd name="connsiteX6" fmla="*/ 7369 w 69535"/>
                <a:gd name="connsiteY6" fmla="*/ 338462 h 338461"/>
                <a:gd name="connsiteX7" fmla="*/ 7369 w 69535"/>
                <a:gd name="connsiteY7" fmla="*/ 104076 h 338461"/>
                <a:gd name="connsiteX8" fmla="*/ 62166 w 69535"/>
                <a:gd name="connsiteY8" fmla="*/ 104076 h 338461"/>
                <a:gd name="connsiteX9" fmla="*/ 62166 w 69535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5" h="338461">
                  <a:moveTo>
                    <a:pt x="69535" y="33160"/>
                  </a:moveTo>
                  <a:cubicBezTo>
                    <a:pt x="69535" y="52503"/>
                    <a:pt x="53877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7" y="0"/>
                    <a:pt x="69535" y="14277"/>
                    <a:pt x="69535" y="33160"/>
                  </a:cubicBezTo>
                  <a:close/>
                  <a:moveTo>
                    <a:pt x="62166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6" y="104076"/>
                  </a:lnTo>
                  <a:lnTo>
                    <a:pt x="62166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61DF69B0-D9E9-4D0D-AAF3-4AF06E976215}"/>
                </a:ext>
              </a:extLst>
            </p:cNvPr>
            <p:cNvSpPr/>
            <p:nvPr/>
          </p:nvSpPr>
          <p:spPr>
            <a:xfrm>
              <a:off x="10211675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55825069-C406-4E26-8F1F-0D5BDD5F1542}"/>
                </a:ext>
              </a:extLst>
            </p:cNvPr>
            <p:cNvSpPr/>
            <p:nvPr/>
          </p:nvSpPr>
          <p:spPr>
            <a:xfrm>
              <a:off x="10400449" y="1944744"/>
              <a:ext cx="198923" cy="340304"/>
            </a:xfrm>
            <a:custGeom>
              <a:avLst/>
              <a:gdLst>
                <a:gd name="connsiteX0" fmla="*/ 100835 w 198923"/>
                <a:gd name="connsiteY0" fmla="*/ 189261 h 340304"/>
                <a:gd name="connsiteX1" fmla="*/ 145040 w 198923"/>
                <a:gd name="connsiteY1" fmla="*/ 194327 h 340304"/>
                <a:gd name="connsiteX2" fmla="*/ 145040 w 198923"/>
                <a:gd name="connsiteY2" fmla="*/ 186037 h 340304"/>
                <a:gd name="connsiteX3" fmla="*/ 93466 w 198923"/>
                <a:gd name="connsiteY3" fmla="*/ 140451 h 340304"/>
                <a:gd name="connsiteX4" fmla="*/ 34064 w 198923"/>
                <a:gd name="connsiteY4" fmla="*/ 153807 h 340304"/>
                <a:gd name="connsiteX5" fmla="*/ 22090 w 198923"/>
                <a:gd name="connsiteY5" fmla="*/ 107760 h 340304"/>
                <a:gd name="connsiteX6" fmla="*/ 98993 w 198923"/>
                <a:gd name="connsiteY6" fmla="*/ 94404 h 340304"/>
                <a:gd name="connsiteX7" fmla="*/ 198924 w 198923"/>
                <a:gd name="connsiteY7" fmla="*/ 185116 h 340304"/>
                <a:gd name="connsiteX8" fmla="*/ 198924 w 198923"/>
                <a:gd name="connsiteY8" fmla="*/ 334778 h 340304"/>
                <a:gd name="connsiteX9" fmla="*/ 146882 w 198923"/>
                <a:gd name="connsiteY9" fmla="*/ 334778 h 340304"/>
                <a:gd name="connsiteX10" fmla="*/ 146882 w 198923"/>
                <a:gd name="connsiteY10" fmla="*/ 309908 h 340304"/>
                <a:gd name="connsiteX11" fmla="*/ 145969 w 198923"/>
                <a:gd name="connsiteY11" fmla="*/ 309908 h 340304"/>
                <a:gd name="connsiteX12" fmla="*/ 77356 w 198923"/>
                <a:gd name="connsiteY12" fmla="*/ 340304 h 340304"/>
                <a:gd name="connsiteX13" fmla="*/ 0 w 198923"/>
                <a:gd name="connsiteY13" fmla="*/ 265703 h 340304"/>
                <a:gd name="connsiteX14" fmla="*/ 100835 w 198923"/>
                <a:gd name="connsiteY14" fmla="*/ 189261 h 340304"/>
                <a:gd name="connsiteX15" fmla="*/ 56170 w 198923"/>
                <a:gd name="connsiteY15" fmla="*/ 64008 h 340304"/>
                <a:gd name="connsiteX16" fmla="*/ 23480 w 198923"/>
                <a:gd name="connsiteY16" fmla="*/ 32238 h 340304"/>
                <a:gd name="connsiteX17" fmla="*/ 56170 w 198923"/>
                <a:gd name="connsiteY17" fmla="*/ 0 h 340304"/>
                <a:gd name="connsiteX18" fmla="*/ 88861 w 198923"/>
                <a:gd name="connsiteY18" fmla="*/ 32238 h 340304"/>
                <a:gd name="connsiteX19" fmla="*/ 56170 w 198923"/>
                <a:gd name="connsiteY19" fmla="*/ 64008 h 340304"/>
                <a:gd name="connsiteX20" fmla="*/ 91624 w 198923"/>
                <a:gd name="connsiteY20" fmla="*/ 299324 h 340304"/>
                <a:gd name="connsiteX21" fmla="*/ 145040 w 198923"/>
                <a:gd name="connsiteY21" fmla="*/ 271238 h 340304"/>
                <a:gd name="connsiteX22" fmla="*/ 145040 w 198923"/>
                <a:gd name="connsiteY22" fmla="*/ 230250 h 340304"/>
                <a:gd name="connsiteX23" fmla="*/ 106823 w 198923"/>
                <a:gd name="connsiteY23" fmla="*/ 225644 h 340304"/>
                <a:gd name="connsiteX24" fmla="*/ 52486 w 198923"/>
                <a:gd name="connsiteY24" fmla="*/ 264322 h 340304"/>
                <a:gd name="connsiteX25" fmla="*/ 91624 w 198923"/>
                <a:gd name="connsiteY25" fmla="*/ 299324 h 340304"/>
                <a:gd name="connsiteX26" fmla="*/ 151948 w 198923"/>
                <a:gd name="connsiteY26" fmla="*/ 64008 h 340304"/>
                <a:gd name="connsiteX27" fmla="*/ 119258 w 198923"/>
                <a:gd name="connsiteY27" fmla="*/ 32238 h 340304"/>
                <a:gd name="connsiteX28" fmla="*/ 151948 w 198923"/>
                <a:gd name="connsiteY28" fmla="*/ 0 h 340304"/>
                <a:gd name="connsiteX29" fmla="*/ 184639 w 198923"/>
                <a:gd name="connsiteY29" fmla="*/ 32238 h 340304"/>
                <a:gd name="connsiteX30" fmla="*/ 151948 w 198923"/>
                <a:gd name="connsiteY30" fmla="*/ 64008 h 3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923" h="340304">
                  <a:moveTo>
                    <a:pt x="100835" y="189261"/>
                  </a:moveTo>
                  <a:cubicBezTo>
                    <a:pt x="116026" y="189261"/>
                    <a:pt x="129851" y="190182"/>
                    <a:pt x="145040" y="194327"/>
                  </a:cubicBezTo>
                  <a:lnTo>
                    <a:pt x="145040" y="186037"/>
                  </a:lnTo>
                  <a:cubicBezTo>
                    <a:pt x="145040" y="156109"/>
                    <a:pt x="127539" y="140451"/>
                    <a:pt x="93466" y="140451"/>
                  </a:cubicBezTo>
                  <a:cubicBezTo>
                    <a:pt x="74584" y="140451"/>
                    <a:pt x="53407" y="145056"/>
                    <a:pt x="34064" y="153807"/>
                  </a:cubicBezTo>
                  <a:lnTo>
                    <a:pt x="22090" y="107760"/>
                  </a:lnTo>
                  <a:cubicBezTo>
                    <a:pt x="43727" y="99470"/>
                    <a:pt x="72282" y="94404"/>
                    <a:pt x="98993" y="94404"/>
                  </a:cubicBezTo>
                  <a:cubicBezTo>
                    <a:pt x="164844" y="94404"/>
                    <a:pt x="198924" y="125261"/>
                    <a:pt x="198924" y="185116"/>
                  </a:cubicBezTo>
                  <a:lnTo>
                    <a:pt x="198924" y="334778"/>
                  </a:lnTo>
                  <a:lnTo>
                    <a:pt x="146882" y="334778"/>
                  </a:lnTo>
                  <a:lnTo>
                    <a:pt x="146882" y="309908"/>
                  </a:lnTo>
                  <a:lnTo>
                    <a:pt x="145969" y="309908"/>
                  </a:lnTo>
                  <a:cubicBezTo>
                    <a:pt x="125705" y="330633"/>
                    <a:pt x="104528" y="340304"/>
                    <a:pt x="77356" y="340304"/>
                  </a:cubicBezTo>
                  <a:cubicBezTo>
                    <a:pt x="30388" y="340304"/>
                    <a:pt x="0" y="311290"/>
                    <a:pt x="0" y="265703"/>
                  </a:cubicBezTo>
                  <a:cubicBezTo>
                    <a:pt x="-8" y="215973"/>
                    <a:pt x="35446" y="189261"/>
                    <a:pt x="100835" y="189261"/>
                  </a:cubicBezTo>
                  <a:close/>
                  <a:moveTo>
                    <a:pt x="56170" y="64008"/>
                  </a:moveTo>
                  <a:cubicBezTo>
                    <a:pt x="38670" y="64008"/>
                    <a:pt x="23480" y="49270"/>
                    <a:pt x="23480" y="32238"/>
                  </a:cubicBezTo>
                  <a:cubicBezTo>
                    <a:pt x="23480" y="15198"/>
                    <a:pt x="38670" y="0"/>
                    <a:pt x="56170" y="0"/>
                  </a:cubicBezTo>
                  <a:cubicBezTo>
                    <a:pt x="73671" y="0"/>
                    <a:pt x="88861" y="15190"/>
                    <a:pt x="88861" y="32238"/>
                  </a:cubicBezTo>
                  <a:cubicBezTo>
                    <a:pt x="88861" y="49270"/>
                    <a:pt x="73671" y="64008"/>
                    <a:pt x="56170" y="64008"/>
                  </a:cubicBezTo>
                  <a:close/>
                  <a:moveTo>
                    <a:pt x="91624" y="299324"/>
                  </a:moveTo>
                  <a:cubicBezTo>
                    <a:pt x="111420" y="299324"/>
                    <a:pt x="129841" y="289652"/>
                    <a:pt x="145040" y="271238"/>
                  </a:cubicBezTo>
                  <a:lnTo>
                    <a:pt x="145040" y="230250"/>
                  </a:lnTo>
                  <a:cubicBezTo>
                    <a:pt x="132144" y="227026"/>
                    <a:pt x="118789" y="225644"/>
                    <a:pt x="106823" y="225644"/>
                  </a:cubicBezTo>
                  <a:cubicBezTo>
                    <a:pt x="72290" y="225644"/>
                    <a:pt x="52486" y="239452"/>
                    <a:pt x="52486" y="264322"/>
                  </a:cubicBezTo>
                  <a:cubicBezTo>
                    <a:pt x="52477" y="285968"/>
                    <a:pt x="67684" y="299324"/>
                    <a:pt x="91624" y="299324"/>
                  </a:cubicBezTo>
                  <a:close/>
                  <a:moveTo>
                    <a:pt x="151948" y="64008"/>
                  </a:moveTo>
                  <a:cubicBezTo>
                    <a:pt x="134447" y="64008"/>
                    <a:pt x="119258" y="49270"/>
                    <a:pt x="119258" y="32238"/>
                  </a:cubicBezTo>
                  <a:cubicBezTo>
                    <a:pt x="119258" y="15198"/>
                    <a:pt x="134447" y="0"/>
                    <a:pt x="151948" y="0"/>
                  </a:cubicBezTo>
                  <a:cubicBezTo>
                    <a:pt x="169448" y="0"/>
                    <a:pt x="184639" y="15190"/>
                    <a:pt x="184639" y="32238"/>
                  </a:cubicBezTo>
                  <a:cubicBezTo>
                    <a:pt x="184647" y="49270"/>
                    <a:pt x="169448" y="64008"/>
                    <a:pt x="151948" y="64008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E490C6BB-CEE2-4AFC-AD1D-169DF8422A53}"/>
                </a:ext>
              </a:extLst>
            </p:cNvPr>
            <p:cNvSpPr/>
            <p:nvPr/>
          </p:nvSpPr>
          <p:spPr>
            <a:xfrm>
              <a:off x="10641954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67" y="264791"/>
                    <a:pt x="145977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90FD2BFA-017E-4874-9398-DBC07CF04CAA}"/>
                </a:ext>
              </a:extLst>
            </p:cNvPr>
            <p:cNvSpPr/>
            <p:nvPr/>
          </p:nvSpPr>
          <p:spPr>
            <a:xfrm>
              <a:off x="4034676" y="2461949"/>
              <a:ext cx="203537" cy="324184"/>
            </a:xfrm>
            <a:custGeom>
              <a:avLst/>
              <a:gdLst>
                <a:gd name="connsiteX0" fmla="*/ 203538 w 203537"/>
                <a:gd name="connsiteY0" fmla="*/ 52955 h 324184"/>
                <a:gd name="connsiteX1" fmla="*/ 57561 w 203537"/>
                <a:gd name="connsiteY1" fmla="*/ 52955 h 324184"/>
                <a:gd name="connsiteX2" fmla="*/ 57561 w 203537"/>
                <a:gd name="connsiteY2" fmla="*/ 133543 h 324184"/>
                <a:gd name="connsiteX3" fmla="*/ 166694 w 203537"/>
                <a:gd name="connsiteY3" fmla="*/ 133543 h 324184"/>
                <a:gd name="connsiteX4" fmla="*/ 166694 w 203537"/>
                <a:gd name="connsiteY4" fmla="*/ 186037 h 324184"/>
                <a:gd name="connsiteX5" fmla="*/ 57561 w 203537"/>
                <a:gd name="connsiteY5" fmla="*/ 186037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55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55"/>
                  </a:moveTo>
                  <a:lnTo>
                    <a:pt x="57561" y="52955"/>
                  </a:lnTo>
                  <a:lnTo>
                    <a:pt x="57561" y="133543"/>
                  </a:lnTo>
                  <a:lnTo>
                    <a:pt x="166694" y="133543"/>
                  </a:lnTo>
                  <a:lnTo>
                    <a:pt x="166694" y="186037"/>
                  </a:lnTo>
                  <a:lnTo>
                    <a:pt x="57561" y="186037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5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5" name="Freihandform: Form 144">
              <a:extLst>
                <a:ext uri="{FF2B5EF4-FFF2-40B4-BE49-F238E27FC236}">
                  <a16:creationId xmlns:a16="http://schemas.microsoft.com/office/drawing/2014/main" id="{58420EE4-2823-4360-82EF-FB939CEC9EAD}"/>
                </a:ext>
              </a:extLst>
            </p:cNvPr>
            <p:cNvSpPr/>
            <p:nvPr/>
          </p:nvSpPr>
          <p:spPr>
            <a:xfrm>
              <a:off x="4248564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94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5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7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52" y="132621"/>
                    <a:pt x="118796" y="131240"/>
                    <a:pt x="106822" y="131240"/>
                  </a:cubicBezTo>
                  <a:cubicBezTo>
                    <a:pt x="72289" y="131240"/>
                    <a:pt x="52494" y="145048"/>
                    <a:pt x="52494" y="169918"/>
                  </a:cubicBezTo>
                  <a:cubicBezTo>
                    <a:pt x="52494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6" name="Freihandform: Form 145">
              <a:extLst>
                <a:ext uri="{FF2B5EF4-FFF2-40B4-BE49-F238E27FC236}">
                  <a16:creationId xmlns:a16="http://schemas.microsoft.com/office/drawing/2014/main" id="{A56413FD-CD86-4A37-8941-0C3ED8C6601F}"/>
                </a:ext>
              </a:extLst>
            </p:cNvPr>
            <p:cNvSpPr/>
            <p:nvPr/>
          </p:nvSpPr>
          <p:spPr>
            <a:xfrm>
              <a:off x="4504663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1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09" y="50191"/>
                  </a:cubicBezTo>
                  <a:cubicBezTo>
                    <a:pt x="78276" y="50191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71" y="196161"/>
                    <a:pt x="145509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7" name="Freihandform: Form 146">
              <a:extLst>
                <a:ext uri="{FF2B5EF4-FFF2-40B4-BE49-F238E27FC236}">
                  <a16:creationId xmlns:a16="http://schemas.microsoft.com/office/drawing/2014/main" id="{70BB9A3A-DA28-4E0A-8EE0-440CE8D817DF}"/>
                </a:ext>
              </a:extLst>
            </p:cNvPr>
            <p:cNvSpPr/>
            <p:nvPr/>
          </p:nvSpPr>
          <p:spPr>
            <a:xfrm>
              <a:off x="4749206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8 w 201695"/>
                <a:gd name="connsiteY10" fmla="*/ 136298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298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8" name="Freihandform: Form 147">
              <a:extLst>
                <a:ext uri="{FF2B5EF4-FFF2-40B4-BE49-F238E27FC236}">
                  <a16:creationId xmlns:a16="http://schemas.microsoft.com/office/drawing/2014/main" id="{87668531-35ED-4E46-A1F1-B59D4099692B}"/>
                </a:ext>
              </a:extLst>
            </p:cNvPr>
            <p:cNvSpPr/>
            <p:nvPr/>
          </p:nvSpPr>
          <p:spPr>
            <a:xfrm>
              <a:off x="5020788" y="2443535"/>
              <a:ext cx="218735" cy="348125"/>
            </a:xfrm>
            <a:custGeom>
              <a:avLst/>
              <a:gdLst>
                <a:gd name="connsiteX0" fmla="*/ 218736 w 218735"/>
                <a:gd name="connsiteY0" fmla="*/ 223785 h 348125"/>
                <a:gd name="connsiteX1" fmla="*/ 122959 w 218735"/>
                <a:gd name="connsiteY1" fmla="*/ 348125 h 348125"/>
                <a:gd name="connsiteX2" fmla="*/ 53424 w 218735"/>
                <a:gd name="connsiteY2" fmla="*/ 315434 h 348125"/>
                <a:gd name="connsiteX3" fmla="*/ 52503 w 218735"/>
                <a:gd name="connsiteY3" fmla="*/ 315434 h 348125"/>
                <a:gd name="connsiteX4" fmla="*/ 52503 w 218735"/>
                <a:gd name="connsiteY4" fmla="*/ 342599 h 348125"/>
                <a:gd name="connsiteX5" fmla="*/ 0 w 218735"/>
                <a:gd name="connsiteY5" fmla="*/ 342599 h 348125"/>
                <a:gd name="connsiteX6" fmla="*/ 0 w 218735"/>
                <a:gd name="connsiteY6" fmla="*/ 13808 h 348125"/>
                <a:gd name="connsiteX7" fmla="*/ 54806 w 218735"/>
                <a:gd name="connsiteY7" fmla="*/ 0 h 348125"/>
                <a:gd name="connsiteX8" fmla="*/ 54806 w 218735"/>
                <a:gd name="connsiteY8" fmla="*/ 135376 h 348125"/>
                <a:gd name="connsiteX9" fmla="*/ 55719 w 218735"/>
                <a:gd name="connsiteY9" fmla="*/ 135376 h 348125"/>
                <a:gd name="connsiteX10" fmla="*/ 124332 w 218735"/>
                <a:gd name="connsiteY10" fmla="*/ 102225 h 348125"/>
                <a:gd name="connsiteX11" fmla="*/ 218736 w 218735"/>
                <a:gd name="connsiteY11" fmla="*/ 223785 h 348125"/>
                <a:gd name="connsiteX12" fmla="*/ 164852 w 218735"/>
                <a:gd name="connsiteY12" fmla="*/ 225167 h 348125"/>
                <a:gd name="connsiteX13" fmla="*/ 110055 w 218735"/>
                <a:gd name="connsiteY13" fmla="*/ 151487 h 348125"/>
                <a:gd name="connsiteX14" fmla="*/ 54797 w 218735"/>
                <a:gd name="connsiteY14" fmla="*/ 181883 h 348125"/>
                <a:gd name="connsiteX15" fmla="*/ 54797 w 218735"/>
                <a:gd name="connsiteY15" fmla="*/ 267537 h 348125"/>
                <a:gd name="connsiteX16" fmla="*/ 110507 w 218735"/>
                <a:gd name="connsiteY16" fmla="*/ 299315 h 348125"/>
                <a:gd name="connsiteX17" fmla="*/ 164852 w 218735"/>
                <a:gd name="connsiteY17" fmla="*/ 225167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8735" h="348125">
                  <a:moveTo>
                    <a:pt x="218736" y="223785"/>
                  </a:moveTo>
                  <a:cubicBezTo>
                    <a:pt x="218736" y="299315"/>
                    <a:pt x="180519" y="348125"/>
                    <a:pt x="122959" y="348125"/>
                  </a:cubicBezTo>
                  <a:cubicBezTo>
                    <a:pt x="93483" y="348125"/>
                    <a:pt x="69074" y="335690"/>
                    <a:pt x="53424" y="315434"/>
                  </a:cubicBezTo>
                  <a:lnTo>
                    <a:pt x="52503" y="315434"/>
                  </a:lnTo>
                  <a:lnTo>
                    <a:pt x="52503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806" y="0"/>
                  </a:lnTo>
                  <a:lnTo>
                    <a:pt x="54806" y="135376"/>
                  </a:lnTo>
                  <a:lnTo>
                    <a:pt x="55719" y="135376"/>
                  </a:lnTo>
                  <a:cubicBezTo>
                    <a:pt x="71377" y="114652"/>
                    <a:pt x="95317" y="102225"/>
                    <a:pt x="124332" y="102225"/>
                  </a:cubicBezTo>
                  <a:cubicBezTo>
                    <a:pt x="180510" y="102217"/>
                    <a:pt x="218736" y="147803"/>
                    <a:pt x="218736" y="223785"/>
                  </a:cubicBezTo>
                  <a:close/>
                  <a:moveTo>
                    <a:pt x="164852" y="225167"/>
                  </a:moveTo>
                  <a:cubicBezTo>
                    <a:pt x="164852" y="176826"/>
                    <a:pt x="145056" y="151487"/>
                    <a:pt x="110055" y="151487"/>
                  </a:cubicBezTo>
                  <a:cubicBezTo>
                    <a:pt x="88878" y="151487"/>
                    <a:pt x="71838" y="160707"/>
                    <a:pt x="54797" y="181883"/>
                  </a:cubicBezTo>
                  <a:lnTo>
                    <a:pt x="54797" y="267537"/>
                  </a:lnTo>
                  <a:cubicBezTo>
                    <a:pt x="70448" y="288262"/>
                    <a:pt x="87949" y="299315"/>
                    <a:pt x="110507" y="299315"/>
                  </a:cubicBezTo>
                  <a:cubicBezTo>
                    <a:pt x="145969" y="299307"/>
                    <a:pt x="164852" y="272134"/>
                    <a:pt x="164852" y="225167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9" name="Freihandform: Form 148">
              <a:extLst>
                <a:ext uri="{FF2B5EF4-FFF2-40B4-BE49-F238E27FC236}">
                  <a16:creationId xmlns:a16="http://schemas.microsoft.com/office/drawing/2014/main" id="{E5C3BB19-466D-4065-B79C-2358EA0C2BAC}"/>
                </a:ext>
              </a:extLst>
            </p:cNvPr>
            <p:cNvSpPr/>
            <p:nvPr/>
          </p:nvSpPr>
          <p:spPr>
            <a:xfrm>
              <a:off x="5287630" y="2545752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806 w 214138"/>
                <a:gd name="connsiteY10" fmla="*/ 101765 h 245899"/>
                <a:gd name="connsiteX11" fmla="*/ 161176 w 214138"/>
                <a:gd name="connsiteY11" fmla="*/ 101765 h 245899"/>
                <a:gd name="connsiteX12" fmla="*/ 109134 w 214138"/>
                <a:gd name="connsiteY12" fmla="*/ 45125 h 245899"/>
                <a:gd name="connsiteX13" fmla="*/ 54806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7" y="198924"/>
                    <a:pt x="155658" y="190634"/>
                    <a:pt x="174079" y="171291"/>
                  </a:cubicBezTo>
                  <a:lnTo>
                    <a:pt x="208152" y="207214"/>
                  </a:lnTo>
                  <a:cubicBezTo>
                    <a:pt x="181440" y="233465"/>
                    <a:pt x="151504" y="245900"/>
                    <a:pt x="116042" y="245900"/>
                  </a:cubicBezTo>
                  <a:close/>
                  <a:moveTo>
                    <a:pt x="54806" y="101765"/>
                  </a:moveTo>
                  <a:lnTo>
                    <a:pt x="161176" y="101765"/>
                  </a:lnTo>
                  <a:cubicBezTo>
                    <a:pt x="158873" y="65850"/>
                    <a:pt x="139990" y="45125"/>
                    <a:pt x="109134" y="45125"/>
                  </a:cubicBezTo>
                  <a:cubicBezTo>
                    <a:pt x="78746" y="45134"/>
                    <a:pt x="59411" y="65390"/>
                    <a:pt x="54806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A6359725-88DC-46FA-90B3-AE356047B727}"/>
                </a:ext>
              </a:extLst>
            </p:cNvPr>
            <p:cNvSpPr/>
            <p:nvPr/>
          </p:nvSpPr>
          <p:spPr>
            <a:xfrm>
              <a:off x="5561607" y="2545769"/>
              <a:ext cx="141832" cy="240365"/>
            </a:xfrm>
            <a:custGeom>
              <a:avLst/>
              <a:gdLst>
                <a:gd name="connsiteX0" fmla="*/ 141833 w 141832"/>
                <a:gd name="connsiteY0" fmla="*/ 5049 h 240365"/>
                <a:gd name="connsiteX1" fmla="*/ 133082 w 141832"/>
                <a:gd name="connsiteY1" fmla="*/ 61228 h 240365"/>
                <a:gd name="connsiteX2" fmla="*/ 102686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34 w 141832"/>
                <a:gd name="connsiteY10" fmla="*/ 0 h 240365"/>
                <a:gd name="connsiteX11" fmla="*/ 141833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3" y="5049"/>
                  </a:moveTo>
                  <a:lnTo>
                    <a:pt x="133082" y="61228"/>
                  </a:lnTo>
                  <a:cubicBezTo>
                    <a:pt x="124792" y="56623"/>
                    <a:pt x="114661" y="53859"/>
                    <a:pt x="102686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4" y="0"/>
                  </a:cubicBezTo>
                  <a:cubicBezTo>
                    <a:pt x="123879" y="-17"/>
                    <a:pt x="133543" y="1365"/>
                    <a:pt x="141833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802B8F28-C8F9-4511-A27E-FDB595AA82BB}"/>
                </a:ext>
              </a:extLst>
            </p:cNvPr>
            <p:cNvSpPr/>
            <p:nvPr/>
          </p:nvSpPr>
          <p:spPr>
            <a:xfrm>
              <a:off x="5733668" y="2545752"/>
              <a:ext cx="214138" cy="245899"/>
            </a:xfrm>
            <a:custGeom>
              <a:avLst/>
              <a:gdLst>
                <a:gd name="connsiteX0" fmla="*/ 116041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6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1 w 214138"/>
                <a:gd name="connsiteY8" fmla="*/ 207214 h 245899"/>
                <a:gd name="connsiteX9" fmla="*/ 116041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5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1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6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6" y="198924"/>
                    <a:pt x="155657" y="190634"/>
                    <a:pt x="174079" y="171291"/>
                  </a:cubicBezTo>
                  <a:lnTo>
                    <a:pt x="208151" y="207214"/>
                  </a:lnTo>
                  <a:cubicBezTo>
                    <a:pt x="181431" y="233465"/>
                    <a:pt x="151495" y="245900"/>
                    <a:pt x="116041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5"/>
                    <a:pt x="109125" y="45125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2" name="Freihandform: Form 151">
              <a:extLst>
                <a:ext uri="{FF2B5EF4-FFF2-40B4-BE49-F238E27FC236}">
                  <a16:creationId xmlns:a16="http://schemas.microsoft.com/office/drawing/2014/main" id="{B89008AF-D68A-45D1-B23A-9A8F809F9456}"/>
                </a:ext>
              </a:extLst>
            </p:cNvPr>
            <p:cNvSpPr/>
            <p:nvPr/>
          </p:nvSpPr>
          <p:spPr>
            <a:xfrm>
              <a:off x="5999489" y="2447663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3" name="Freihandform: Form 152">
              <a:extLst>
                <a:ext uri="{FF2B5EF4-FFF2-40B4-BE49-F238E27FC236}">
                  <a16:creationId xmlns:a16="http://schemas.microsoft.com/office/drawing/2014/main" id="{4D2AF9BD-C8EA-49F0-9EC7-025A5BF9B9BB}"/>
                </a:ext>
              </a:extLst>
            </p:cNvPr>
            <p:cNvSpPr/>
            <p:nvPr/>
          </p:nvSpPr>
          <p:spPr>
            <a:xfrm>
              <a:off x="6120438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8 w 197542"/>
                <a:gd name="connsiteY5" fmla="*/ 75974 h 245899"/>
                <a:gd name="connsiteX6" fmla="*/ 112810 w 197542"/>
                <a:gd name="connsiteY6" fmla="*/ 50191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8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63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4" name="Freihandform: Form 153">
              <a:extLst>
                <a:ext uri="{FF2B5EF4-FFF2-40B4-BE49-F238E27FC236}">
                  <a16:creationId xmlns:a16="http://schemas.microsoft.com/office/drawing/2014/main" id="{7E379F40-AEDC-4DCE-A071-D9E137D741D9}"/>
                </a:ext>
              </a:extLst>
            </p:cNvPr>
            <p:cNvSpPr/>
            <p:nvPr/>
          </p:nvSpPr>
          <p:spPr>
            <a:xfrm>
              <a:off x="6364973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9 w 201695"/>
                <a:gd name="connsiteY10" fmla="*/ 136298 h 342598"/>
                <a:gd name="connsiteX11" fmla="*/ 124324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9" y="136298"/>
                  </a:lnTo>
                  <a:cubicBezTo>
                    <a:pt x="69074" y="115573"/>
                    <a:pt x="93483" y="102225"/>
                    <a:pt x="124324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5" name="Freihandform: Form 154">
              <a:extLst>
                <a:ext uri="{FF2B5EF4-FFF2-40B4-BE49-F238E27FC236}">
                  <a16:creationId xmlns:a16="http://schemas.microsoft.com/office/drawing/2014/main" id="{0ECF3A64-A23E-4825-A8EA-9DB032D9FA25}"/>
                </a:ext>
              </a:extLst>
            </p:cNvPr>
            <p:cNvSpPr/>
            <p:nvPr/>
          </p:nvSpPr>
          <p:spPr>
            <a:xfrm>
              <a:off x="6751826" y="2461940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9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2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9 w 398768"/>
                <a:gd name="connsiteY9" fmla="*/ 0 h 324184"/>
                <a:gd name="connsiteX10" fmla="*/ 317260 w 398768"/>
                <a:gd name="connsiteY10" fmla="*/ 324185 h 324184"/>
                <a:gd name="connsiteX11" fmla="*/ 257858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9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2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9" y="0"/>
                  </a:lnTo>
                  <a:lnTo>
                    <a:pt x="317260" y="324185"/>
                  </a:lnTo>
                  <a:lnTo>
                    <a:pt x="257858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6" name="Freihandform: Form 155">
              <a:extLst>
                <a:ext uri="{FF2B5EF4-FFF2-40B4-BE49-F238E27FC236}">
                  <a16:creationId xmlns:a16="http://schemas.microsoft.com/office/drawing/2014/main" id="{BBB003B1-14C1-4376-BD2C-B149B1EF0AA1}"/>
                </a:ext>
              </a:extLst>
            </p:cNvPr>
            <p:cNvSpPr/>
            <p:nvPr/>
          </p:nvSpPr>
          <p:spPr>
            <a:xfrm>
              <a:off x="7196759" y="2447663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7" name="Freihandform: Form 156">
              <a:extLst>
                <a:ext uri="{FF2B5EF4-FFF2-40B4-BE49-F238E27FC236}">
                  <a16:creationId xmlns:a16="http://schemas.microsoft.com/office/drawing/2014/main" id="{AEB77082-4118-497E-A6CC-99D1EBEAD35C}"/>
                </a:ext>
              </a:extLst>
            </p:cNvPr>
            <p:cNvSpPr/>
            <p:nvPr/>
          </p:nvSpPr>
          <p:spPr>
            <a:xfrm>
              <a:off x="7330586" y="2545769"/>
              <a:ext cx="141832" cy="240365"/>
            </a:xfrm>
            <a:custGeom>
              <a:avLst/>
              <a:gdLst>
                <a:gd name="connsiteX0" fmla="*/ 141832 w 141832"/>
                <a:gd name="connsiteY0" fmla="*/ 5049 h 240365"/>
                <a:gd name="connsiteX1" fmla="*/ 133082 w 141832"/>
                <a:gd name="connsiteY1" fmla="*/ 61228 h 240365"/>
                <a:gd name="connsiteX2" fmla="*/ 102694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41 w 141832"/>
                <a:gd name="connsiteY10" fmla="*/ 0 h 240365"/>
                <a:gd name="connsiteX11" fmla="*/ 141832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2" y="5049"/>
                  </a:moveTo>
                  <a:lnTo>
                    <a:pt x="133082" y="61228"/>
                  </a:lnTo>
                  <a:cubicBezTo>
                    <a:pt x="124792" y="56623"/>
                    <a:pt x="114668" y="53859"/>
                    <a:pt x="102694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3" y="13348"/>
                    <a:pt x="89330" y="0"/>
                    <a:pt x="116041" y="0"/>
                  </a:cubicBezTo>
                  <a:cubicBezTo>
                    <a:pt x="123871" y="-17"/>
                    <a:pt x="133543" y="1365"/>
                    <a:pt x="141832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887BCFEB-5BC4-4E92-804C-B6A9C065684E}"/>
                </a:ext>
              </a:extLst>
            </p:cNvPr>
            <p:cNvSpPr/>
            <p:nvPr/>
          </p:nvSpPr>
          <p:spPr>
            <a:xfrm>
              <a:off x="7506323" y="2475749"/>
              <a:ext cx="145977" cy="315903"/>
            </a:xfrm>
            <a:custGeom>
              <a:avLst/>
              <a:gdLst>
                <a:gd name="connsiteX0" fmla="*/ 145978 w 145977"/>
                <a:gd name="connsiteY0" fmla="*/ 260185 h 315903"/>
                <a:gd name="connsiteX1" fmla="*/ 145978 w 145977"/>
                <a:gd name="connsiteY1" fmla="*/ 307153 h 315903"/>
                <a:gd name="connsiteX2" fmla="*/ 99923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2 w 145977"/>
                <a:gd name="connsiteY15" fmla="*/ 268006 h 315903"/>
                <a:gd name="connsiteX16" fmla="*/ 145978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3" y="312680"/>
                    <a:pt x="116041" y="315903"/>
                    <a:pt x="99923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20" y="268006"/>
                    <a:pt x="115572" y="268006"/>
                  </a:cubicBezTo>
                  <a:cubicBezTo>
                    <a:pt x="125721" y="268015"/>
                    <a:pt x="136766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B4C33129-C5DD-4063-8FD8-20EEF58BF1F7}"/>
                </a:ext>
              </a:extLst>
            </p:cNvPr>
            <p:cNvSpPr/>
            <p:nvPr/>
          </p:nvSpPr>
          <p:spPr>
            <a:xfrm>
              <a:off x="7691154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3" y="53415"/>
                    <a:pt x="115121" y="46499"/>
                    <a:pt x="97159" y="46499"/>
                  </a:cubicBezTo>
                  <a:cubicBezTo>
                    <a:pt x="76896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184C808E-8BC1-463E-BE99-DECAFB5636C1}"/>
                </a:ext>
              </a:extLst>
            </p:cNvPr>
            <p:cNvSpPr/>
            <p:nvPr/>
          </p:nvSpPr>
          <p:spPr>
            <a:xfrm>
              <a:off x="7916480" y="2545760"/>
              <a:ext cx="197541" cy="245899"/>
            </a:xfrm>
            <a:custGeom>
              <a:avLst/>
              <a:gdLst>
                <a:gd name="connsiteX0" fmla="*/ 196169 w 197541"/>
                <a:gd name="connsiteY0" fmla="*/ 208135 h 245899"/>
                <a:gd name="connsiteX1" fmla="*/ 112357 w 197541"/>
                <a:gd name="connsiteY1" fmla="*/ 245900 h 245899"/>
                <a:gd name="connsiteX2" fmla="*/ 0 w 197541"/>
                <a:gd name="connsiteY2" fmla="*/ 123871 h 245899"/>
                <a:gd name="connsiteX3" fmla="*/ 113278 w 197541"/>
                <a:gd name="connsiteY3" fmla="*/ 0 h 245899"/>
                <a:gd name="connsiteX4" fmla="*/ 197542 w 197541"/>
                <a:gd name="connsiteY4" fmla="*/ 40059 h 245899"/>
                <a:gd name="connsiteX5" fmla="*/ 159777 w 197541"/>
                <a:gd name="connsiteY5" fmla="*/ 75974 h 245899"/>
                <a:gd name="connsiteX6" fmla="*/ 112810 w 197541"/>
                <a:gd name="connsiteY6" fmla="*/ 50191 h 245899"/>
                <a:gd name="connsiteX7" fmla="*/ 54788 w 197541"/>
                <a:gd name="connsiteY7" fmla="*/ 122942 h 245899"/>
                <a:gd name="connsiteX8" fmla="*/ 112349 w 197541"/>
                <a:gd name="connsiteY8" fmla="*/ 196161 h 245899"/>
                <a:gd name="connsiteX9" fmla="*/ 160699 w 197541"/>
                <a:gd name="connsiteY9" fmla="*/ 170370 h 245899"/>
                <a:gd name="connsiteX10" fmla="*/ 196169 w 197541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1" h="245899">
                  <a:moveTo>
                    <a:pt x="196169" y="208135"/>
                  </a:moveTo>
                  <a:cubicBezTo>
                    <a:pt x="172680" y="233926"/>
                    <a:pt x="145977" y="245900"/>
                    <a:pt x="112357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8" y="78737"/>
                    <a:pt x="54788" y="122942"/>
                  </a:cubicBezTo>
                  <a:cubicBezTo>
                    <a:pt x="54788" y="166694"/>
                    <a:pt x="78277" y="196161"/>
                    <a:pt x="112349" y="196161"/>
                  </a:cubicBezTo>
                  <a:cubicBezTo>
                    <a:pt x="130762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C0794DED-7A68-4833-AC17-D008863582BA}"/>
                </a:ext>
              </a:extLst>
            </p:cNvPr>
            <p:cNvSpPr/>
            <p:nvPr/>
          </p:nvSpPr>
          <p:spPr>
            <a:xfrm>
              <a:off x="8161024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8 w 201695"/>
                <a:gd name="connsiteY1" fmla="*/ 342590 h 342598"/>
                <a:gd name="connsiteX2" fmla="*/ 146898 w 201695"/>
                <a:gd name="connsiteY2" fmla="*/ 208587 h 342598"/>
                <a:gd name="connsiteX3" fmla="*/ 103607 w 201695"/>
                <a:gd name="connsiteY3" fmla="*/ 151487 h 342598"/>
                <a:gd name="connsiteX4" fmla="*/ 54798 w 201695"/>
                <a:gd name="connsiteY4" fmla="*/ 208135 h 342598"/>
                <a:gd name="connsiteX5" fmla="*/ 54798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8 w 201695"/>
                <a:gd name="connsiteY8" fmla="*/ 0 h 342598"/>
                <a:gd name="connsiteX9" fmla="*/ 54798 w 201695"/>
                <a:gd name="connsiteY9" fmla="*/ 136298 h 342598"/>
                <a:gd name="connsiteX10" fmla="*/ 55719 w 201695"/>
                <a:gd name="connsiteY10" fmla="*/ 136298 h 342598"/>
                <a:gd name="connsiteX11" fmla="*/ 124332 w 201695"/>
                <a:gd name="connsiteY11" fmla="*/ 102225 h 342598"/>
                <a:gd name="connsiteX12" fmla="*/ 201688 w 201695"/>
                <a:gd name="connsiteY12" fmla="*/ 197082 h 342598"/>
                <a:gd name="connsiteX13" fmla="*/ 201688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306" y="151487"/>
                    <a:pt x="103607" y="151487"/>
                  </a:cubicBezTo>
                  <a:cubicBezTo>
                    <a:pt x="65850" y="151487"/>
                    <a:pt x="54798" y="181423"/>
                    <a:pt x="54798" y="208135"/>
                  </a:cubicBezTo>
                  <a:lnTo>
                    <a:pt x="54798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8" y="0"/>
                  </a:lnTo>
                  <a:lnTo>
                    <a:pt x="54798" y="136298"/>
                  </a:lnTo>
                  <a:lnTo>
                    <a:pt x="55719" y="136298"/>
                  </a:lnTo>
                  <a:cubicBezTo>
                    <a:pt x="69074" y="115573"/>
                    <a:pt x="93484" y="102225"/>
                    <a:pt x="124332" y="102225"/>
                  </a:cubicBezTo>
                  <a:cubicBezTo>
                    <a:pt x="178660" y="102225"/>
                    <a:pt x="201688" y="142745"/>
                    <a:pt x="201688" y="197082"/>
                  </a:cubicBezTo>
                  <a:lnTo>
                    <a:pt x="201688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930A8869-7F8D-427F-BA15-4E40DA0FEC90}"/>
                </a:ext>
              </a:extLst>
            </p:cNvPr>
            <p:cNvSpPr/>
            <p:nvPr/>
          </p:nvSpPr>
          <p:spPr>
            <a:xfrm>
              <a:off x="8416729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40 w 198923"/>
                <a:gd name="connsiteY1" fmla="*/ 99922 h 245899"/>
                <a:gd name="connsiteX2" fmla="*/ 145040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6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495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26" y="94856"/>
                    <a:pt x="129851" y="95778"/>
                    <a:pt x="145040" y="99922"/>
                  </a:cubicBezTo>
                  <a:lnTo>
                    <a:pt x="145040" y="91633"/>
                  </a:lnTo>
                  <a:cubicBezTo>
                    <a:pt x="145040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2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28" y="204919"/>
                    <a:pt x="129851" y="195248"/>
                    <a:pt x="145048" y="176834"/>
                  </a:cubicBezTo>
                  <a:lnTo>
                    <a:pt x="145048" y="135845"/>
                  </a:lnTo>
                  <a:cubicBezTo>
                    <a:pt x="132152" y="132621"/>
                    <a:pt x="118797" y="131240"/>
                    <a:pt x="106831" y="131240"/>
                  </a:cubicBezTo>
                  <a:cubicBezTo>
                    <a:pt x="72298" y="131240"/>
                    <a:pt x="52495" y="145048"/>
                    <a:pt x="52495" y="169918"/>
                  </a:cubicBezTo>
                  <a:cubicBezTo>
                    <a:pt x="52486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57A33E8D-4897-4A53-928A-E6CA4DF2991B}"/>
                </a:ext>
              </a:extLst>
            </p:cNvPr>
            <p:cNvSpPr/>
            <p:nvPr/>
          </p:nvSpPr>
          <p:spPr>
            <a:xfrm>
              <a:off x="8659530" y="2440295"/>
              <a:ext cx="143667" cy="345830"/>
            </a:xfrm>
            <a:custGeom>
              <a:avLst/>
              <a:gdLst>
                <a:gd name="connsiteX0" fmla="*/ 143667 w 143667"/>
                <a:gd name="connsiteY0" fmla="*/ 51582 h 345830"/>
                <a:gd name="connsiteX1" fmla="*/ 119727 w 143667"/>
                <a:gd name="connsiteY1" fmla="*/ 46976 h 345830"/>
                <a:gd name="connsiteX2" fmla="*/ 90712 w 143667"/>
                <a:gd name="connsiteY2" fmla="*/ 79667 h 345830"/>
                <a:gd name="connsiteX3" fmla="*/ 90712 w 143667"/>
                <a:gd name="connsiteY3" fmla="*/ 111445 h 345830"/>
                <a:gd name="connsiteX4" fmla="*/ 137228 w 143667"/>
                <a:gd name="connsiteY4" fmla="*/ 111445 h 345830"/>
                <a:gd name="connsiteX5" fmla="*/ 137228 w 143667"/>
                <a:gd name="connsiteY5" fmla="*/ 157031 h 345830"/>
                <a:gd name="connsiteX6" fmla="*/ 91173 w 143667"/>
                <a:gd name="connsiteY6" fmla="*/ 157031 h 345830"/>
                <a:gd name="connsiteX7" fmla="*/ 91173 w 143667"/>
                <a:gd name="connsiteY7" fmla="*/ 345831 h 345830"/>
                <a:gd name="connsiteX8" fmla="*/ 36375 w 143667"/>
                <a:gd name="connsiteY8" fmla="*/ 345831 h 345830"/>
                <a:gd name="connsiteX9" fmla="*/ 36375 w 143667"/>
                <a:gd name="connsiteY9" fmla="*/ 157031 h 345830"/>
                <a:gd name="connsiteX10" fmla="*/ 0 w 143667"/>
                <a:gd name="connsiteY10" fmla="*/ 157031 h 345830"/>
                <a:gd name="connsiteX11" fmla="*/ 0 w 143667"/>
                <a:gd name="connsiteY11" fmla="*/ 111445 h 345830"/>
                <a:gd name="connsiteX12" fmla="*/ 36375 w 143667"/>
                <a:gd name="connsiteY12" fmla="*/ 111445 h 345830"/>
                <a:gd name="connsiteX13" fmla="*/ 36375 w 143667"/>
                <a:gd name="connsiteY13" fmla="*/ 77824 h 345830"/>
                <a:gd name="connsiteX14" fmla="*/ 110976 w 143667"/>
                <a:gd name="connsiteY14" fmla="*/ 0 h 345830"/>
                <a:gd name="connsiteX15" fmla="*/ 143667 w 143667"/>
                <a:gd name="connsiteY15" fmla="*/ 5066 h 345830"/>
                <a:gd name="connsiteX16" fmla="*/ 143667 w 143667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67" h="345830">
                  <a:moveTo>
                    <a:pt x="143667" y="51582"/>
                  </a:moveTo>
                  <a:cubicBezTo>
                    <a:pt x="136298" y="48358"/>
                    <a:pt x="127548" y="46976"/>
                    <a:pt x="119727" y="46976"/>
                  </a:cubicBezTo>
                  <a:cubicBezTo>
                    <a:pt x="99001" y="46976"/>
                    <a:pt x="90712" y="57569"/>
                    <a:pt x="90712" y="79667"/>
                  </a:cubicBezTo>
                  <a:lnTo>
                    <a:pt x="90712" y="111445"/>
                  </a:lnTo>
                  <a:lnTo>
                    <a:pt x="137228" y="111445"/>
                  </a:lnTo>
                  <a:lnTo>
                    <a:pt x="137228" y="157031"/>
                  </a:lnTo>
                  <a:lnTo>
                    <a:pt x="91173" y="157031"/>
                  </a:lnTo>
                  <a:lnTo>
                    <a:pt x="91173" y="345831"/>
                  </a:lnTo>
                  <a:lnTo>
                    <a:pt x="36375" y="345831"/>
                  </a:lnTo>
                  <a:lnTo>
                    <a:pt x="36375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75" y="111445"/>
                  </a:lnTo>
                  <a:lnTo>
                    <a:pt x="36375" y="77824"/>
                  </a:lnTo>
                  <a:cubicBezTo>
                    <a:pt x="36375" y="29015"/>
                    <a:pt x="58481" y="0"/>
                    <a:pt x="110976" y="0"/>
                  </a:cubicBezTo>
                  <a:cubicBezTo>
                    <a:pt x="122951" y="0"/>
                    <a:pt x="134465" y="1382"/>
                    <a:pt x="143667" y="5066"/>
                  </a:cubicBezTo>
                  <a:lnTo>
                    <a:pt x="143667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D5321F48-2496-4114-B6FE-C81DE73D981C}"/>
                </a:ext>
              </a:extLst>
            </p:cNvPr>
            <p:cNvSpPr/>
            <p:nvPr/>
          </p:nvSpPr>
          <p:spPr>
            <a:xfrm>
              <a:off x="8832370" y="2475749"/>
              <a:ext cx="145978" cy="315903"/>
            </a:xfrm>
            <a:custGeom>
              <a:avLst/>
              <a:gdLst>
                <a:gd name="connsiteX0" fmla="*/ 145978 w 145978"/>
                <a:gd name="connsiteY0" fmla="*/ 260185 h 315903"/>
                <a:gd name="connsiteX1" fmla="*/ 145978 w 145978"/>
                <a:gd name="connsiteY1" fmla="*/ 307153 h 315903"/>
                <a:gd name="connsiteX2" fmla="*/ 99923 w 145978"/>
                <a:gd name="connsiteY2" fmla="*/ 315903 h 315903"/>
                <a:gd name="connsiteX3" fmla="*/ 35915 w 145978"/>
                <a:gd name="connsiteY3" fmla="*/ 250053 h 315903"/>
                <a:gd name="connsiteX4" fmla="*/ 35915 w 145978"/>
                <a:gd name="connsiteY4" fmla="*/ 121577 h 315903"/>
                <a:gd name="connsiteX5" fmla="*/ 0 w 145978"/>
                <a:gd name="connsiteY5" fmla="*/ 121577 h 315903"/>
                <a:gd name="connsiteX6" fmla="*/ 0 w 145978"/>
                <a:gd name="connsiteY6" fmla="*/ 75991 h 315903"/>
                <a:gd name="connsiteX7" fmla="*/ 35454 w 145978"/>
                <a:gd name="connsiteY7" fmla="*/ 75991 h 315903"/>
                <a:gd name="connsiteX8" fmla="*/ 35454 w 145978"/>
                <a:gd name="connsiteY8" fmla="*/ 11983 h 315903"/>
                <a:gd name="connsiteX9" fmla="*/ 90252 w 145978"/>
                <a:gd name="connsiteY9" fmla="*/ 0 h 315903"/>
                <a:gd name="connsiteX10" fmla="*/ 90252 w 145978"/>
                <a:gd name="connsiteY10" fmla="*/ 75982 h 315903"/>
                <a:gd name="connsiteX11" fmla="*/ 145969 w 145978"/>
                <a:gd name="connsiteY11" fmla="*/ 75982 h 315903"/>
                <a:gd name="connsiteX12" fmla="*/ 145969 w 145978"/>
                <a:gd name="connsiteY12" fmla="*/ 121568 h 315903"/>
                <a:gd name="connsiteX13" fmla="*/ 90252 w 145978"/>
                <a:gd name="connsiteY13" fmla="*/ 121568 h 315903"/>
                <a:gd name="connsiteX14" fmla="*/ 90252 w 145978"/>
                <a:gd name="connsiteY14" fmla="*/ 237149 h 315903"/>
                <a:gd name="connsiteX15" fmla="*/ 115573 w 145978"/>
                <a:gd name="connsiteY15" fmla="*/ 268006 h 315903"/>
                <a:gd name="connsiteX16" fmla="*/ 145978 w 145978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8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4" y="312680"/>
                    <a:pt x="116042" y="315903"/>
                    <a:pt x="99923" y="315903"/>
                  </a:cubicBezTo>
                  <a:cubicBezTo>
                    <a:pt x="58481" y="315903"/>
                    <a:pt x="35915" y="292876"/>
                    <a:pt x="35915" y="250053"/>
                  </a:cubicBezTo>
                  <a:lnTo>
                    <a:pt x="35915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2" y="0"/>
                  </a:lnTo>
                  <a:lnTo>
                    <a:pt x="90252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2" y="121568"/>
                  </a:lnTo>
                  <a:lnTo>
                    <a:pt x="90252" y="237149"/>
                  </a:lnTo>
                  <a:cubicBezTo>
                    <a:pt x="90252" y="258795"/>
                    <a:pt x="97620" y="268006"/>
                    <a:pt x="115573" y="268006"/>
                  </a:cubicBezTo>
                  <a:cubicBezTo>
                    <a:pt x="125714" y="268015"/>
                    <a:pt x="136758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319FFB41-5355-4FCE-95E9-3DB2B8F454BF}"/>
                </a:ext>
              </a:extLst>
            </p:cNvPr>
            <p:cNvSpPr/>
            <p:nvPr/>
          </p:nvSpPr>
          <p:spPr>
            <a:xfrm>
              <a:off x="9017185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918C63A4-642C-42D5-BACB-FCC505D9FDB8}"/>
                </a:ext>
              </a:extLst>
            </p:cNvPr>
            <p:cNvSpPr/>
            <p:nvPr/>
          </p:nvSpPr>
          <p:spPr>
            <a:xfrm>
              <a:off x="9240728" y="2616208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4E8EC4C4-AA5A-4D15-9B16-CDFDA936CDCE}"/>
                </a:ext>
              </a:extLst>
            </p:cNvPr>
            <p:cNvSpPr/>
            <p:nvPr/>
          </p:nvSpPr>
          <p:spPr>
            <a:xfrm>
              <a:off x="9550208" y="2551739"/>
              <a:ext cx="201686" cy="239921"/>
            </a:xfrm>
            <a:custGeom>
              <a:avLst/>
              <a:gdLst>
                <a:gd name="connsiteX0" fmla="*/ 54797 w 201686"/>
                <a:gd name="connsiteY0" fmla="*/ 140911 h 239921"/>
                <a:gd name="connsiteX1" fmla="*/ 101304 w 201686"/>
                <a:gd name="connsiteY1" fmla="*/ 190182 h 239921"/>
                <a:gd name="connsiteX2" fmla="*/ 146890 w 201686"/>
                <a:gd name="connsiteY2" fmla="*/ 140451 h 239921"/>
                <a:gd name="connsiteX3" fmla="*/ 146890 w 201686"/>
                <a:gd name="connsiteY3" fmla="*/ 8 h 239921"/>
                <a:gd name="connsiteX4" fmla="*/ 201687 w 201686"/>
                <a:gd name="connsiteY4" fmla="*/ 8 h 239921"/>
                <a:gd name="connsiteX5" fmla="*/ 201687 w 201686"/>
                <a:gd name="connsiteY5" fmla="*/ 142301 h 239921"/>
                <a:gd name="connsiteX6" fmla="*/ 102685 w 201686"/>
                <a:gd name="connsiteY6" fmla="*/ 239921 h 239921"/>
                <a:gd name="connsiteX7" fmla="*/ 0 w 201686"/>
                <a:gd name="connsiteY7" fmla="*/ 142754 h 239921"/>
                <a:gd name="connsiteX8" fmla="*/ 0 w 201686"/>
                <a:gd name="connsiteY8" fmla="*/ 0 h 239921"/>
                <a:gd name="connsiteX9" fmla="*/ 54797 w 201686"/>
                <a:gd name="connsiteY9" fmla="*/ 0 h 239921"/>
                <a:gd name="connsiteX10" fmla="*/ 54797 w 201686"/>
                <a:gd name="connsiteY10" fmla="*/ 140911 h 23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1686" h="239921">
                  <a:moveTo>
                    <a:pt x="54797" y="140911"/>
                  </a:moveTo>
                  <a:cubicBezTo>
                    <a:pt x="54797" y="173141"/>
                    <a:pt x="70916" y="190182"/>
                    <a:pt x="101304" y="190182"/>
                  </a:cubicBezTo>
                  <a:cubicBezTo>
                    <a:pt x="131240" y="190182"/>
                    <a:pt x="146890" y="173610"/>
                    <a:pt x="146890" y="140451"/>
                  </a:cubicBezTo>
                  <a:lnTo>
                    <a:pt x="146890" y="8"/>
                  </a:lnTo>
                  <a:lnTo>
                    <a:pt x="201687" y="8"/>
                  </a:lnTo>
                  <a:lnTo>
                    <a:pt x="201687" y="142301"/>
                  </a:lnTo>
                  <a:cubicBezTo>
                    <a:pt x="201687" y="203998"/>
                    <a:pt x="167155" y="239921"/>
                    <a:pt x="102685" y="239921"/>
                  </a:cubicBezTo>
                  <a:cubicBezTo>
                    <a:pt x="38678" y="239921"/>
                    <a:pt x="0" y="203998"/>
                    <a:pt x="0" y="142754"/>
                  </a:cubicBezTo>
                  <a:lnTo>
                    <a:pt x="0" y="0"/>
                  </a:lnTo>
                  <a:lnTo>
                    <a:pt x="54797" y="0"/>
                  </a:lnTo>
                  <a:lnTo>
                    <a:pt x="54797" y="14091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6F937E76-CC0D-477F-B353-68EF56642729}"/>
                </a:ext>
              </a:extLst>
            </p:cNvPr>
            <p:cNvSpPr/>
            <p:nvPr/>
          </p:nvSpPr>
          <p:spPr>
            <a:xfrm>
              <a:off x="9821371" y="2545760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89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BAC0FBC8-ED0D-4409-8984-BE47806B4B65}"/>
                </a:ext>
              </a:extLst>
            </p:cNvPr>
            <p:cNvSpPr/>
            <p:nvPr/>
          </p:nvSpPr>
          <p:spPr>
            <a:xfrm>
              <a:off x="10081021" y="2443527"/>
              <a:ext cx="219196" cy="348125"/>
            </a:xfrm>
            <a:custGeom>
              <a:avLst/>
              <a:gdLst>
                <a:gd name="connsiteX0" fmla="*/ 0 w 219196"/>
                <a:gd name="connsiteY0" fmla="*/ 224715 h 348125"/>
                <a:gd name="connsiteX1" fmla="*/ 95326 w 219196"/>
                <a:gd name="connsiteY1" fmla="*/ 102225 h 348125"/>
                <a:gd name="connsiteX2" fmla="*/ 163478 w 219196"/>
                <a:gd name="connsiteY2" fmla="*/ 133995 h 348125"/>
                <a:gd name="connsiteX3" fmla="*/ 164399 w 219196"/>
                <a:gd name="connsiteY3" fmla="*/ 133995 h 348125"/>
                <a:gd name="connsiteX4" fmla="*/ 164399 w 219196"/>
                <a:gd name="connsiteY4" fmla="*/ 13808 h 348125"/>
                <a:gd name="connsiteX5" fmla="*/ 219196 w 219196"/>
                <a:gd name="connsiteY5" fmla="*/ 0 h 348125"/>
                <a:gd name="connsiteX6" fmla="*/ 219196 w 219196"/>
                <a:gd name="connsiteY6" fmla="*/ 342598 h 348125"/>
                <a:gd name="connsiteX7" fmla="*/ 165781 w 219196"/>
                <a:gd name="connsiteY7" fmla="*/ 342598 h 348125"/>
                <a:gd name="connsiteX8" fmla="*/ 165781 w 219196"/>
                <a:gd name="connsiteY8" fmla="*/ 314965 h 348125"/>
                <a:gd name="connsiteX9" fmla="*/ 164860 w 219196"/>
                <a:gd name="connsiteY9" fmla="*/ 314965 h 348125"/>
                <a:gd name="connsiteX10" fmla="*/ 94405 w 219196"/>
                <a:gd name="connsiteY10" fmla="*/ 348125 h 348125"/>
                <a:gd name="connsiteX11" fmla="*/ 0 w 219196"/>
                <a:gd name="connsiteY11" fmla="*/ 224715 h 348125"/>
                <a:gd name="connsiteX12" fmla="*/ 54345 w 219196"/>
                <a:gd name="connsiteY12" fmla="*/ 224715 h 348125"/>
                <a:gd name="connsiteX13" fmla="*/ 108681 w 219196"/>
                <a:gd name="connsiteY13" fmla="*/ 299776 h 348125"/>
                <a:gd name="connsiteX14" fmla="*/ 164399 w 219196"/>
                <a:gd name="connsiteY14" fmla="*/ 268919 h 348125"/>
                <a:gd name="connsiteX15" fmla="*/ 164399 w 219196"/>
                <a:gd name="connsiteY15" fmla="*/ 183265 h 348125"/>
                <a:gd name="connsiteX16" fmla="*/ 108681 w 219196"/>
                <a:gd name="connsiteY16" fmla="*/ 151956 h 348125"/>
                <a:gd name="connsiteX17" fmla="*/ 54345 w 219196"/>
                <a:gd name="connsiteY17" fmla="*/ 224715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6" h="348125">
                  <a:moveTo>
                    <a:pt x="0" y="224715"/>
                  </a:moveTo>
                  <a:cubicBezTo>
                    <a:pt x="0" y="149193"/>
                    <a:pt x="38217" y="102225"/>
                    <a:pt x="95326" y="102225"/>
                  </a:cubicBezTo>
                  <a:cubicBezTo>
                    <a:pt x="124801" y="102225"/>
                    <a:pt x="147828" y="114652"/>
                    <a:pt x="163478" y="133995"/>
                  </a:cubicBezTo>
                  <a:lnTo>
                    <a:pt x="164399" y="133995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8"/>
                  </a:lnTo>
                  <a:lnTo>
                    <a:pt x="165781" y="342598"/>
                  </a:lnTo>
                  <a:lnTo>
                    <a:pt x="165781" y="314965"/>
                  </a:lnTo>
                  <a:lnTo>
                    <a:pt x="164860" y="314965"/>
                  </a:lnTo>
                  <a:cubicBezTo>
                    <a:pt x="147828" y="335690"/>
                    <a:pt x="123419" y="348125"/>
                    <a:pt x="94405" y="348125"/>
                  </a:cubicBezTo>
                  <a:cubicBezTo>
                    <a:pt x="38686" y="348125"/>
                    <a:pt x="0" y="300697"/>
                    <a:pt x="0" y="224715"/>
                  </a:cubicBezTo>
                  <a:close/>
                  <a:moveTo>
                    <a:pt x="54345" y="224715"/>
                  </a:moveTo>
                  <a:cubicBezTo>
                    <a:pt x="54345" y="272603"/>
                    <a:pt x="74148" y="299776"/>
                    <a:pt x="108681" y="299776"/>
                  </a:cubicBezTo>
                  <a:cubicBezTo>
                    <a:pt x="129867" y="299776"/>
                    <a:pt x="147359" y="289644"/>
                    <a:pt x="164399" y="268919"/>
                  </a:cubicBezTo>
                  <a:lnTo>
                    <a:pt x="164399" y="183265"/>
                  </a:lnTo>
                  <a:cubicBezTo>
                    <a:pt x="148740" y="162088"/>
                    <a:pt x="130780" y="151956"/>
                    <a:pt x="108681" y="151956"/>
                  </a:cubicBezTo>
                  <a:cubicBezTo>
                    <a:pt x="73227" y="151965"/>
                    <a:pt x="54345" y="177747"/>
                    <a:pt x="54345" y="22471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2F1A3C0E-54A4-4D2A-AF84-95BB543BCE79}"/>
                </a:ext>
              </a:extLst>
            </p:cNvPr>
            <p:cNvSpPr/>
            <p:nvPr/>
          </p:nvSpPr>
          <p:spPr>
            <a:xfrm>
              <a:off x="4011188" y="2963018"/>
              <a:ext cx="227478" cy="335246"/>
            </a:xfrm>
            <a:custGeom>
              <a:avLst/>
              <a:gdLst>
                <a:gd name="connsiteX0" fmla="*/ 36383 w 227478"/>
                <a:gd name="connsiteY0" fmla="*/ 245900 h 335246"/>
                <a:gd name="connsiteX1" fmla="*/ 116963 w 227478"/>
                <a:gd name="connsiteY1" fmla="*/ 282283 h 335246"/>
                <a:gd name="connsiteX2" fmla="*/ 169465 w 227478"/>
                <a:gd name="connsiteY2" fmla="*/ 241755 h 335246"/>
                <a:gd name="connsiteX3" fmla="*/ 10593 w 227478"/>
                <a:gd name="connsiteY3" fmla="*/ 93944 h 335246"/>
                <a:gd name="connsiteX4" fmla="*/ 120656 w 227478"/>
                <a:gd name="connsiteY4" fmla="*/ 0 h 335246"/>
                <a:gd name="connsiteX5" fmla="*/ 225183 w 227478"/>
                <a:gd name="connsiteY5" fmla="*/ 39147 h 335246"/>
                <a:gd name="connsiteX6" fmla="*/ 188800 w 227478"/>
                <a:gd name="connsiteY6" fmla="*/ 83812 h 335246"/>
                <a:gd name="connsiteX7" fmla="*/ 117884 w 227478"/>
                <a:gd name="connsiteY7" fmla="*/ 52503 h 335246"/>
                <a:gd name="connsiteX8" fmla="*/ 68613 w 227478"/>
                <a:gd name="connsiteY8" fmla="*/ 88886 h 335246"/>
                <a:gd name="connsiteX9" fmla="*/ 227478 w 227478"/>
                <a:gd name="connsiteY9" fmla="*/ 237158 h 335246"/>
                <a:gd name="connsiteX10" fmla="*/ 115590 w 227478"/>
                <a:gd name="connsiteY10" fmla="*/ 335246 h 335246"/>
                <a:gd name="connsiteX11" fmla="*/ 0 w 227478"/>
                <a:gd name="connsiteY11" fmla="*/ 290573 h 335246"/>
                <a:gd name="connsiteX12" fmla="*/ 36383 w 227478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78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63" y="282283"/>
                  </a:cubicBezTo>
                  <a:cubicBezTo>
                    <a:pt x="147359" y="282283"/>
                    <a:pt x="169465" y="265243"/>
                    <a:pt x="169465" y="241755"/>
                  </a:cubicBezTo>
                  <a:cubicBezTo>
                    <a:pt x="169465" y="179589"/>
                    <a:pt x="10593" y="198932"/>
                    <a:pt x="10593" y="93944"/>
                  </a:cubicBezTo>
                  <a:cubicBezTo>
                    <a:pt x="10593" y="38226"/>
                    <a:pt x="55726" y="0"/>
                    <a:pt x="120656" y="0"/>
                  </a:cubicBezTo>
                  <a:cubicBezTo>
                    <a:pt x="159333" y="0"/>
                    <a:pt x="195256" y="13356"/>
                    <a:pt x="225183" y="39147"/>
                  </a:cubicBezTo>
                  <a:lnTo>
                    <a:pt x="188800" y="83812"/>
                  </a:lnTo>
                  <a:cubicBezTo>
                    <a:pt x="165312" y="63087"/>
                    <a:pt x="141832" y="52503"/>
                    <a:pt x="117884" y="52503"/>
                  </a:cubicBezTo>
                  <a:cubicBezTo>
                    <a:pt x="89338" y="52503"/>
                    <a:pt x="68613" y="67692"/>
                    <a:pt x="68613" y="88886"/>
                  </a:cubicBezTo>
                  <a:cubicBezTo>
                    <a:pt x="68613" y="147359"/>
                    <a:pt x="227478" y="128024"/>
                    <a:pt x="227478" y="237158"/>
                  </a:cubicBezTo>
                  <a:cubicBezTo>
                    <a:pt x="227478" y="295639"/>
                    <a:pt x="182352" y="335246"/>
                    <a:pt x="115590" y="335246"/>
                  </a:cubicBezTo>
                  <a:cubicBezTo>
                    <a:pt x="72758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21505FB6-545A-4E69-8001-11A2429D0221}"/>
                </a:ext>
              </a:extLst>
            </p:cNvPr>
            <p:cNvSpPr/>
            <p:nvPr/>
          </p:nvSpPr>
          <p:spPr>
            <a:xfrm>
              <a:off x="4287334" y="3052356"/>
              <a:ext cx="225644" cy="245908"/>
            </a:xfrm>
            <a:custGeom>
              <a:avLst/>
              <a:gdLst>
                <a:gd name="connsiteX0" fmla="*/ 0 w 225644"/>
                <a:gd name="connsiteY0" fmla="*/ 122950 h 245908"/>
                <a:gd name="connsiteX1" fmla="*/ 113748 w 225644"/>
                <a:gd name="connsiteY1" fmla="*/ 0 h 245908"/>
                <a:gd name="connsiteX2" fmla="*/ 225644 w 225644"/>
                <a:gd name="connsiteY2" fmla="*/ 122950 h 245908"/>
                <a:gd name="connsiteX3" fmla="*/ 113748 w 225644"/>
                <a:gd name="connsiteY3" fmla="*/ 245908 h 245908"/>
                <a:gd name="connsiteX4" fmla="*/ 0 w 225644"/>
                <a:gd name="connsiteY4" fmla="*/ 122950 h 245908"/>
                <a:gd name="connsiteX5" fmla="*/ 171308 w 225644"/>
                <a:gd name="connsiteY5" fmla="*/ 123410 h 245908"/>
                <a:gd name="connsiteX6" fmla="*/ 112826 w 225644"/>
                <a:gd name="connsiteY6" fmla="*/ 49731 h 245908"/>
                <a:gd name="connsiteX7" fmla="*/ 54345 w 225644"/>
                <a:gd name="connsiteY7" fmla="*/ 122481 h 245908"/>
                <a:gd name="connsiteX8" fmla="*/ 113287 w 225644"/>
                <a:gd name="connsiteY8" fmla="*/ 196621 h 245908"/>
                <a:gd name="connsiteX9" fmla="*/ 171308 w 225644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44" h="245908">
                  <a:moveTo>
                    <a:pt x="0" y="122950"/>
                  </a:moveTo>
                  <a:cubicBezTo>
                    <a:pt x="0" y="49270"/>
                    <a:pt x="45586" y="0"/>
                    <a:pt x="113748" y="0"/>
                  </a:cubicBezTo>
                  <a:cubicBezTo>
                    <a:pt x="181440" y="0"/>
                    <a:pt x="225644" y="48349"/>
                    <a:pt x="225644" y="122950"/>
                  </a:cubicBezTo>
                  <a:cubicBezTo>
                    <a:pt x="225644" y="196629"/>
                    <a:pt x="181892" y="245908"/>
                    <a:pt x="113748" y="245908"/>
                  </a:cubicBezTo>
                  <a:cubicBezTo>
                    <a:pt x="46055" y="245900"/>
                    <a:pt x="0" y="197090"/>
                    <a:pt x="0" y="122950"/>
                  </a:cubicBezTo>
                  <a:close/>
                  <a:moveTo>
                    <a:pt x="171308" y="123410"/>
                  </a:moveTo>
                  <a:cubicBezTo>
                    <a:pt x="171308" y="77824"/>
                    <a:pt x="148741" y="49731"/>
                    <a:pt x="112826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12" y="196621"/>
                    <a:pt x="113287" y="196621"/>
                  </a:cubicBezTo>
                  <a:cubicBezTo>
                    <a:pt x="149202" y="196629"/>
                    <a:pt x="171308" y="168536"/>
                    <a:pt x="171308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24840267-2F9B-45B4-8711-FEA1B69E6334}"/>
                </a:ext>
              </a:extLst>
            </p:cNvPr>
            <p:cNvSpPr/>
            <p:nvPr/>
          </p:nvSpPr>
          <p:spPr>
            <a:xfrm>
              <a:off x="4551790" y="3058352"/>
              <a:ext cx="185115" cy="234377"/>
            </a:xfrm>
            <a:custGeom>
              <a:avLst/>
              <a:gdLst>
                <a:gd name="connsiteX0" fmla="*/ 185108 w 185115"/>
                <a:gd name="connsiteY0" fmla="*/ 234378 h 234377"/>
                <a:gd name="connsiteX1" fmla="*/ 0 w 185115"/>
                <a:gd name="connsiteY1" fmla="*/ 234378 h 234377"/>
                <a:gd name="connsiteX2" fmla="*/ 0 w 185115"/>
                <a:gd name="connsiteY2" fmla="*/ 187410 h 234377"/>
                <a:gd name="connsiteX3" fmla="*/ 116963 w 185115"/>
                <a:gd name="connsiteY3" fmla="*/ 46968 h 234377"/>
                <a:gd name="connsiteX4" fmla="*/ 6900 w 185115"/>
                <a:gd name="connsiteY4" fmla="*/ 46968 h 234377"/>
                <a:gd name="connsiteX5" fmla="*/ 6900 w 185115"/>
                <a:gd name="connsiteY5" fmla="*/ 0 h 234377"/>
                <a:gd name="connsiteX6" fmla="*/ 183274 w 185115"/>
                <a:gd name="connsiteY6" fmla="*/ 0 h 234377"/>
                <a:gd name="connsiteX7" fmla="*/ 183274 w 185115"/>
                <a:gd name="connsiteY7" fmla="*/ 46968 h 234377"/>
                <a:gd name="connsiteX8" fmla="*/ 65850 w 185115"/>
                <a:gd name="connsiteY8" fmla="*/ 187410 h 234377"/>
                <a:gd name="connsiteX9" fmla="*/ 185116 w 185115"/>
                <a:gd name="connsiteY9" fmla="*/ 187410 h 234377"/>
                <a:gd name="connsiteX10" fmla="*/ 185116 w 185115"/>
                <a:gd name="connsiteY10" fmla="*/ 234378 h 2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5115" h="234377">
                  <a:moveTo>
                    <a:pt x="185108" y="234378"/>
                  </a:moveTo>
                  <a:lnTo>
                    <a:pt x="0" y="234378"/>
                  </a:lnTo>
                  <a:lnTo>
                    <a:pt x="0" y="187410"/>
                  </a:lnTo>
                  <a:lnTo>
                    <a:pt x="116963" y="46968"/>
                  </a:lnTo>
                  <a:lnTo>
                    <a:pt x="6900" y="46968"/>
                  </a:lnTo>
                  <a:lnTo>
                    <a:pt x="6900" y="0"/>
                  </a:lnTo>
                  <a:lnTo>
                    <a:pt x="183274" y="0"/>
                  </a:lnTo>
                  <a:lnTo>
                    <a:pt x="183274" y="46968"/>
                  </a:lnTo>
                  <a:lnTo>
                    <a:pt x="65850" y="187410"/>
                  </a:lnTo>
                  <a:lnTo>
                    <a:pt x="185116" y="187410"/>
                  </a:lnTo>
                  <a:lnTo>
                    <a:pt x="185116" y="23437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7F2015CD-077D-4586-A92B-80A18C962209}"/>
                </a:ext>
              </a:extLst>
            </p:cNvPr>
            <p:cNvSpPr/>
            <p:nvPr/>
          </p:nvSpPr>
          <p:spPr>
            <a:xfrm>
              <a:off x="478624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84" y="66311"/>
                    <a:pt x="34533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33" y="0"/>
                  </a:cubicBezTo>
                  <a:cubicBezTo>
                    <a:pt x="53884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4EF4452C-ECCB-48AD-98C9-C551CCC3B10F}"/>
                </a:ext>
              </a:extLst>
            </p:cNvPr>
            <p:cNvSpPr/>
            <p:nvPr/>
          </p:nvSpPr>
          <p:spPr>
            <a:xfrm>
              <a:off x="4904378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503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6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36" y="204919"/>
                    <a:pt x="129850" y="195248"/>
                    <a:pt x="145048" y="176834"/>
                  </a:cubicBezTo>
                  <a:lnTo>
                    <a:pt x="145048" y="135845"/>
                  </a:lnTo>
                  <a:cubicBezTo>
                    <a:pt x="132161" y="132621"/>
                    <a:pt x="118805" y="131240"/>
                    <a:pt x="106831" y="131240"/>
                  </a:cubicBezTo>
                  <a:cubicBezTo>
                    <a:pt x="72298" y="131240"/>
                    <a:pt x="52503" y="145048"/>
                    <a:pt x="52503" y="169918"/>
                  </a:cubicBezTo>
                  <a:cubicBezTo>
                    <a:pt x="52494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6345C9EB-66D0-4397-BF45-18B9D81FC3C1}"/>
                </a:ext>
              </a:extLst>
            </p:cNvPr>
            <p:cNvSpPr/>
            <p:nvPr/>
          </p:nvSpPr>
          <p:spPr>
            <a:xfrm>
              <a:off x="5173423" y="2950592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CC092255-FE55-4165-B565-CECD0D71FCF4}"/>
                </a:ext>
              </a:extLst>
            </p:cNvPr>
            <p:cNvSpPr/>
            <p:nvPr/>
          </p:nvSpPr>
          <p:spPr>
            <a:xfrm>
              <a:off x="5275974" y="3058344"/>
              <a:ext cx="330180" cy="234386"/>
            </a:xfrm>
            <a:custGeom>
              <a:avLst/>
              <a:gdLst>
                <a:gd name="connsiteX0" fmla="*/ 330180 w 330180"/>
                <a:gd name="connsiteY0" fmla="*/ 0 h 234386"/>
                <a:gd name="connsiteX1" fmla="*/ 260646 w 330180"/>
                <a:gd name="connsiteY1" fmla="*/ 234386 h 234386"/>
                <a:gd name="connsiteX2" fmla="*/ 208143 w 330180"/>
                <a:gd name="connsiteY2" fmla="*/ 234386 h 234386"/>
                <a:gd name="connsiteX3" fmla="*/ 165320 w 330180"/>
                <a:gd name="connsiteY3" fmla="*/ 72298 h 234386"/>
                <a:gd name="connsiteX4" fmla="*/ 164408 w 330180"/>
                <a:gd name="connsiteY4" fmla="*/ 72298 h 234386"/>
                <a:gd name="connsiteX5" fmla="*/ 122037 w 330180"/>
                <a:gd name="connsiteY5" fmla="*/ 234386 h 234386"/>
                <a:gd name="connsiteX6" fmla="*/ 69535 w 330180"/>
                <a:gd name="connsiteY6" fmla="*/ 234386 h 234386"/>
                <a:gd name="connsiteX7" fmla="*/ 0 w 330180"/>
                <a:gd name="connsiteY7" fmla="*/ 0 h 234386"/>
                <a:gd name="connsiteX8" fmla="*/ 57560 w 330180"/>
                <a:gd name="connsiteY8" fmla="*/ 0 h 234386"/>
                <a:gd name="connsiteX9" fmla="*/ 98089 w 330180"/>
                <a:gd name="connsiteY9" fmla="*/ 157943 h 234386"/>
                <a:gd name="connsiteX10" fmla="*/ 99001 w 330180"/>
                <a:gd name="connsiteY10" fmla="*/ 157943 h 234386"/>
                <a:gd name="connsiteX11" fmla="*/ 140451 w 330180"/>
                <a:gd name="connsiteY11" fmla="*/ 0 h 234386"/>
                <a:gd name="connsiteX12" fmla="*/ 190642 w 330180"/>
                <a:gd name="connsiteY12" fmla="*/ 0 h 234386"/>
                <a:gd name="connsiteX13" fmla="*/ 233465 w 330180"/>
                <a:gd name="connsiteY13" fmla="*/ 157943 h 234386"/>
                <a:gd name="connsiteX14" fmla="*/ 234378 w 330180"/>
                <a:gd name="connsiteY14" fmla="*/ 157943 h 234386"/>
                <a:gd name="connsiteX15" fmla="*/ 273524 w 330180"/>
                <a:gd name="connsiteY15" fmla="*/ 0 h 234386"/>
                <a:gd name="connsiteX16" fmla="*/ 330180 w 330180"/>
                <a:gd name="connsiteY16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180" h="234386">
                  <a:moveTo>
                    <a:pt x="330180" y="0"/>
                  </a:moveTo>
                  <a:lnTo>
                    <a:pt x="260646" y="234386"/>
                  </a:lnTo>
                  <a:lnTo>
                    <a:pt x="208143" y="234386"/>
                  </a:lnTo>
                  <a:lnTo>
                    <a:pt x="165320" y="72298"/>
                  </a:lnTo>
                  <a:lnTo>
                    <a:pt x="164408" y="72298"/>
                  </a:lnTo>
                  <a:lnTo>
                    <a:pt x="122037" y="234386"/>
                  </a:lnTo>
                  <a:lnTo>
                    <a:pt x="69535" y="234386"/>
                  </a:lnTo>
                  <a:lnTo>
                    <a:pt x="0" y="0"/>
                  </a:lnTo>
                  <a:lnTo>
                    <a:pt x="57560" y="0"/>
                  </a:lnTo>
                  <a:lnTo>
                    <a:pt x="98089" y="157943"/>
                  </a:lnTo>
                  <a:lnTo>
                    <a:pt x="99001" y="157943"/>
                  </a:lnTo>
                  <a:lnTo>
                    <a:pt x="140451" y="0"/>
                  </a:lnTo>
                  <a:lnTo>
                    <a:pt x="190642" y="0"/>
                  </a:lnTo>
                  <a:lnTo>
                    <a:pt x="233465" y="157943"/>
                  </a:lnTo>
                  <a:lnTo>
                    <a:pt x="234378" y="157943"/>
                  </a:lnTo>
                  <a:lnTo>
                    <a:pt x="273524" y="0"/>
                  </a:lnTo>
                  <a:lnTo>
                    <a:pt x="33018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67D70A2E-8F3A-4680-BECD-E71EE47E1952}"/>
                </a:ext>
              </a:extLst>
            </p:cNvPr>
            <p:cNvSpPr/>
            <p:nvPr/>
          </p:nvSpPr>
          <p:spPr>
            <a:xfrm>
              <a:off x="5647320" y="2954268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506EEE1F-66F9-4D2B-BA94-2FB156CB0E39}"/>
                </a:ext>
              </a:extLst>
            </p:cNvPr>
            <p:cNvSpPr/>
            <p:nvPr/>
          </p:nvSpPr>
          <p:spPr>
            <a:xfrm>
              <a:off x="5759802" y="3052356"/>
              <a:ext cx="180502" cy="245891"/>
            </a:xfrm>
            <a:custGeom>
              <a:avLst/>
              <a:gdLst>
                <a:gd name="connsiteX0" fmla="*/ 26235 w 180502"/>
                <a:gd name="connsiteY0" fmla="*/ 174063 h 245891"/>
                <a:gd name="connsiteX1" fmla="*/ 92545 w 180502"/>
                <a:gd name="connsiteY1" fmla="*/ 200314 h 245891"/>
                <a:gd name="connsiteX2" fmla="*/ 127078 w 180502"/>
                <a:gd name="connsiteY2" fmla="*/ 176826 h 245891"/>
                <a:gd name="connsiteX3" fmla="*/ 9655 w 180502"/>
                <a:gd name="connsiteY3" fmla="*/ 72750 h 245891"/>
                <a:gd name="connsiteX4" fmla="*/ 98072 w 180502"/>
                <a:gd name="connsiteY4" fmla="*/ 0 h 245891"/>
                <a:gd name="connsiteX5" fmla="*/ 179120 w 180502"/>
                <a:gd name="connsiteY5" fmla="*/ 24401 h 245891"/>
                <a:gd name="connsiteX6" fmla="*/ 153338 w 180502"/>
                <a:gd name="connsiteY6" fmla="*/ 67223 h 245891"/>
                <a:gd name="connsiteX7" fmla="*/ 97159 w 180502"/>
                <a:gd name="connsiteY7" fmla="*/ 46499 h 245891"/>
                <a:gd name="connsiteX8" fmla="*/ 63539 w 180502"/>
                <a:gd name="connsiteY8" fmla="*/ 68145 h 245891"/>
                <a:gd name="connsiteX9" fmla="*/ 180502 w 180502"/>
                <a:gd name="connsiteY9" fmla="*/ 171751 h 245891"/>
                <a:gd name="connsiteX10" fmla="*/ 90251 w 180502"/>
                <a:gd name="connsiteY10" fmla="*/ 245891 h 245891"/>
                <a:gd name="connsiteX11" fmla="*/ 0 w 180502"/>
                <a:gd name="connsiteY11" fmla="*/ 217337 h 245891"/>
                <a:gd name="connsiteX12" fmla="*/ 26235 w 180502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02" h="245891">
                  <a:moveTo>
                    <a:pt x="26235" y="174063"/>
                  </a:moveTo>
                  <a:cubicBezTo>
                    <a:pt x="49254" y="191563"/>
                    <a:pt x="71821" y="200314"/>
                    <a:pt x="92545" y="200314"/>
                  </a:cubicBezTo>
                  <a:cubicBezTo>
                    <a:pt x="112801" y="200314"/>
                    <a:pt x="127078" y="191103"/>
                    <a:pt x="127078" y="176826"/>
                  </a:cubicBezTo>
                  <a:cubicBezTo>
                    <a:pt x="127078" y="136766"/>
                    <a:pt x="9655" y="151035"/>
                    <a:pt x="9655" y="72750"/>
                  </a:cubicBezTo>
                  <a:cubicBezTo>
                    <a:pt x="9655" y="29467"/>
                    <a:pt x="45578" y="0"/>
                    <a:pt x="98072" y="0"/>
                  </a:cubicBezTo>
                  <a:cubicBezTo>
                    <a:pt x="126166" y="0"/>
                    <a:pt x="154259" y="8282"/>
                    <a:pt x="179120" y="24401"/>
                  </a:cubicBezTo>
                  <a:lnTo>
                    <a:pt x="153338" y="67223"/>
                  </a:lnTo>
                  <a:cubicBezTo>
                    <a:pt x="133074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02" y="93014"/>
                    <a:pt x="180502" y="171751"/>
                  </a:cubicBezTo>
                  <a:cubicBezTo>
                    <a:pt x="180502" y="215956"/>
                    <a:pt x="144127" y="245891"/>
                    <a:pt x="90251" y="245891"/>
                  </a:cubicBezTo>
                  <a:cubicBezTo>
                    <a:pt x="58942" y="245891"/>
                    <a:pt x="27164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F74733A0-A3D9-4EB8-B59E-1D33A8156D3E}"/>
                </a:ext>
              </a:extLst>
            </p:cNvPr>
            <p:cNvSpPr/>
            <p:nvPr/>
          </p:nvSpPr>
          <p:spPr>
            <a:xfrm>
              <a:off x="597652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87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47 w 180510"/>
                <a:gd name="connsiteY8" fmla="*/ 68145 h 245891"/>
                <a:gd name="connsiteX9" fmla="*/ 180510 w 180510"/>
                <a:gd name="connsiteY9" fmla="*/ 171751 h 245891"/>
                <a:gd name="connsiteX10" fmla="*/ 90259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1" y="200314"/>
                    <a:pt x="92545" y="200314"/>
                  </a:cubicBezTo>
                  <a:cubicBezTo>
                    <a:pt x="112809" y="200314"/>
                    <a:pt x="127087" y="191103"/>
                    <a:pt x="127087" y="176826"/>
                  </a:cubicBezTo>
                  <a:cubicBezTo>
                    <a:pt x="127087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2" y="53415"/>
                    <a:pt x="115129" y="46499"/>
                    <a:pt x="97159" y="46499"/>
                  </a:cubicBezTo>
                  <a:cubicBezTo>
                    <a:pt x="76904" y="46499"/>
                    <a:pt x="63547" y="55249"/>
                    <a:pt x="63547" y="68145"/>
                  </a:cubicBezTo>
                  <a:cubicBezTo>
                    <a:pt x="63547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9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D1FAA1E8-DAFE-4E04-85EE-FCAD56BD35E1}"/>
                </a:ext>
              </a:extLst>
            </p:cNvPr>
            <p:cNvSpPr/>
            <p:nvPr/>
          </p:nvSpPr>
          <p:spPr>
            <a:xfrm>
              <a:off x="6201863" y="3052356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5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7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4" y="207214"/>
                  </a:lnTo>
                  <a:cubicBezTo>
                    <a:pt x="181432" y="233465"/>
                    <a:pt x="151496" y="245900"/>
                    <a:pt x="116034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5" y="65850"/>
                    <a:pt x="139990" y="45125"/>
                    <a:pt x="109134" y="45125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09C4B215-6083-45BD-BA87-2DE47C9D0D8E}"/>
                </a:ext>
              </a:extLst>
            </p:cNvPr>
            <p:cNvSpPr/>
            <p:nvPr/>
          </p:nvSpPr>
          <p:spPr>
            <a:xfrm>
              <a:off x="6475831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7 w 201695"/>
                <a:gd name="connsiteY4" fmla="*/ 105910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7" y="80579"/>
                    <a:pt x="54797" y="105910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D529CA8F-B434-421C-8549-410B642072CA}"/>
                </a:ext>
              </a:extLst>
            </p:cNvPr>
            <p:cNvSpPr/>
            <p:nvPr/>
          </p:nvSpPr>
          <p:spPr>
            <a:xfrm>
              <a:off x="672606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7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0" y="200314"/>
                    <a:pt x="92545" y="200314"/>
                  </a:cubicBezTo>
                  <a:cubicBezTo>
                    <a:pt x="112809" y="200314"/>
                    <a:pt x="127078" y="191103"/>
                    <a:pt x="127078" y="176826"/>
                  </a:cubicBezTo>
                  <a:cubicBezTo>
                    <a:pt x="127078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5" y="0"/>
                    <a:pt x="154259" y="8282"/>
                    <a:pt x="179128" y="24401"/>
                  </a:cubicBezTo>
                  <a:lnTo>
                    <a:pt x="153337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1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B08278F5-401C-4B99-B08F-5BA7405F32D9}"/>
                </a:ext>
              </a:extLst>
            </p:cNvPr>
            <p:cNvSpPr/>
            <p:nvPr/>
          </p:nvSpPr>
          <p:spPr>
            <a:xfrm>
              <a:off x="6951395" y="3052365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8 w 197542"/>
                <a:gd name="connsiteY3" fmla="*/ 0 h 245899"/>
                <a:gd name="connsiteX4" fmla="*/ 197542 w 197542"/>
                <a:gd name="connsiteY4" fmla="*/ 40060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25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60"/>
                  </a:cubicBezTo>
                  <a:lnTo>
                    <a:pt x="159777" y="75974"/>
                  </a:lnTo>
                  <a:cubicBezTo>
                    <a:pt x="145969" y="58013"/>
                    <a:pt x="131231" y="50192"/>
                    <a:pt x="112809" y="50192"/>
                  </a:cubicBezTo>
                  <a:cubicBezTo>
                    <a:pt x="78276" y="50192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62" y="196161"/>
                    <a:pt x="145500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8E20F1AF-B558-471E-AAE9-8DBAFBFA6BA4}"/>
                </a:ext>
              </a:extLst>
            </p:cNvPr>
            <p:cNvSpPr/>
            <p:nvPr/>
          </p:nvSpPr>
          <p:spPr>
            <a:xfrm>
              <a:off x="7195938" y="2950140"/>
              <a:ext cx="201695" cy="342598"/>
            </a:xfrm>
            <a:custGeom>
              <a:avLst/>
              <a:gdLst>
                <a:gd name="connsiteX0" fmla="*/ 201695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7 h 342598"/>
                <a:gd name="connsiteX10" fmla="*/ 55718 w 201695"/>
                <a:gd name="connsiteY10" fmla="*/ 136297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5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7"/>
                  </a:lnTo>
                  <a:lnTo>
                    <a:pt x="55718" y="136297"/>
                  </a:lnTo>
                  <a:cubicBezTo>
                    <a:pt x="69074" y="115573"/>
                    <a:pt x="93483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745B9AE5-CD71-43F4-9E16-87BCED79224F}"/>
                </a:ext>
              </a:extLst>
            </p:cNvPr>
            <p:cNvSpPr/>
            <p:nvPr/>
          </p:nvSpPr>
          <p:spPr>
            <a:xfrm>
              <a:off x="7451652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86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8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19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8" y="131240"/>
                    <a:pt x="106822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7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436FB004-3A92-41D3-B808-71CE49217D0D}"/>
                </a:ext>
              </a:extLst>
            </p:cNvPr>
            <p:cNvSpPr/>
            <p:nvPr/>
          </p:nvSpPr>
          <p:spPr>
            <a:xfrm>
              <a:off x="7694437" y="2946899"/>
              <a:ext cx="143674" cy="345830"/>
            </a:xfrm>
            <a:custGeom>
              <a:avLst/>
              <a:gdLst>
                <a:gd name="connsiteX0" fmla="*/ 143674 w 143674"/>
                <a:gd name="connsiteY0" fmla="*/ 51582 h 345830"/>
                <a:gd name="connsiteX1" fmla="*/ 119734 w 143674"/>
                <a:gd name="connsiteY1" fmla="*/ 46976 h 345830"/>
                <a:gd name="connsiteX2" fmla="*/ 90720 w 143674"/>
                <a:gd name="connsiteY2" fmla="*/ 79667 h 345830"/>
                <a:gd name="connsiteX3" fmla="*/ 90720 w 143674"/>
                <a:gd name="connsiteY3" fmla="*/ 111445 h 345830"/>
                <a:gd name="connsiteX4" fmla="*/ 137235 w 143674"/>
                <a:gd name="connsiteY4" fmla="*/ 111445 h 345830"/>
                <a:gd name="connsiteX5" fmla="*/ 137235 w 143674"/>
                <a:gd name="connsiteY5" fmla="*/ 157031 h 345830"/>
                <a:gd name="connsiteX6" fmla="*/ 91180 w 143674"/>
                <a:gd name="connsiteY6" fmla="*/ 157031 h 345830"/>
                <a:gd name="connsiteX7" fmla="*/ 91180 w 143674"/>
                <a:gd name="connsiteY7" fmla="*/ 345831 h 345830"/>
                <a:gd name="connsiteX8" fmla="*/ 36383 w 143674"/>
                <a:gd name="connsiteY8" fmla="*/ 345831 h 345830"/>
                <a:gd name="connsiteX9" fmla="*/ 36383 w 143674"/>
                <a:gd name="connsiteY9" fmla="*/ 157031 h 345830"/>
                <a:gd name="connsiteX10" fmla="*/ 0 w 143674"/>
                <a:gd name="connsiteY10" fmla="*/ 157031 h 345830"/>
                <a:gd name="connsiteX11" fmla="*/ 0 w 143674"/>
                <a:gd name="connsiteY11" fmla="*/ 111445 h 345830"/>
                <a:gd name="connsiteX12" fmla="*/ 36383 w 143674"/>
                <a:gd name="connsiteY12" fmla="*/ 111445 h 345830"/>
                <a:gd name="connsiteX13" fmla="*/ 36383 w 143674"/>
                <a:gd name="connsiteY13" fmla="*/ 77825 h 345830"/>
                <a:gd name="connsiteX14" fmla="*/ 110983 w 143674"/>
                <a:gd name="connsiteY14" fmla="*/ 0 h 345830"/>
                <a:gd name="connsiteX15" fmla="*/ 143674 w 143674"/>
                <a:gd name="connsiteY15" fmla="*/ 5066 h 345830"/>
                <a:gd name="connsiteX16" fmla="*/ 143674 w 143674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74" h="345830">
                  <a:moveTo>
                    <a:pt x="143674" y="51582"/>
                  </a:moveTo>
                  <a:cubicBezTo>
                    <a:pt x="136306" y="48358"/>
                    <a:pt x="127555" y="46976"/>
                    <a:pt x="119734" y="46976"/>
                  </a:cubicBezTo>
                  <a:cubicBezTo>
                    <a:pt x="99010" y="46976"/>
                    <a:pt x="90720" y="57569"/>
                    <a:pt x="90720" y="79667"/>
                  </a:cubicBezTo>
                  <a:lnTo>
                    <a:pt x="90720" y="111445"/>
                  </a:lnTo>
                  <a:lnTo>
                    <a:pt x="137235" y="111445"/>
                  </a:lnTo>
                  <a:lnTo>
                    <a:pt x="137235" y="157031"/>
                  </a:lnTo>
                  <a:lnTo>
                    <a:pt x="91180" y="157031"/>
                  </a:lnTo>
                  <a:lnTo>
                    <a:pt x="91180" y="345831"/>
                  </a:lnTo>
                  <a:lnTo>
                    <a:pt x="36383" y="345831"/>
                  </a:lnTo>
                  <a:lnTo>
                    <a:pt x="36383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83" y="111445"/>
                  </a:lnTo>
                  <a:lnTo>
                    <a:pt x="36383" y="77825"/>
                  </a:lnTo>
                  <a:cubicBezTo>
                    <a:pt x="36383" y="29015"/>
                    <a:pt x="58490" y="0"/>
                    <a:pt x="110983" y="0"/>
                  </a:cubicBezTo>
                  <a:cubicBezTo>
                    <a:pt x="122958" y="0"/>
                    <a:pt x="134472" y="1382"/>
                    <a:pt x="143674" y="5066"/>
                  </a:cubicBezTo>
                  <a:lnTo>
                    <a:pt x="143674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FB366C92-3556-460A-96A5-174C44955F53}"/>
                </a:ext>
              </a:extLst>
            </p:cNvPr>
            <p:cNvSpPr/>
            <p:nvPr/>
          </p:nvSpPr>
          <p:spPr>
            <a:xfrm>
              <a:off x="7867277" y="2982353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04896952-F1FA-49B6-B449-4304B9D28C4D}"/>
                </a:ext>
              </a:extLst>
            </p:cNvPr>
            <p:cNvSpPr/>
            <p:nvPr/>
          </p:nvSpPr>
          <p:spPr>
            <a:xfrm>
              <a:off x="8049797" y="3052356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4 w 214130"/>
                <a:gd name="connsiteY2" fmla="*/ 0 h 245899"/>
                <a:gd name="connsiteX3" fmla="*/ 214131 w 214130"/>
                <a:gd name="connsiteY3" fmla="*/ 119266 h 245899"/>
                <a:gd name="connsiteX4" fmla="*/ 213209 w 214130"/>
                <a:gd name="connsiteY4" fmla="*/ 141824 h 245899"/>
                <a:gd name="connsiteX5" fmla="*/ 55727 w 214130"/>
                <a:gd name="connsiteY5" fmla="*/ 141824 h 245899"/>
                <a:gd name="connsiteX6" fmla="*/ 116510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88 w 214130"/>
                <a:gd name="connsiteY10" fmla="*/ 101765 h 245899"/>
                <a:gd name="connsiteX11" fmla="*/ 161159 w 214130"/>
                <a:gd name="connsiteY11" fmla="*/ 101765 h 245899"/>
                <a:gd name="connsiteX12" fmla="*/ 109125 w 214130"/>
                <a:gd name="connsiteY12" fmla="*/ 45125 h 245899"/>
                <a:gd name="connsiteX13" fmla="*/ 5478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4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09" y="141824"/>
                  </a:cubicBezTo>
                  <a:lnTo>
                    <a:pt x="55727" y="141824"/>
                  </a:lnTo>
                  <a:cubicBezTo>
                    <a:pt x="61714" y="178207"/>
                    <a:pt x="83351" y="198924"/>
                    <a:pt x="116510" y="198924"/>
                  </a:cubicBezTo>
                  <a:cubicBezTo>
                    <a:pt x="138147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23" y="233465"/>
                    <a:pt x="151487" y="245900"/>
                    <a:pt x="116033" y="245900"/>
                  </a:cubicBezTo>
                  <a:close/>
                  <a:moveTo>
                    <a:pt x="54788" y="101765"/>
                  </a:moveTo>
                  <a:lnTo>
                    <a:pt x="161159" y="101765"/>
                  </a:lnTo>
                  <a:cubicBezTo>
                    <a:pt x="158864" y="65850"/>
                    <a:pt x="139981" y="45125"/>
                    <a:pt x="109125" y="45125"/>
                  </a:cubicBezTo>
                  <a:cubicBezTo>
                    <a:pt x="78729" y="45134"/>
                    <a:pt x="59394" y="65390"/>
                    <a:pt x="54788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FB0C4D95-0710-4CC8-AB09-3C3A3C73C620}"/>
                </a:ext>
              </a:extLst>
            </p:cNvPr>
            <p:cNvSpPr/>
            <p:nvPr/>
          </p:nvSpPr>
          <p:spPr>
            <a:xfrm>
              <a:off x="8323756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57D06E2C-97D8-4B7E-BC43-4375533F6609}"/>
                </a:ext>
              </a:extLst>
            </p:cNvPr>
            <p:cNvSpPr/>
            <p:nvPr/>
          </p:nvSpPr>
          <p:spPr>
            <a:xfrm>
              <a:off x="8741466" y="2935854"/>
              <a:ext cx="31309" cy="452200"/>
            </a:xfrm>
            <a:custGeom>
              <a:avLst/>
              <a:gdLst>
                <a:gd name="connsiteX0" fmla="*/ 31309 w 31309"/>
                <a:gd name="connsiteY0" fmla="*/ 452201 h 452200"/>
                <a:gd name="connsiteX1" fmla="*/ 0 w 31309"/>
                <a:gd name="connsiteY1" fmla="*/ 452201 h 452200"/>
                <a:gd name="connsiteX2" fmla="*/ 0 w 31309"/>
                <a:gd name="connsiteY2" fmla="*/ 0 h 452200"/>
                <a:gd name="connsiteX3" fmla="*/ 31309 w 31309"/>
                <a:gd name="connsiteY3" fmla="*/ 0 h 452200"/>
                <a:gd name="connsiteX4" fmla="*/ 31309 w 31309"/>
                <a:gd name="connsiteY4" fmla="*/ 452201 h 45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09" h="452200">
                  <a:moveTo>
                    <a:pt x="31309" y="452201"/>
                  </a:moveTo>
                  <a:lnTo>
                    <a:pt x="0" y="452201"/>
                  </a:lnTo>
                  <a:lnTo>
                    <a:pt x="0" y="0"/>
                  </a:lnTo>
                  <a:lnTo>
                    <a:pt x="31309" y="0"/>
                  </a:lnTo>
                  <a:lnTo>
                    <a:pt x="31309" y="45220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0AA21074-ECEF-4DBA-8FC1-08ABCFA0C59B}"/>
                </a:ext>
              </a:extLst>
            </p:cNvPr>
            <p:cNvSpPr/>
            <p:nvPr/>
          </p:nvSpPr>
          <p:spPr>
            <a:xfrm>
              <a:off x="8970820" y="2968545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8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3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8 w 398768"/>
                <a:gd name="connsiteY9" fmla="*/ 0 h 324184"/>
                <a:gd name="connsiteX10" fmla="*/ 317260 w 398768"/>
                <a:gd name="connsiteY10" fmla="*/ 324185 h 324184"/>
                <a:gd name="connsiteX11" fmla="*/ 257857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8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3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8" y="0"/>
                  </a:lnTo>
                  <a:lnTo>
                    <a:pt x="317260" y="324185"/>
                  </a:lnTo>
                  <a:lnTo>
                    <a:pt x="257857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80B92DB5-B5F3-4077-A03B-256D966E382B}"/>
                </a:ext>
              </a:extLst>
            </p:cNvPr>
            <p:cNvSpPr/>
            <p:nvPr/>
          </p:nvSpPr>
          <p:spPr>
            <a:xfrm>
              <a:off x="941575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95446453-E0A3-4941-A520-97A3CBE945F9}"/>
                </a:ext>
              </a:extLst>
            </p:cNvPr>
            <p:cNvSpPr/>
            <p:nvPr/>
          </p:nvSpPr>
          <p:spPr>
            <a:xfrm>
              <a:off x="9528805" y="2963018"/>
              <a:ext cx="227486" cy="335246"/>
            </a:xfrm>
            <a:custGeom>
              <a:avLst/>
              <a:gdLst>
                <a:gd name="connsiteX0" fmla="*/ 36383 w 227486"/>
                <a:gd name="connsiteY0" fmla="*/ 245900 h 335246"/>
                <a:gd name="connsiteX1" fmla="*/ 116971 w 227486"/>
                <a:gd name="connsiteY1" fmla="*/ 282283 h 335246"/>
                <a:gd name="connsiteX2" fmla="*/ 169466 w 227486"/>
                <a:gd name="connsiteY2" fmla="*/ 241755 h 335246"/>
                <a:gd name="connsiteX3" fmla="*/ 10601 w 227486"/>
                <a:gd name="connsiteY3" fmla="*/ 93944 h 335246"/>
                <a:gd name="connsiteX4" fmla="*/ 120656 w 227486"/>
                <a:gd name="connsiteY4" fmla="*/ 0 h 335246"/>
                <a:gd name="connsiteX5" fmla="*/ 225183 w 227486"/>
                <a:gd name="connsiteY5" fmla="*/ 39147 h 335246"/>
                <a:gd name="connsiteX6" fmla="*/ 188808 w 227486"/>
                <a:gd name="connsiteY6" fmla="*/ 83812 h 335246"/>
                <a:gd name="connsiteX7" fmla="*/ 117884 w 227486"/>
                <a:gd name="connsiteY7" fmla="*/ 52503 h 335246"/>
                <a:gd name="connsiteX8" fmla="*/ 68613 w 227486"/>
                <a:gd name="connsiteY8" fmla="*/ 88886 h 335246"/>
                <a:gd name="connsiteX9" fmla="*/ 227486 w 227486"/>
                <a:gd name="connsiteY9" fmla="*/ 237158 h 335246"/>
                <a:gd name="connsiteX10" fmla="*/ 115590 w 227486"/>
                <a:gd name="connsiteY10" fmla="*/ 335246 h 335246"/>
                <a:gd name="connsiteX11" fmla="*/ 0 w 227486"/>
                <a:gd name="connsiteY11" fmla="*/ 290573 h 335246"/>
                <a:gd name="connsiteX12" fmla="*/ 36383 w 227486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86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71" y="282283"/>
                  </a:cubicBezTo>
                  <a:cubicBezTo>
                    <a:pt x="147359" y="282283"/>
                    <a:pt x="169466" y="265243"/>
                    <a:pt x="169466" y="241755"/>
                  </a:cubicBezTo>
                  <a:cubicBezTo>
                    <a:pt x="169466" y="179589"/>
                    <a:pt x="10601" y="198932"/>
                    <a:pt x="10601" y="93944"/>
                  </a:cubicBezTo>
                  <a:cubicBezTo>
                    <a:pt x="10601" y="38226"/>
                    <a:pt x="55727" y="0"/>
                    <a:pt x="120656" y="0"/>
                  </a:cubicBezTo>
                  <a:cubicBezTo>
                    <a:pt x="159342" y="0"/>
                    <a:pt x="195256" y="13356"/>
                    <a:pt x="225183" y="39147"/>
                  </a:cubicBezTo>
                  <a:lnTo>
                    <a:pt x="188808" y="83812"/>
                  </a:lnTo>
                  <a:cubicBezTo>
                    <a:pt x="165321" y="63087"/>
                    <a:pt x="141841" y="52503"/>
                    <a:pt x="117884" y="52503"/>
                  </a:cubicBezTo>
                  <a:cubicBezTo>
                    <a:pt x="89339" y="52503"/>
                    <a:pt x="68613" y="67692"/>
                    <a:pt x="68613" y="88886"/>
                  </a:cubicBezTo>
                  <a:cubicBezTo>
                    <a:pt x="68613" y="147359"/>
                    <a:pt x="227486" y="128024"/>
                    <a:pt x="227486" y="237158"/>
                  </a:cubicBezTo>
                  <a:cubicBezTo>
                    <a:pt x="227486" y="295639"/>
                    <a:pt x="182352" y="335246"/>
                    <a:pt x="115590" y="335246"/>
                  </a:cubicBezTo>
                  <a:cubicBezTo>
                    <a:pt x="72767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2644EA24-40AD-4FCC-B4CC-B25C37E1A3D7}"/>
                </a:ext>
              </a:extLst>
            </p:cNvPr>
            <p:cNvSpPr/>
            <p:nvPr/>
          </p:nvSpPr>
          <p:spPr>
            <a:xfrm>
              <a:off x="9804959" y="3052356"/>
              <a:ext cx="225636" cy="245908"/>
            </a:xfrm>
            <a:custGeom>
              <a:avLst/>
              <a:gdLst>
                <a:gd name="connsiteX0" fmla="*/ 0 w 225636"/>
                <a:gd name="connsiteY0" fmla="*/ 122950 h 245908"/>
                <a:gd name="connsiteX1" fmla="*/ 113739 w 225636"/>
                <a:gd name="connsiteY1" fmla="*/ 0 h 245908"/>
                <a:gd name="connsiteX2" fmla="*/ 225636 w 225636"/>
                <a:gd name="connsiteY2" fmla="*/ 122950 h 245908"/>
                <a:gd name="connsiteX3" fmla="*/ 113739 w 225636"/>
                <a:gd name="connsiteY3" fmla="*/ 245908 h 245908"/>
                <a:gd name="connsiteX4" fmla="*/ 0 w 225636"/>
                <a:gd name="connsiteY4" fmla="*/ 122950 h 245908"/>
                <a:gd name="connsiteX5" fmla="*/ 171300 w 225636"/>
                <a:gd name="connsiteY5" fmla="*/ 123410 h 245908"/>
                <a:gd name="connsiteX6" fmla="*/ 112818 w 225636"/>
                <a:gd name="connsiteY6" fmla="*/ 49731 h 245908"/>
                <a:gd name="connsiteX7" fmla="*/ 54345 w 225636"/>
                <a:gd name="connsiteY7" fmla="*/ 122481 h 245908"/>
                <a:gd name="connsiteX8" fmla="*/ 113287 w 225636"/>
                <a:gd name="connsiteY8" fmla="*/ 196621 h 245908"/>
                <a:gd name="connsiteX9" fmla="*/ 171300 w 225636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36" h="245908">
                  <a:moveTo>
                    <a:pt x="0" y="122950"/>
                  </a:moveTo>
                  <a:cubicBezTo>
                    <a:pt x="0" y="49270"/>
                    <a:pt x="45586" y="0"/>
                    <a:pt x="113739" y="0"/>
                  </a:cubicBezTo>
                  <a:cubicBezTo>
                    <a:pt x="181431" y="0"/>
                    <a:pt x="225636" y="48349"/>
                    <a:pt x="225636" y="122950"/>
                  </a:cubicBezTo>
                  <a:cubicBezTo>
                    <a:pt x="225636" y="196629"/>
                    <a:pt x="181884" y="245908"/>
                    <a:pt x="113739" y="245908"/>
                  </a:cubicBezTo>
                  <a:cubicBezTo>
                    <a:pt x="46047" y="245900"/>
                    <a:pt x="0" y="197090"/>
                    <a:pt x="0" y="122950"/>
                  </a:cubicBezTo>
                  <a:close/>
                  <a:moveTo>
                    <a:pt x="171300" y="123410"/>
                  </a:moveTo>
                  <a:cubicBezTo>
                    <a:pt x="171300" y="77824"/>
                    <a:pt x="148741" y="49731"/>
                    <a:pt x="112818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03" y="196621"/>
                    <a:pt x="113287" y="196621"/>
                  </a:cubicBezTo>
                  <a:cubicBezTo>
                    <a:pt x="149193" y="196629"/>
                    <a:pt x="171300" y="168536"/>
                    <a:pt x="171300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</p:grpSp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4DF13-B584-46A2-9B1A-67BAA69B128F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C50F1EF-7CD3-4F38-8BE6-ED3FCE2DB3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8" y="1631156"/>
            <a:ext cx="11157746" cy="45696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5C59997-58CB-4A34-A7D6-744D4117F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25613776-0F22-42BA-AE5A-1B73727AAD1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7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72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4D5745E-E636-484E-8028-8021CCFDEC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6" cy="224870"/>
          </a:xfrm>
        </p:spPr>
        <p:txBody>
          <a:bodyPr wrap="square">
            <a:spAutoFit/>
          </a:bodyPr>
          <a:lstStyle>
            <a:lvl1pPr>
              <a:defRPr sz="144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75069-90D3-47FD-846C-CB9D88DEE72F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C50F1EF-7CD3-4F38-8BE6-ED3FCE2DB3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8" y="1631156"/>
            <a:ext cx="5469732" cy="45696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024A1079-17C2-45DE-A16B-14C152A08F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6330" y="1631156"/>
            <a:ext cx="5469732" cy="45696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E5E3F57-04C9-40C7-B10F-E51808253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6791738E-1095-45F8-98E2-D057FFD19CA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7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72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73212EE7-978B-435B-B747-4DF34057F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6" cy="224870"/>
          </a:xfrm>
        </p:spPr>
        <p:txBody>
          <a:bodyPr wrap="square">
            <a:spAutoFit/>
          </a:bodyPr>
          <a:lstStyle>
            <a:lvl1pPr>
              <a:defRPr sz="144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594138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1739F-85A4-4904-BF10-1F018D199650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1717" y="6634667"/>
            <a:ext cx="184346" cy="110800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36A777D-D5C6-4E84-A9C9-D0F4836A4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D304591F-2FC9-4C29-9FE5-537955E3B9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8320" y="1631157"/>
            <a:ext cx="3568821" cy="456961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D0C47385-EF97-44EE-867E-E9365B44CA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07243" y="1631157"/>
            <a:ext cx="3568821" cy="456961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E3F53468-6A74-4DFC-93FD-A760B961965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12781" y="1631157"/>
            <a:ext cx="3568821" cy="456961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86333803-0B38-4F61-95AE-49DCFFD7FB88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7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72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08BEEA51-35F2-44B9-8FA6-474AFBCFB0F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6" cy="224870"/>
          </a:xfrm>
        </p:spPr>
        <p:txBody>
          <a:bodyPr wrap="square">
            <a:spAutoFit/>
          </a:bodyPr>
          <a:lstStyle>
            <a:lvl1pPr>
              <a:defRPr sz="144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667381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B52583-25AC-450B-861F-C7EF6E2A4877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C50F1EF-7CD3-4F38-8BE6-ED3FCE2DB3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8" y="1631156"/>
            <a:ext cx="5469732" cy="45696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E5E3F57-04C9-40C7-B10F-E51808253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3A0E3338-4E71-4920-9A06-A4D408E5A29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30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8D50DB04-91D7-4C23-96CE-09E0502D14C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7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72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A160CC5-8A59-46D3-A1D7-F21A3B6955D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6" cy="224870"/>
          </a:xfrm>
        </p:spPr>
        <p:txBody>
          <a:bodyPr wrap="square">
            <a:spAutoFit/>
          </a:bodyPr>
          <a:lstStyle>
            <a:lvl1pPr>
              <a:defRPr sz="144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6646337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3A0E3338-4E71-4920-9A06-A4D408E5A29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318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66975A-5916-44F8-AAB7-DA930B118AE0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1717" y="6634667"/>
            <a:ext cx="184346" cy="110800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C50F1EF-7CD3-4F38-8BE6-ED3FCE2DB3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06332" y="1631156"/>
            <a:ext cx="5469732" cy="45696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E5E3F57-04C9-40C7-B10F-E51808253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1C6D487A-3469-4A14-880C-0C0352BFC29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7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72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65A4D142-596E-4394-B407-65001A377D3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6" cy="224870"/>
          </a:xfrm>
        </p:spPr>
        <p:txBody>
          <a:bodyPr wrap="square">
            <a:spAutoFit/>
          </a:bodyPr>
          <a:lstStyle>
            <a:lvl1pPr>
              <a:defRPr sz="144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1282086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430C106-4EB7-47B9-8F1D-0BFCFBEAEC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1CD45B2-C7E2-4C43-84ED-BFB6DC4E84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8319" y="3431381"/>
            <a:ext cx="3571200" cy="2769394"/>
          </a:xfrm>
          <a:solidFill>
            <a:schemeClr val="bg1"/>
          </a:solidFill>
        </p:spPr>
        <p:txBody>
          <a:bodyPr wrap="square" lIns="180000" tIns="180000" rIns="360000" bIns="18000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FE029E8-09EC-45DC-B2BB-25B2B1C145AC}"/>
              </a:ext>
            </a:extLst>
          </p:cNvPr>
          <p:cNvGrpSpPr/>
          <p:nvPr userDrawn="1"/>
        </p:nvGrpSpPr>
        <p:grpSpPr>
          <a:xfrm>
            <a:off x="-390525" y="160153"/>
            <a:ext cx="333376" cy="136812"/>
            <a:chOff x="-133350" y="2711163"/>
            <a:chExt cx="333375" cy="13681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D3613C15-D9EF-4DBF-8B74-3D509941276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8E0568E8-B36B-404B-9E38-F367F7DFCF81}"/>
                </a:ext>
              </a:extLst>
            </p:cNvPr>
            <p:cNvSpPr txBox="1"/>
            <p:nvPr userDrawn="1"/>
          </p:nvSpPr>
          <p:spPr>
            <a:xfrm>
              <a:off x="-82078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54EB1BCB-8EFE-43BA-AE53-9984B9F11B54}"/>
              </a:ext>
            </a:extLst>
          </p:cNvPr>
          <p:cNvGrpSpPr/>
          <p:nvPr userDrawn="1"/>
        </p:nvGrpSpPr>
        <p:grpSpPr>
          <a:xfrm>
            <a:off x="-390525" y="1131703"/>
            <a:ext cx="333376" cy="136812"/>
            <a:chOff x="-133350" y="2711163"/>
            <a:chExt cx="333375" cy="136812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B189016C-ED2A-474D-A417-5E0F497B514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9856DE16-FDEC-4063-8C73-CBF95C803B59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3759D02-378A-4C73-8CA4-E4FB217B94E6}"/>
              </a:ext>
            </a:extLst>
          </p:cNvPr>
          <p:cNvGrpSpPr/>
          <p:nvPr userDrawn="1"/>
        </p:nvGrpSpPr>
        <p:grpSpPr>
          <a:xfrm>
            <a:off x="-390525" y="1491963"/>
            <a:ext cx="333376" cy="136812"/>
            <a:chOff x="-133350" y="2711163"/>
            <a:chExt cx="333375" cy="13681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612F9041-226E-4E23-B398-1F7D9044B5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618D5641-3E9B-4072-8388-BB46336975A8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70072D5-E220-4946-9EE1-80DFB58C3A38}"/>
              </a:ext>
            </a:extLst>
          </p:cNvPr>
          <p:cNvGrpSpPr/>
          <p:nvPr userDrawn="1"/>
        </p:nvGrpSpPr>
        <p:grpSpPr>
          <a:xfrm>
            <a:off x="-390525" y="3292188"/>
            <a:ext cx="333376" cy="136812"/>
            <a:chOff x="-133350" y="2711163"/>
            <a:chExt cx="333375" cy="136812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0A43D9D6-7790-4E94-8493-67757E33734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8E7E0758-62D1-453D-B55E-FDC4CCE3C6E4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84310EC5-28E5-4146-A748-79C1FCA769F0}"/>
              </a:ext>
            </a:extLst>
          </p:cNvPr>
          <p:cNvGrpSpPr/>
          <p:nvPr userDrawn="1"/>
        </p:nvGrpSpPr>
        <p:grpSpPr>
          <a:xfrm>
            <a:off x="-390525" y="6063963"/>
            <a:ext cx="333376" cy="136812"/>
            <a:chOff x="-133350" y="2711163"/>
            <a:chExt cx="333375" cy="136812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D5BC590-E7B8-48F8-AAC5-6799BCBDEB4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DF5B0BA6-3F36-41A3-8125-15AA496849C8}"/>
                </a:ext>
              </a:extLst>
            </p:cNvPr>
            <p:cNvSpPr txBox="1"/>
            <p:nvPr userDrawn="1"/>
          </p:nvSpPr>
          <p:spPr>
            <a:xfrm>
              <a:off x="-82076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07018BC3-E9D3-4DC9-9093-D415FD96426D}"/>
              </a:ext>
            </a:extLst>
          </p:cNvPr>
          <p:cNvGrpSpPr/>
          <p:nvPr userDrawn="1"/>
        </p:nvGrpSpPr>
        <p:grpSpPr>
          <a:xfrm>
            <a:off x="-390525" y="6495763"/>
            <a:ext cx="333376" cy="136812"/>
            <a:chOff x="-133350" y="2711163"/>
            <a:chExt cx="333375" cy="136812"/>
          </a:xfrm>
        </p:grpSpPr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38F1A063-9C9E-48DF-9813-A4EA4497C2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F79F31FE-DC89-4DED-A231-3D8DCBF48D98}"/>
                </a:ext>
              </a:extLst>
            </p:cNvPr>
            <p:cNvSpPr txBox="1"/>
            <p:nvPr userDrawn="1"/>
          </p:nvSpPr>
          <p:spPr>
            <a:xfrm>
              <a:off x="-82075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F7DF8EA8-3E45-431B-90A0-140583E1D079}"/>
              </a:ext>
            </a:extLst>
          </p:cNvPr>
          <p:cNvGrpSpPr/>
          <p:nvPr userDrawn="1"/>
        </p:nvGrpSpPr>
        <p:grpSpPr>
          <a:xfrm rot="16200000">
            <a:off x="284750" y="-296027"/>
            <a:ext cx="333375" cy="130588"/>
            <a:chOff x="-133350" y="2717387"/>
            <a:chExt cx="333375" cy="130588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B300055A-A6D6-4CE1-986A-0930765E029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0B2C23E7-0482-498A-B984-44C6CF40F3B6}"/>
                </a:ext>
              </a:extLst>
            </p:cNvPr>
            <p:cNvSpPr txBox="1"/>
            <p:nvPr userDrawn="1"/>
          </p:nvSpPr>
          <p:spPr>
            <a:xfrm>
              <a:off x="-82079" y="2717387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C7A65B2-F352-4DA5-9A36-9105D478D2C2}"/>
              </a:ext>
            </a:extLst>
          </p:cNvPr>
          <p:cNvGrpSpPr/>
          <p:nvPr userDrawn="1"/>
        </p:nvGrpSpPr>
        <p:grpSpPr>
          <a:xfrm rot="16200000">
            <a:off x="5756070" y="-296028"/>
            <a:ext cx="333375" cy="130584"/>
            <a:chOff x="-133350" y="2717391"/>
            <a:chExt cx="333375" cy="130584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4D9AE9BE-891D-491B-98F9-78F552DDC8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E259A48F-52D3-481E-86F8-360FED16B872}"/>
                </a:ext>
              </a:extLst>
            </p:cNvPr>
            <p:cNvSpPr txBox="1"/>
            <p:nvPr userDrawn="1"/>
          </p:nvSpPr>
          <p:spPr>
            <a:xfrm>
              <a:off x="-82076" y="2717391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7ADB04CE-94F5-430A-9FF1-01DE211731F2}"/>
              </a:ext>
            </a:extLst>
          </p:cNvPr>
          <p:cNvGrpSpPr/>
          <p:nvPr userDrawn="1"/>
        </p:nvGrpSpPr>
        <p:grpSpPr>
          <a:xfrm>
            <a:off x="6203945" y="-397424"/>
            <a:ext cx="118684" cy="333375"/>
            <a:chOff x="6416681" y="-397424"/>
            <a:chExt cx="118684" cy="333375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50411913-7BEC-4F33-BDE8-154F93D079C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A40BADBF-D4AC-4B48-AE66-D79BD3055404}"/>
                </a:ext>
              </a:extLst>
            </p:cNvPr>
            <p:cNvSpPr txBox="1"/>
            <p:nvPr userDrawn="1"/>
          </p:nvSpPr>
          <p:spPr>
            <a:xfrm rot="16200000">
              <a:off x="6363716" y="-286972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CB5DA2A5-4F29-4DF6-A342-0A7B4878AAB5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4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E820BD84-9211-4C19-A40B-4121AD892514}"/>
              </a:ext>
            </a:extLst>
          </p:cNvPr>
          <p:cNvGrpSpPr/>
          <p:nvPr userDrawn="1"/>
        </p:nvGrpSpPr>
        <p:grpSpPr>
          <a:xfrm rot="16200000">
            <a:off x="11450432" y="-296031"/>
            <a:ext cx="333375" cy="130580"/>
            <a:chOff x="-133350" y="2717395"/>
            <a:chExt cx="333375" cy="13058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21C7D9CA-751B-4809-9338-47DDC5D1A7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D1C22B97-CFD8-4E78-BF7E-02A71F190F83}"/>
                </a:ext>
              </a:extLst>
            </p:cNvPr>
            <p:cNvSpPr txBox="1"/>
            <p:nvPr userDrawn="1"/>
          </p:nvSpPr>
          <p:spPr>
            <a:xfrm>
              <a:off x="-82072" y="2717395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813202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91F16-A38C-4704-AC2A-54EFFD6840B2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6A4CB3A7-ACED-41D0-8E35-318CD3693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EBFE18BD-74E5-4328-B98A-9C6FC4FCA59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318" y="1631156"/>
            <a:ext cx="11157746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51E223D-AC82-4D54-A383-0E2DF84E2E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8318" y="5690271"/>
            <a:ext cx="11157746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26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05EC4CE8-43C6-428F-9E62-CB38E0CE6447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7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72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142AAD46-67A3-4127-B280-D69434A7D72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6" cy="224870"/>
          </a:xfrm>
        </p:spPr>
        <p:txBody>
          <a:bodyPr wrap="square">
            <a:spAutoFit/>
          </a:bodyPr>
          <a:lstStyle>
            <a:lvl1pPr>
              <a:defRPr sz="144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408502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1C6F0-82FB-4758-8445-3C854B8A42D3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1717" y="6634667"/>
            <a:ext cx="184346" cy="110800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8C7F934-D7F3-42CA-88CC-3AEB50FF1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B4B72DA6-61BE-42F9-8894-08B159BC7C7D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317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0E2D86CD-8C0A-461A-82DE-DEB73A6F9AC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8317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26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B4E7C39B-83E8-467B-AD57-55CA08888B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06332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CE124A50-74B4-4E32-AA56-DCD775B1300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06332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26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BF87D6FE-3E8F-49D4-B36A-217C95B23AF8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7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72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381895C7-DC25-40C3-9857-7AF6421845A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6" cy="224870"/>
          </a:xfrm>
        </p:spPr>
        <p:txBody>
          <a:bodyPr wrap="square">
            <a:spAutoFit/>
          </a:bodyPr>
          <a:lstStyle>
            <a:lvl1pPr>
              <a:defRPr sz="144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627449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65E404-FA7C-4123-B3AC-C4E47D4145D2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1717" y="6634667"/>
            <a:ext cx="184346" cy="110800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9995CF9C-9826-4946-A085-FF49199BE4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E2430412-20B6-4F53-A77B-A26A49135E4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317" y="1631156"/>
            <a:ext cx="3569758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48CA2DF0-5B92-4CE6-AF1A-CC648431BB9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8317" y="5690271"/>
            <a:ext cx="3569758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26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8">
            <a:extLst>
              <a:ext uri="{FF2B5EF4-FFF2-40B4-BE49-F238E27FC236}">
                <a16:creationId xmlns:a16="http://schemas.microsoft.com/office/drawing/2014/main" id="{002E2471-F223-4896-A895-CE0AF20E11D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106305" y="1631156"/>
            <a:ext cx="3569758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470E7482-A37A-44BE-ADE5-A0B3B10E8FC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06305" y="5690271"/>
            <a:ext cx="3569758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26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Bildplatzhalter 8">
            <a:extLst>
              <a:ext uri="{FF2B5EF4-FFF2-40B4-BE49-F238E27FC236}">
                <a16:creationId xmlns:a16="http://schemas.microsoft.com/office/drawing/2014/main" id="{3FD09289-F115-4464-A726-812A11720CAD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12311" y="1631156"/>
            <a:ext cx="3569758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26" name="Textplatzhalter 10">
            <a:extLst>
              <a:ext uri="{FF2B5EF4-FFF2-40B4-BE49-F238E27FC236}">
                <a16:creationId xmlns:a16="http://schemas.microsoft.com/office/drawing/2014/main" id="{F3F11CE6-C8CF-4ABE-B3B8-C00D74678A9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12311" y="5690271"/>
            <a:ext cx="3569758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26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A7347480-9F70-4378-B138-B8B7C593F86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7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72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DD6E75C0-962B-4DE7-8D95-4D4F45AB824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6" cy="224870"/>
          </a:xfrm>
        </p:spPr>
        <p:txBody>
          <a:bodyPr wrap="square">
            <a:spAutoFit/>
          </a:bodyPr>
          <a:lstStyle>
            <a:lvl1pPr>
              <a:defRPr sz="144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721892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4DF13-B584-46A2-9B1A-67BAA69B128F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C50F1EF-7CD3-4F38-8BE6-ED3FCE2DB3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1631156"/>
            <a:ext cx="11157745" cy="45696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5C59997-58CB-4A34-A7D6-744D4117F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25613776-0F22-42BA-AE5A-1B73727AAD1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4D5745E-E636-484E-8028-8021CCFDEC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0B6EA-496C-459A-815A-9BD62A63A65D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8" y="1631156"/>
            <a:ext cx="11155366" cy="4569619"/>
          </a:xfrm>
        </p:spPr>
        <p:txBody>
          <a:bodyPr/>
          <a:lstStyle/>
          <a:p>
            <a:pPr lvl="0"/>
            <a:r>
              <a:rPr lang="de-DE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BD0D2AE-225B-47F4-A359-0020AE80A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451A9BBC-9F96-4260-BC40-C6D3D23D6FB6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7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72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A13C3F65-DA83-41EB-89FA-4255A4DF2ED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6" cy="224870"/>
          </a:xfrm>
        </p:spPr>
        <p:txBody>
          <a:bodyPr wrap="square">
            <a:spAutoFit/>
          </a:bodyPr>
          <a:lstStyle>
            <a:lvl1pPr>
              <a:defRPr sz="144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854430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468426-EBDC-4303-B9B1-D92AAD036170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1717" y="6634667"/>
            <a:ext cx="184346" cy="110800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8" y="1631156"/>
            <a:ext cx="5469733" cy="4569619"/>
          </a:xfrm>
        </p:spPr>
        <p:txBody>
          <a:bodyPr/>
          <a:lstStyle/>
          <a:p>
            <a:pPr lvl="0"/>
            <a:r>
              <a:rPr lang="de-DE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BD0D2AE-225B-47F4-A359-0020AE80A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451A9BBC-9F96-4260-BC40-C6D3D23D6FB6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7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72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Inhaltsplatzhalter 7">
            <a:extLst>
              <a:ext uri="{FF2B5EF4-FFF2-40B4-BE49-F238E27FC236}">
                <a16:creationId xmlns:a16="http://schemas.microsoft.com/office/drawing/2014/main" id="{33608DEB-69EC-4E8F-A567-9E3EA36C3624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6206330" y="1631156"/>
            <a:ext cx="5469733" cy="4569619"/>
          </a:xfrm>
        </p:spPr>
        <p:txBody>
          <a:bodyPr/>
          <a:lstStyle/>
          <a:p>
            <a:pPr lvl="0"/>
            <a:r>
              <a:rPr lang="de-DE"/>
              <a:t> 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6BCD0DB3-1746-4FA4-9BF2-5CC1A0E5F8B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6" cy="224870"/>
          </a:xfrm>
        </p:spPr>
        <p:txBody>
          <a:bodyPr wrap="square">
            <a:spAutoFit/>
          </a:bodyPr>
          <a:lstStyle>
            <a:lvl1pPr>
              <a:defRPr sz="144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577756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A9FD88-BC3F-47B2-AE3F-ECDD22FD8DC5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5086500-15A5-49F2-8B64-748C19FDAB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04861" y="1631156"/>
            <a:ext cx="3571200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84BE64F-DBB2-4BF3-ABE7-E92BB978D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0D6633D6-CA56-460E-AA1C-9A4D6A62324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18317" y="1631157"/>
            <a:ext cx="7363752" cy="4569620"/>
          </a:xfrm>
        </p:spPr>
        <p:txBody>
          <a:bodyPr/>
          <a:lstStyle/>
          <a:p>
            <a:pPr lvl="0"/>
            <a:r>
              <a:rPr lang="de-DE"/>
              <a:t> 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7CDDF36A-B7A5-4E95-A5D6-07C5FCED28B4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7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72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3506DC8-BD94-4752-B673-EB18A5638B4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6" cy="224870"/>
          </a:xfrm>
        </p:spPr>
        <p:txBody>
          <a:bodyPr wrap="square">
            <a:spAutoFit/>
          </a:bodyPr>
          <a:lstStyle>
            <a:lvl1pPr>
              <a:defRPr sz="144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85792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| Ro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2F81409-1E84-4F9F-909C-B8147813B64E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20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1925060-7FCF-4CBC-B0DA-0731E3E98579}"/>
              </a:ext>
            </a:extLst>
          </p:cNvPr>
          <p:cNvSpPr/>
          <p:nvPr userDrawn="1"/>
        </p:nvSpPr>
        <p:spPr>
          <a:xfrm>
            <a:off x="518400" y="1196733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20"/>
          </a:p>
        </p:txBody>
      </p:sp>
      <p:sp>
        <p:nvSpPr>
          <p:cNvPr id="60" name="Textplatzhalter 9">
            <a:extLst>
              <a:ext uri="{FF2B5EF4-FFF2-40B4-BE49-F238E27FC236}">
                <a16:creationId xmlns:a16="http://schemas.microsoft.com/office/drawing/2014/main" id="{A9FF3927-CA7B-4361-998A-3A60E5D23F5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8317" y="687598"/>
            <a:ext cx="6844386" cy="224870"/>
          </a:xfrm>
        </p:spPr>
        <p:txBody>
          <a:bodyPr wrap="square">
            <a:spAutoFit/>
          </a:bodyPr>
          <a:lstStyle>
            <a:lvl1pPr>
              <a:defRPr sz="144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1" name="Freihandform: Form 60">
            <a:extLst>
              <a:ext uri="{FF2B5EF4-FFF2-40B4-BE49-F238E27FC236}">
                <a16:creationId xmlns:a16="http://schemas.microsoft.com/office/drawing/2014/main" id="{BC19384B-1D95-4C0D-B3F0-61407A015F56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620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93DCB95B-459E-4AC2-8E4B-6C459242A95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7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72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ECEE8D8-DF92-4CFD-A29A-DD98DFA7EC69}"/>
              </a:ext>
            </a:extLst>
          </p:cNvPr>
          <p:cNvGrpSpPr/>
          <p:nvPr userDrawn="1"/>
        </p:nvGrpSpPr>
        <p:grpSpPr>
          <a:xfrm>
            <a:off x="-390525" y="160153"/>
            <a:ext cx="333376" cy="136812"/>
            <a:chOff x="-133350" y="2711163"/>
            <a:chExt cx="333375" cy="136812"/>
          </a:xfrm>
        </p:grpSpPr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E89218EB-083A-44EC-89C4-86451CE1FC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399474D3-E53E-4ABA-9B61-C9BB08A3276B}"/>
                </a:ext>
              </a:extLst>
            </p:cNvPr>
            <p:cNvSpPr txBox="1"/>
            <p:nvPr userDrawn="1"/>
          </p:nvSpPr>
          <p:spPr>
            <a:xfrm>
              <a:off x="-82078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57879191-3BE6-4B4E-A6B9-7EE964614B47}"/>
              </a:ext>
            </a:extLst>
          </p:cNvPr>
          <p:cNvGrpSpPr/>
          <p:nvPr userDrawn="1"/>
        </p:nvGrpSpPr>
        <p:grpSpPr>
          <a:xfrm>
            <a:off x="-390525" y="1131703"/>
            <a:ext cx="333376" cy="136812"/>
            <a:chOff x="-133350" y="2711163"/>
            <a:chExt cx="333375" cy="136812"/>
          </a:xfrm>
        </p:grpSpPr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4484379-E642-433C-B53A-1DEE6A9DD4E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7C54D7A6-C6ED-4572-B49C-338FB11A042A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382F9D16-DA93-44FA-B850-67D0B6AD397D}"/>
              </a:ext>
            </a:extLst>
          </p:cNvPr>
          <p:cNvGrpSpPr/>
          <p:nvPr userDrawn="1"/>
        </p:nvGrpSpPr>
        <p:grpSpPr>
          <a:xfrm>
            <a:off x="-390525" y="1491963"/>
            <a:ext cx="333376" cy="136812"/>
            <a:chOff x="-133350" y="2711163"/>
            <a:chExt cx="333375" cy="136812"/>
          </a:xfrm>
        </p:grpSpPr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201A13C-71DC-4465-B39F-F196A50353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D957CB6E-B09B-4A22-86F0-6C38F81B2E90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38DB7D0C-ACAA-4A6B-8088-624B0BC24502}"/>
              </a:ext>
            </a:extLst>
          </p:cNvPr>
          <p:cNvGrpSpPr/>
          <p:nvPr userDrawn="1"/>
        </p:nvGrpSpPr>
        <p:grpSpPr>
          <a:xfrm>
            <a:off x="-390525" y="3292188"/>
            <a:ext cx="333376" cy="136812"/>
            <a:chOff x="-133350" y="2711163"/>
            <a:chExt cx="333375" cy="136812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E8B86ED7-0F29-451E-8C7D-9B396D5E20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ED76FB85-7BBB-4E8D-A853-5FCC744835E1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E1524020-40DB-450A-AEE5-3E1B459B16B5}"/>
              </a:ext>
            </a:extLst>
          </p:cNvPr>
          <p:cNvGrpSpPr/>
          <p:nvPr userDrawn="1"/>
        </p:nvGrpSpPr>
        <p:grpSpPr>
          <a:xfrm>
            <a:off x="-390525" y="6063963"/>
            <a:ext cx="333376" cy="136812"/>
            <a:chOff x="-133350" y="2711163"/>
            <a:chExt cx="333375" cy="136812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539CBAAA-C79F-4BC9-9AF3-18ED0AF9EE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65F01F83-E434-491F-8893-1CE5848F9B6D}"/>
                </a:ext>
              </a:extLst>
            </p:cNvPr>
            <p:cNvSpPr txBox="1"/>
            <p:nvPr userDrawn="1"/>
          </p:nvSpPr>
          <p:spPr>
            <a:xfrm>
              <a:off x="-82076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99ECB07F-83AC-4A69-A930-C51459FBE5BA}"/>
              </a:ext>
            </a:extLst>
          </p:cNvPr>
          <p:cNvGrpSpPr/>
          <p:nvPr userDrawn="1"/>
        </p:nvGrpSpPr>
        <p:grpSpPr>
          <a:xfrm>
            <a:off x="-390525" y="6495763"/>
            <a:ext cx="333376" cy="136812"/>
            <a:chOff x="-133350" y="2711163"/>
            <a:chExt cx="333375" cy="136812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EB6DF347-64CA-4BE1-8952-3E80EBD0082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F82628F6-8442-4626-962B-E947FDA8C0C0}"/>
                </a:ext>
              </a:extLst>
            </p:cNvPr>
            <p:cNvSpPr txBox="1"/>
            <p:nvPr userDrawn="1"/>
          </p:nvSpPr>
          <p:spPr>
            <a:xfrm>
              <a:off x="-82075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C9B4EC5D-DF7B-4D80-86D6-C95B0B60B325}"/>
              </a:ext>
            </a:extLst>
          </p:cNvPr>
          <p:cNvGrpSpPr/>
          <p:nvPr userDrawn="1"/>
        </p:nvGrpSpPr>
        <p:grpSpPr>
          <a:xfrm rot="16200000">
            <a:off x="284750" y="-296027"/>
            <a:ext cx="333375" cy="130588"/>
            <a:chOff x="-133350" y="2717387"/>
            <a:chExt cx="333375" cy="130588"/>
          </a:xfrm>
        </p:grpSpPr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7A230F03-8AA4-4AAE-999A-6E872C727A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1C36145D-6FFB-4D3A-85D6-2ACFDAE5F5D2}"/>
                </a:ext>
              </a:extLst>
            </p:cNvPr>
            <p:cNvSpPr txBox="1"/>
            <p:nvPr userDrawn="1"/>
          </p:nvSpPr>
          <p:spPr>
            <a:xfrm>
              <a:off x="-82079" y="2717387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0D1EC147-B041-40BC-BA8D-878A722616DE}"/>
              </a:ext>
            </a:extLst>
          </p:cNvPr>
          <p:cNvGrpSpPr/>
          <p:nvPr userDrawn="1"/>
        </p:nvGrpSpPr>
        <p:grpSpPr>
          <a:xfrm rot="16200000">
            <a:off x="5756070" y="-296028"/>
            <a:ext cx="333375" cy="130584"/>
            <a:chOff x="-133350" y="2717391"/>
            <a:chExt cx="333375" cy="130584"/>
          </a:xfrm>
        </p:grpSpPr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4A4E226E-C413-42F0-AA69-108B05313D4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4A93327E-EEC7-45A4-9C35-410D17ECB865}"/>
                </a:ext>
              </a:extLst>
            </p:cNvPr>
            <p:cNvSpPr txBox="1"/>
            <p:nvPr userDrawn="1"/>
          </p:nvSpPr>
          <p:spPr>
            <a:xfrm>
              <a:off x="-82076" y="2717391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0EC1AF1A-26A7-479B-A176-8997B58ED4D1}"/>
              </a:ext>
            </a:extLst>
          </p:cNvPr>
          <p:cNvGrpSpPr/>
          <p:nvPr userDrawn="1"/>
        </p:nvGrpSpPr>
        <p:grpSpPr>
          <a:xfrm>
            <a:off x="6203945" y="-397424"/>
            <a:ext cx="118684" cy="333375"/>
            <a:chOff x="6416681" y="-397424"/>
            <a:chExt cx="118684" cy="333375"/>
          </a:xfrm>
        </p:grpSpPr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80D76042-D322-4CD0-B41A-CE295CEC6835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397EC952-23B6-4728-82B6-3D733107C66E}"/>
                </a:ext>
              </a:extLst>
            </p:cNvPr>
            <p:cNvSpPr txBox="1"/>
            <p:nvPr userDrawn="1"/>
          </p:nvSpPr>
          <p:spPr>
            <a:xfrm rot="16200000">
              <a:off x="6363716" y="-286972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D8CEDBB7-9662-435E-8F5A-F3EE555D9908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4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24365663-FE3F-47D4-A8D7-729A38C4987D}"/>
              </a:ext>
            </a:extLst>
          </p:cNvPr>
          <p:cNvGrpSpPr/>
          <p:nvPr userDrawn="1"/>
        </p:nvGrpSpPr>
        <p:grpSpPr>
          <a:xfrm rot="16200000">
            <a:off x="11450432" y="-296031"/>
            <a:ext cx="333375" cy="130580"/>
            <a:chOff x="-133350" y="2717395"/>
            <a:chExt cx="333375" cy="130580"/>
          </a:xfrm>
        </p:grpSpPr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92EE37E1-8647-4AEB-9AEE-FF0711435F3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C2B4E3D7-0BC3-4BC1-B86B-DD51E9785755}"/>
                </a:ext>
              </a:extLst>
            </p:cNvPr>
            <p:cNvSpPr txBox="1"/>
            <p:nvPr userDrawn="1"/>
          </p:nvSpPr>
          <p:spPr>
            <a:xfrm>
              <a:off x="-82072" y="2717395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430291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079717-E97F-4041-A2DA-BCAED95A5C61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B908A7-A1D8-4FB7-9CB4-BDC3E20D2B6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7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72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A9DBE995-23F2-460C-86CC-60633EED251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6" cy="224870"/>
          </a:xfrm>
        </p:spPr>
        <p:txBody>
          <a:bodyPr wrap="square">
            <a:spAutoFit/>
          </a:bodyPr>
          <a:lstStyle>
            <a:lvl1pPr>
              <a:defRPr sz="144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024811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1660C-C7C1-473E-BEF9-D7441416578B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B25E710-D493-4189-8EF7-00ABE0AB56E5}"/>
              </a:ext>
            </a:extLst>
          </p:cNvPr>
          <p:cNvSpPr/>
          <p:nvPr userDrawn="1"/>
        </p:nvSpPr>
        <p:spPr>
          <a:xfrm>
            <a:off x="518318" y="1631156"/>
            <a:ext cx="11157746" cy="45696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62000" rIns="162000" bIns="162000" rtlCol="0" anchor="ctr"/>
          <a:lstStyle/>
          <a:p>
            <a:pPr marL="0" marR="0" indent="0" algn="l" defTabSz="82296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4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2F509DB-422D-41FB-A02B-822A0A204E4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97190" y="2835964"/>
            <a:ext cx="7200000" cy="2160000"/>
          </a:xfrm>
        </p:spPr>
        <p:txBody>
          <a:bodyPr rIns="0" anchor="ctr" anchorCtr="0">
            <a:normAutofit/>
          </a:bodyPr>
          <a:lstStyle>
            <a:lvl1pPr algn="ctr">
              <a:defRPr sz="1800" i="1"/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„Mastertextformat bearbeiten“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F862885B-685B-4384-B9F0-6266AD0BDA76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7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72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C209FD4A-C7D6-4B64-AD6B-63B653F6B00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6" cy="224870"/>
          </a:xfrm>
        </p:spPr>
        <p:txBody>
          <a:bodyPr wrap="square">
            <a:spAutoFit/>
          </a:bodyPr>
          <a:lstStyle>
            <a:lvl1pPr>
              <a:defRPr sz="144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354895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7"/>
            <a:ext cx="12192000" cy="5229225"/>
          </a:xfrm>
          <a:gradFill>
            <a:gsLst>
              <a:gs pos="50000">
                <a:schemeClr val="accent4">
                  <a:alpha val="50000"/>
                </a:schemeClr>
              </a:gs>
              <a:gs pos="5000">
                <a:schemeClr val="accent4"/>
              </a:gs>
              <a:gs pos="100000">
                <a:schemeClr val="accent4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36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/>
              <a:t> </a:t>
            </a:r>
          </a:p>
        </p:txBody>
      </p:sp>
      <p:sp>
        <p:nvSpPr>
          <p:cNvPr id="59" name="Bildplatzhalter 60">
            <a:extLst>
              <a:ext uri="{FF2B5EF4-FFF2-40B4-BE49-F238E27FC236}">
                <a16:creationId xmlns:a16="http://schemas.microsoft.com/office/drawing/2014/main" id="{92CE05A2-27DE-4191-8A63-5C7C7ACA37C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BD8B083-79E8-44E1-BA43-E993160F02E1}"/>
              </a:ext>
            </a:extLst>
          </p:cNvPr>
          <p:cNvSpPr/>
          <p:nvPr userDrawn="1"/>
        </p:nvSpPr>
        <p:spPr>
          <a:xfrm>
            <a:off x="518400" y="1196733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20"/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2726052"/>
            <a:ext cx="11157746" cy="1405898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32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/>
              <a:t>Vielen Dank</a:t>
            </a:r>
            <a:br>
              <a:rPr lang="de-DE"/>
            </a:br>
            <a:r>
              <a:rPr lang="de-DE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5"/>
            <a:ext cx="1619126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620"/>
          </a:p>
        </p:txBody>
      </p: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0C3B9D07-F821-46AB-95B1-D19222D00FD7}"/>
              </a:ext>
            </a:extLst>
          </p:cNvPr>
          <p:cNvGrpSpPr/>
          <p:nvPr userDrawn="1"/>
        </p:nvGrpSpPr>
        <p:grpSpPr>
          <a:xfrm>
            <a:off x="-390525" y="160153"/>
            <a:ext cx="333376" cy="136812"/>
            <a:chOff x="-133350" y="2711163"/>
            <a:chExt cx="333375" cy="136812"/>
          </a:xfrm>
        </p:grpSpPr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22380010-0050-441D-BA9C-97B5835158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C13F555F-C26E-4B21-A77C-6CA7380155F8}"/>
                </a:ext>
              </a:extLst>
            </p:cNvPr>
            <p:cNvSpPr txBox="1"/>
            <p:nvPr userDrawn="1"/>
          </p:nvSpPr>
          <p:spPr>
            <a:xfrm>
              <a:off x="-82078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705760C0-8935-4141-9AEE-BB96816B3799}"/>
              </a:ext>
            </a:extLst>
          </p:cNvPr>
          <p:cNvGrpSpPr/>
          <p:nvPr userDrawn="1"/>
        </p:nvGrpSpPr>
        <p:grpSpPr>
          <a:xfrm>
            <a:off x="-390525" y="1131703"/>
            <a:ext cx="333376" cy="136812"/>
            <a:chOff x="-133350" y="2711163"/>
            <a:chExt cx="333375" cy="136812"/>
          </a:xfrm>
        </p:grpSpPr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EBE9DAC0-7790-4611-B602-40B3CD18C73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1FBE1EE4-3D10-40E7-9F1E-627A51E59C61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B25E0919-4E1B-4A97-A1C2-6AE7D2A59920}"/>
              </a:ext>
            </a:extLst>
          </p:cNvPr>
          <p:cNvGrpSpPr/>
          <p:nvPr userDrawn="1"/>
        </p:nvGrpSpPr>
        <p:grpSpPr>
          <a:xfrm>
            <a:off x="-390525" y="1491963"/>
            <a:ext cx="333376" cy="136812"/>
            <a:chOff x="-133350" y="2711163"/>
            <a:chExt cx="333375" cy="136812"/>
          </a:xfrm>
        </p:grpSpPr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849FBB7D-3378-4F36-B80B-3E0BDCA834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6141066E-6566-420D-B6EB-886DF25CCD11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87A742EA-EC3D-47DE-9C2D-533639983C8D}"/>
              </a:ext>
            </a:extLst>
          </p:cNvPr>
          <p:cNvGrpSpPr/>
          <p:nvPr userDrawn="1"/>
        </p:nvGrpSpPr>
        <p:grpSpPr>
          <a:xfrm>
            <a:off x="-390525" y="3292188"/>
            <a:ext cx="333376" cy="136812"/>
            <a:chOff x="-133350" y="2711163"/>
            <a:chExt cx="333375" cy="136812"/>
          </a:xfrm>
        </p:grpSpPr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846719FD-F8B1-447D-8561-7A1E238E8A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2ABDBC31-5895-4E49-887D-433A43B32DBC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AEF4BF1C-C847-48A1-A7BF-3BEE82EF1C59}"/>
              </a:ext>
            </a:extLst>
          </p:cNvPr>
          <p:cNvGrpSpPr/>
          <p:nvPr userDrawn="1"/>
        </p:nvGrpSpPr>
        <p:grpSpPr>
          <a:xfrm>
            <a:off x="-390525" y="6063963"/>
            <a:ext cx="333376" cy="136812"/>
            <a:chOff x="-133350" y="2711163"/>
            <a:chExt cx="333375" cy="136812"/>
          </a:xfrm>
        </p:grpSpPr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1CF60061-B6B2-4FE6-9482-278DFD418B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73D29742-39CB-41E5-B346-BADC9743E285}"/>
                </a:ext>
              </a:extLst>
            </p:cNvPr>
            <p:cNvSpPr txBox="1"/>
            <p:nvPr userDrawn="1"/>
          </p:nvSpPr>
          <p:spPr>
            <a:xfrm>
              <a:off x="-82076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77" name="Gruppieren 76">
            <a:extLst>
              <a:ext uri="{FF2B5EF4-FFF2-40B4-BE49-F238E27FC236}">
                <a16:creationId xmlns:a16="http://schemas.microsoft.com/office/drawing/2014/main" id="{D55A5473-7182-4B24-8843-51E2ADF3D492}"/>
              </a:ext>
            </a:extLst>
          </p:cNvPr>
          <p:cNvGrpSpPr/>
          <p:nvPr userDrawn="1"/>
        </p:nvGrpSpPr>
        <p:grpSpPr>
          <a:xfrm>
            <a:off x="-390525" y="6495763"/>
            <a:ext cx="333376" cy="136812"/>
            <a:chOff x="-133350" y="2711163"/>
            <a:chExt cx="333375" cy="136812"/>
          </a:xfrm>
        </p:grpSpPr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204A095A-3A24-4259-92A8-4500898AC0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82971EAD-9159-4D12-8726-4FBE6AFA23F0}"/>
                </a:ext>
              </a:extLst>
            </p:cNvPr>
            <p:cNvSpPr txBox="1"/>
            <p:nvPr userDrawn="1"/>
          </p:nvSpPr>
          <p:spPr>
            <a:xfrm>
              <a:off x="-82075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80" name="Gruppieren 79">
            <a:extLst>
              <a:ext uri="{FF2B5EF4-FFF2-40B4-BE49-F238E27FC236}">
                <a16:creationId xmlns:a16="http://schemas.microsoft.com/office/drawing/2014/main" id="{D1FF9524-93DA-476B-89EA-9E475617F2D9}"/>
              </a:ext>
            </a:extLst>
          </p:cNvPr>
          <p:cNvGrpSpPr/>
          <p:nvPr userDrawn="1"/>
        </p:nvGrpSpPr>
        <p:grpSpPr>
          <a:xfrm rot="16200000">
            <a:off x="284750" y="-296027"/>
            <a:ext cx="333375" cy="130588"/>
            <a:chOff x="-133350" y="2717387"/>
            <a:chExt cx="333375" cy="130588"/>
          </a:xfrm>
        </p:grpSpPr>
        <p:cxnSp>
          <p:nvCxnSpPr>
            <p:cNvPr id="81" name="Gerader Verbinder 80">
              <a:extLst>
                <a:ext uri="{FF2B5EF4-FFF2-40B4-BE49-F238E27FC236}">
                  <a16:creationId xmlns:a16="http://schemas.microsoft.com/office/drawing/2014/main" id="{8DFFD401-DC7D-4F6D-82BF-DC6E357E59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36A6CE9C-ECB8-42E6-B61D-3A0F3C4D7A56}"/>
                </a:ext>
              </a:extLst>
            </p:cNvPr>
            <p:cNvSpPr txBox="1"/>
            <p:nvPr userDrawn="1"/>
          </p:nvSpPr>
          <p:spPr>
            <a:xfrm>
              <a:off x="-82079" y="2717387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20076CAA-CFEC-4359-9762-07ED0661EE26}"/>
              </a:ext>
            </a:extLst>
          </p:cNvPr>
          <p:cNvGrpSpPr/>
          <p:nvPr userDrawn="1"/>
        </p:nvGrpSpPr>
        <p:grpSpPr>
          <a:xfrm rot="16200000">
            <a:off x="5756070" y="-296028"/>
            <a:ext cx="333375" cy="130584"/>
            <a:chOff x="-133350" y="2717391"/>
            <a:chExt cx="333375" cy="130584"/>
          </a:xfrm>
        </p:grpSpPr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91EF761B-D6BF-475C-8903-456E1F0576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413A99B1-6C23-41A6-A82B-0EC01B779471}"/>
                </a:ext>
              </a:extLst>
            </p:cNvPr>
            <p:cNvSpPr txBox="1"/>
            <p:nvPr userDrawn="1"/>
          </p:nvSpPr>
          <p:spPr>
            <a:xfrm>
              <a:off x="-82076" y="2717391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16CE4EF7-E819-4747-A9E4-8C86F991481E}"/>
              </a:ext>
            </a:extLst>
          </p:cNvPr>
          <p:cNvGrpSpPr/>
          <p:nvPr userDrawn="1"/>
        </p:nvGrpSpPr>
        <p:grpSpPr>
          <a:xfrm>
            <a:off x="6203945" y="-397424"/>
            <a:ext cx="118684" cy="333375"/>
            <a:chOff x="6416681" y="-397424"/>
            <a:chExt cx="118684" cy="333375"/>
          </a:xfrm>
        </p:grpSpPr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3B78DE36-86EF-463F-A7E5-0CD3043C9F4D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EAD15804-28A7-4690-889A-7D8A91A7D478}"/>
                </a:ext>
              </a:extLst>
            </p:cNvPr>
            <p:cNvSpPr txBox="1"/>
            <p:nvPr userDrawn="1"/>
          </p:nvSpPr>
          <p:spPr>
            <a:xfrm rot="16200000">
              <a:off x="6363716" y="-286972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9023C4F7-97EF-4D2F-9223-1AFEE89D9C68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4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D5072DFD-BA29-43BB-A0B1-01F593A0242E}"/>
              </a:ext>
            </a:extLst>
          </p:cNvPr>
          <p:cNvGrpSpPr/>
          <p:nvPr userDrawn="1"/>
        </p:nvGrpSpPr>
        <p:grpSpPr>
          <a:xfrm rot="16200000">
            <a:off x="11450432" y="-296031"/>
            <a:ext cx="333375" cy="130580"/>
            <a:chOff x="-133350" y="2717395"/>
            <a:chExt cx="333375" cy="130580"/>
          </a:xfrm>
        </p:grpSpPr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A9C77A6D-E177-4B69-A5A1-6B77E4229F3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701274C6-5A42-4082-BC4B-8532BFB4CC40}"/>
                </a:ext>
              </a:extLst>
            </p:cNvPr>
            <p:cNvSpPr txBox="1"/>
            <p:nvPr userDrawn="1"/>
          </p:nvSpPr>
          <p:spPr>
            <a:xfrm>
              <a:off x="-82072" y="2717395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15" name="Grafik 3">
            <a:extLst>
              <a:ext uri="{FF2B5EF4-FFF2-40B4-BE49-F238E27FC236}">
                <a16:creationId xmlns:a16="http://schemas.microsoft.com/office/drawing/2014/main" id="{BA8C8498-B3FB-4699-8D3B-C2363E24DDD2}"/>
              </a:ext>
            </a:extLst>
          </p:cNvPr>
          <p:cNvGrpSpPr/>
          <p:nvPr userDrawn="1"/>
        </p:nvGrpSpPr>
        <p:grpSpPr>
          <a:xfrm>
            <a:off x="510640" y="293688"/>
            <a:ext cx="2631832" cy="563562"/>
            <a:chOff x="4011188" y="1936931"/>
            <a:chExt cx="6776742" cy="1451124"/>
          </a:xfrm>
          <a:solidFill>
            <a:schemeClr val="tx1"/>
          </a:solidFill>
        </p:grpSpPr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CDB6A0FC-BBCF-4363-981A-716E0AAD602B}"/>
                </a:ext>
              </a:extLst>
            </p:cNvPr>
            <p:cNvSpPr/>
            <p:nvPr/>
          </p:nvSpPr>
          <p:spPr>
            <a:xfrm>
              <a:off x="4034676" y="1955336"/>
              <a:ext cx="203537" cy="324184"/>
            </a:xfrm>
            <a:custGeom>
              <a:avLst/>
              <a:gdLst>
                <a:gd name="connsiteX0" fmla="*/ 203538 w 203537"/>
                <a:gd name="connsiteY0" fmla="*/ 52963 h 324184"/>
                <a:gd name="connsiteX1" fmla="*/ 57561 w 203537"/>
                <a:gd name="connsiteY1" fmla="*/ 52963 h 324184"/>
                <a:gd name="connsiteX2" fmla="*/ 57561 w 203537"/>
                <a:gd name="connsiteY2" fmla="*/ 133551 h 324184"/>
                <a:gd name="connsiteX3" fmla="*/ 166694 w 203537"/>
                <a:gd name="connsiteY3" fmla="*/ 133551 h 324184"/>
                <a:gd name="connsiteX4" fmla="*/ 166694 w 203537"/>
                <a:gd name="connsiteY4" fmla="*/ 186045 h 324184"/>
                <a:gd name="connsiteX5" fmla="*/ 57561 w 203537"/>
                <a:gd name="connsiteY5" fmla="*/ 186045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63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63"/>
                  </a:moveTo>
                  <a:lnTo>
                    <a:pt x="57561" y="52963"/>
                  </a:lnTo>
                  <a:lnTo>
                    <a:pt x="57561" y="133551"/>
                  </a:lnTo>
                  <a:lnTo>
                    <a:pt x="166694" y="133551"/>
                  </a:lnTo>
                  <a:lnTo>
                    <a:pt x="166694" y="186045"/>
                  </a:lnTo>
                  <a:lnTo>
                    <a:pt x="57561" y="186045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16474B78-4F38-4264-98D4-D30CA84AC80E}"/>
                </a:ext>
              </a:extLst>
            </p:cNvPr>
            <p:cNvSpPr/>
            <p:nvPr/>
          </p:nvSpPr>
          <p:spPr>
            <a:xfrm>
              <a:off x="426950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94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84 w 141832"/>
                <a:gd name="connsiteY7" fmla="*/ 5979 h 240364"/>
                <a:gd name="connsiteX8" fmla="*/ 53884 w 141832"/>
                <a:gd name="connsiteY8" fmla="*/ 35454 h 240364"/>
                <a:gd name="connsiteX9" fmla="*/ 54797 w 141832"/>
                <a:gd name="connsiteY9" fmla="*/ 35454 h 240364"/>
                <a:gd name="connsiteX10" fmla="*/ 116041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800" y="56631"/>
                    <a:pt x="114668" y="53868"/>
                    <a:pt x="102694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84" y="5979"/>
                  </a:lnTo>
                  <a:lnTo>
                    <a:pt x="53884" y="35454"/>
                  </a:lnTo>
                  <a:lnTo>
                    <a:pt x="54797" y="35454"/>
                  </a:lnTo>
                  <a:cubicBezTo>
                    <a:pt x="67232" y="13348"/>
                    <a:pt x="89338" y="0"/>
                    <a:pt x="116041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750361AA-FFAB-4953-A499-FA36FB58F7A6}"/>
                </a:ext>
              </a:extLst>
            </p:cNvPr>
            <p:cNvSpPr/>
            <p:nvPr/>
          </p:nvSpPr>
          <p:spPr>
            <a:xfrm>
              <a:off x="4450268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5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5 w 69542"/>
                <a:gd name="connsiteY8" fmla="*/ 104076 h 338461"/>
                <a:gd name="connsiteX9" fmla="*/ 62175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76" y="0"/>
                    <a:pt x="69543" y="14277"/>
                    <a:pt x="69543" y="33160"/>
                  </a:cubicBezTo>
                  <a:close/>
                  <a:moveTo>
                    <a:pt x="6217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5" y="104076"/>
                  </a:lnTo>
                  <a:lnTo>
                    <a:pt x="6217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056166AE-E09C-4601-9BAA-382FC22D4469}"/>
                </a:ext>
              </a:extLst>
            </p:cNvPr>
            <p:cNvSpPr/>
            <p:nvPr/>
          </p:nvSpPr>
          <p:spPr>
            <a:xfrm>
              <a:off x="4570153" y="2039148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6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8"/>
                    <a:pt x="83360" y="198924"/>
                    <a:pt x="116511" y="198924"/>
                  </a:cubicBezTo>
                  <a:cubicBezTo>
                    <a:pt x="138157" y="198924"/>
                    <a:pt x="155657" y="190634"/>
                    <a:pt x="174079" y="171291"/>
                  </a:cubicBezTo>
                  <a:lnTo>
                    <a:pt x="208152" y="207214"/>
                  </a:lnTo>
                  <a:cubicBezTo>
                    <a:pt x="181431" y="233465"/>
                    <a:pt x="151495" y="245900"/>
                    <a:pt x="116042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6"/>
                    <a:pt x="109125" y="45126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F86D92C2-582A-4B29-9805-84BE192C633C}"/>
                </a:ext>
              </a:extLst>
            </p:cNvPr>
            <p:cNvSpPr/>
            <p:nvPr/>
          </p:nvSpPr>
          <p:spPr>
            <a:xfrm>
              <a:off x="4831929" y="1936931"/>
              <a:ext cx="219187" cy="348116"/>
            </a:xfrm>
            <a:custGeom>
              <a:avLst/>
              <a:gdLst>
                <a:gd name="connsiteX0" fmla="*/ 0 w 219187"/>
                <a:gd name="connsiteY0" fmla="*/ 224706 h 348116"/>
                <a:gd name="connsiteX1" fmla="*/ 95317 w 219187"/>
                <a:gd name="connsiteY1" fmla="*/ 102217 h 348116"/>
                <a:gd name="connsiteX2" fmla="*/ 163478 w 219187"/>
                <a:gd name="connsiteY2" fmla="*/ 133986 h 348116"/>
                <a:gd name="connsiteX3" fmla="*/ 164391 w 219187"/>
                <a:gd name="connsiteY3" fmla="*/ 133986 h 348116"/>
                <a:gd name="connsiteX4" fmla="*/ 164391 w 219187"/>
                <a:gd name="connsiteY4" fmla="*/ 13808 h 348116"/>
                <a:gd name="connsiteX5" fmla="*/ 219188 w 219187"/>
                <a:gd name="connsiteY5" fmla="*/ 0 h 348116"/>
                <a:gd name="connsiteX6" fmla="*/ 219188 w 219187"/>
                <a:gd name="connsiteY6" fmla="*/ 342590 h 348116"/>
                <a:gd name="connsiteX7" fmla="*/ 165773 w 219187"/>
                <a:gd name="connsiteY7" fmla="*/ 342590 h 348116"/>
                <a:gd name="connsiteX8" fmla="*/ 165773 w 219187"/>
                <a:gd name="connsiteY8" fmla="*/ 314957 h 348116"/>
                <a:gd name="connsiteX9" fmla="*/ 164851 w 219187"/>
                <a:gd name="connsiteY9" fmla="*/ 314957 h 348116"/>
                <a:gd name="connsiteX10" fmla="*/ 94404 w 219187"/>
                <a:gd name="connsiteY10" fmla="*/ 348117 h 348116"/>
                <a:gd name="connsiteX11" fmla="*/ 0 w 219187"/>
                <a:gd name="connsiteY11" fmla="*/ 224706 h 348116"/>
                <a:gd name="connsiteX12" fmla="*/ 54328 w 219187"/>
                <a:gd name="connsiteY12" fmla="*/ 224706 h 348116"/>
                <a:gd name="connsiteX13" fmla="*/ 108664 w 219187"/>
                <a:gd name="connsiteY13" fmla="*/ 299767 h 348116"/>
                <a:gd name="connsiteX14" fmla="*/ 164383 w 219187"/>
                <a:gd name="connsiteY14" fmla="*/ 268911 h 348116"/>
                <a:gd name="connsiteX15" fmla="*/ 164383 w 219187"/>
                <a:gd name="connsiteY15" fmla="*/ 183265 h 348116"/>
                <a:gd name="connsiteX16" fmla="*/ 108664 w 219187"/>
                <a:gd name="connsiteY16" fmla="*/ 151956 h 348116"/>
                <a:gd name="connsiteX17" fmla="*/ 54328 w 219187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87" h="348116">
                  <a:moveTo>
                    <a:pt x="0" y="224706"/>
                  </a:moveTo>
                  <a:cubicBezTo>
                    <a:pt x="0" y="149185"/>
                    <a:pt x="38217" y="102217"/>
                    <a:pt x="95317" y="102217"/>
                  </a:cubicBezTo>
                  <a:cubicBezTo>
                    <a:pt x="124792" y="102217"/>
                    <a:pt x="147819" y="114643"/>
                    <a:pt x="163478" y="133986"/>
                  </a:cubicBezTo>
                  <a:lnTo>
                    <a:pt x="164391" y="133986"/>
                  </a:lnTo>
                  <a:lnTo>
                    <a:pt x="164391" y="13808"/>
                  </a:lnTo>
                  <a:lnTo>
                    <a:pt x="219188" y="0"/>
                  </a:lnTo>
                  <a:lnTo>
                    <a:pt x="219188" y="342590"/>
                  </a:lnTo>
                  <a:lnTo>
                    <a:pt x="165773" y="342590"/>
                  </a:lnTo>
                  <a:lnTo>
                    <a:pt x="165773" y="314957"/>
                  </a:lnTo>
                  <a:lnTo>
                    <a:pt x="164851" y="314957"/>
                  </a:lnTo>
                  <a:cubicBezTo>
                    <a:pt x="147819" y="335682"/>
                    <a:pt x="123410" y="348117"/>
                    <a:pt x="94404" y="348117"/>
                  </a:cubicBezTo>
                  <a:cubicBezTo>
                    <a:pt x="38677" y="348117"/>
                    <a:pt x="0" y="300689"/>
                    <a:pt x="0" y="224706"/>
                  </a:cubicBezTo>
                  <a:close/>
                  <a:moveTo>
                    <a:pt x="54328" y="224706"/>
                  </a:moveTo>
                  <a:cubicBezTo>
                    <a:pt x="54328" y="272595"/>
                    <a:pt x="74131" y="299767"/>
                    <a:pt x="108664" y="299767"/>
                  </a:cubicBezTo>
                  <a:cubicBezTo>
                    <a:pt x="129849" y="299767"/>
                    <a:pt x="147351" y="289635"/>
                    <a:pt x="164383" y="268911"/>
                  </a:cubicBezTo>
                  <a:lnTo>
                    <a:pt x="164383" y="183265"/>
                  </a:lnTo>
                  <a:cubicBezTo>
                    <a:pt x="148732" y="162088"/>
                    <a:pt x="130762" y="151956"/>
                    <a:pt x="108664" y="151956"/>
                  </a:cubicBezTo>
                  <a:cubicBezTo>
                    <a:pt x="73210" y="151956"/>
                    <a:pt x="54328" y="177739"/>
                    <a:pt x="54328" y="224706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118F9F96-378C-44FD-B853-EB8BD3F0E874}"/>
                </a:ext>
              </a:extLst>
            </p:cNvPr>
            <p:cNvSpPr/>
            <p:nvPr/>
          </p:nvSpPr>
          <p:spPr>
            <a:xfrm>
              <a:off x="512248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86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7 w 141832"/>
                <a:gd name="connsiteY9" fmla="*/ 35454 h 240364"/>
                <a:gd name="connsiteX10" fmla="*/ 116033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792" y="56631"/>
                    <a:pt x="114660" y="53868"/>
                    <a:pt x="102686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3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8042DCA9-4694-4769-A5A3-FC344870A4EA}"/>
                </a:ext>
              </a:extLst>
            </p:cNvPr>
            <p:cNvSpPr/>
            <p:nvPr/>
          </p:nvSpPr>
          <p:spPr>
            <a:xfrm>
              <a:off x="5303239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F00A25A4-1F62-4078-A44B-C4D4D70E444D}"/>
                </a:ext>
              </a:extLst>
            </p:cNvPr>
            <p:cNvSpPr/>
            <p:nvPr/>
          </p:nvSpPr>
          <p:spPr>
            <a:xfrm>
              <a:off x="5424179" y="2039156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2"/>
                    <a:pt x="112809" y="50192"/>
                  </a:cubicBezTo>
                  <a:cubicBezTo>
                    <a:pt x="78277" y="50192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71" y="196161"/>
                    <a:pt x="145509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28CFB822-A07B-4A27-9078-A5D01175B870}"/>
                </a:ext>
              </a:extLst>
            </p:cNvPr>
            <p:cNvSpPr/>
            <p:nvPr/>
          </p:nvSpPr>
          <p:spPr>
            <a:xfrm>
              <a:off x="5668731" y="1936931"/>
              <a:ext cx="201695" cy="342590"/>
            </a:xfrm>
            <a:custGeom>
              <a:avLst/>
              <a:gdLst>
                <a:gd name="connsiteX0" fmla="*/ 201695 w 201695"/>
                <a:gd name="connsiteY0" fmla="*/ 342590 h 342590"/>
                <a:gd name="connsiteX1" fmla="*/ 146898 w 201695"/>
                <a:gd name="connsiteY1" fmla="*/ 342590 h 342590"/>
                <a:gd name="connsiteX2" fmla="*/ 146898 w 201695"/>
                <a:gd name="connsiteY2" fmla="*/ 208587 h 342590"/>
                <a:gd name="connsiteX3" fmla="*/ 103607 w 201695"/>
                <a:gd name="connsiteY3" fmla="*/ 151487 h 342590"/>
                <a:gd name="connsiteX4" fmla="*/ 54797 w 201695"/>
                <a:gd name="connsiteY4" fmla="*/ 208135 h 342590"/>
                <a:gd name="connsiteX5" fmla="*/ 54797 w 201695"/>
                <a:gd name="connsiteY5" fmla="*/ 342590 h 342590"/>
                <a:gd name="connsiteX6" fmla="*/ 0 w 201695"/>
                <a:gd name="connsiteY6" fmla="*/ 342590 h 342590"/>
                <a:gd name="connsiteX7" fmla="*/ 0 w 201695"/>
                <a:gd name="connsiteY7" fmla="*/ 13808 h 342590"/>
                <a:gd name="connsiteX8" fmla="*/ 54797 w 201695"/>
                <a:gd name="connsiteY8" fmla="*/ 0 h 342590"/>
                <a:gd name="connsiteX9" fmla="*/ 54797 w 201695"/>
                <a:gd name="connsiteY9" fmla="*/ 136298 h 342590"/>
                <a:gd name="connsiteX10" fmla="*/ 55718 w 201695"/>
                <a:gd name="connsiteY10" fmla="*/ 136298 h 342590"/>
                <a:gd name="connsiteX11" fmla="*/ 124323 w 201695"/>
                <a:gd name="connsiteY11" fmla="*/ 102225 h 342590"/>
                <a:gd name="connsiteX12" fmla="*/ 201687 w 201695"/>
                <a:gd name="connsiteY12" fmla="*/ 197082 h 342590"/>
                <a:gd name="connsiteX13" fmla="*/ 201687 w 201695"/>
                <a:gd name="connsiteY13" fmla="*/ 342590 h 34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0">
                  <a:moveTo>
                    <a:pt x="201695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297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0"/>
                  </a:lnTo>
                  <a:lnTo>
                    <a:pt x="0" y="342590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DBCC3206-8DD2-4C8A-B7F6-9C59E5A9FED9}"/>
                </a:ext>
              </a:extLst>
            </p:cNvPr>
            <p:cNvSpPr/>
            <p:nvPr/>
          </p:nvSpPr>
          <p:spPr>
            <a:xfrm>
              <a:off x="5933312" y="2109603"/>
              <a:ext cx="115120" cy="52033"/>
            </a:xfrm>
            <a:custGeom>
              <a:avLst/>
              <a:gdLst>
                <a:gd name="connsiteX0" fmla="*/ 115121 w 115120"/>
                <a:gd name="connsiteY0" fmla="*/ 52034 h 52033"/>
                <a:gd name="connsiteX1" fmla="*/ 0 w 115120"/>
                <a:gd name="connsiteY1" fmla="*/ 52034 h 52033"/>
                <a:gd name="connsiteX2" fmla="*/ 0 w 115120"/>
                <a:gd name="connsiteY2" fmla="*/ 0 h 52033"/>
                <a:gd name="connsiteX3" fmla="*/ 115121 w 115120"/>
                <a:gd name="connsiteY3" fmla="*/ 0 h 52033"/>
                <a:gd name="connsiteX4" fmla="*/ 115121 w 115120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20" h="52033">
                  <a:moveTo>
                    <a:pt x="115121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1" y="0"/>
                  </a:lnTo>
                  <a:lnTo>
                    <a:pt x="115121" y="52034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424D3113-E668-441E-8951-A32BE015C3B0}"/>
                </a:ext>
              </a:extLst>
            </p:cNvPr>
            <p:cNvSpPr/>
            <p:nvPr/>
          </p:nvSpPr>
          <p:spPr>
            <a:xfrm>
              <a:off x="6076636" y="1955336"/>
              <a:ext cx="302078" cy="324184"/>
            </a:xfrm>
            <a:custGeom>
              <a:avLst/>
              <a:gdLst>
                <a:gd name="connsiteX0" fmla="*/ 120647 w 302078"/>
                <a:gd name="connsiteY0" fmla="*/ 0 h 324184"/>
                <a:gd name="connsiteX1" fmla="*/ 181431 w 302078"/>
                <a:gd name="connsiteY1" fmla="*/ 0 h 324184"/>
                <a:gd name="connsiteX2" fmla="*/ 302079 w 302078"/>
                <a:gd name="connsiteY2" fmla="*/ 324185 h 324184"/>
                <a:gd name="connsiteX3" fmla="*/ 238991 w 302078"/>
                <a:gd name="connsiteY3" fmla="*/ 324185 h 324184"/>
                <a:gd name="connsiteX4" fmla="*/ 215503 w 302078"/>
                <a:gd name="connsiteY4" fmla="*/ 255111 h 324184"/>
                <a:gd name="connsiteX5" fmla="*/ 84732 w 302078"/>
                <a:gd name="connsiteY5" fmla="*/ 255111 h 324184"/>
                <a:gd name="connsiteX6" fmla="*/ 61244 w 302078"/>
                <a:gd name="connsiteY6" fmla="*/ 324185 h 324184"/>
                <a:gd name="connsiteX7" fmla="*/ 0 w 302078"/>
                <a:gd name="connsiteY7" fmla="*/ 324185 h 324184"/>
                <a:gd name="connsiteX8" fmla="*/ 120647 w 302078"/>
                <a:gd name="connsiteY8" fmla="*/ 0 h 324184"/>
                <a:gd name="connsiteX9" fmla="*/ 102686 w 302078"/>
                <a:gd name="connsiteY9" fmla="*/ 203538 h 324184"/>
                <a:gd name="connsiteX10" fmla="*/ 197542 w 302078"/>
                <a:gd name="connsiteY10" fmla="*/ 203538 h 324184"/>
                <a:gd name="connsiteX11" fmla="*/ 150575 w 302078"/>
                <a:gd name="connsiteY11" fmla="*/ 65859 h 324184"/>
                <a:gd name="connsiteX12" fmla="*/ 149654 w 302078"/>
                <a:gd name="connsiteY12" fmla="*/ 65859 h 324184"/>
                <a:gd name="connsiteX13" fmla="*/ 102686 w 302078"/>
                <a:gd name="connsiteY13" fmla="*/ 203538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2078" h="324184">
                  <a:moveTo>
                    <a:pt x="120647" y="0"/>
                  </a:moveTo>
                  <a:lnTo>
                    <a:pt x="181431" y="0"/>
                  </a:lnTo>
                  <a:lnTo>
                    <a:pt x="302079" y="324185"/>
                  </a:lnTo>
                  <a:lnTo>
                    <a:pt x="238991" y="324185"/>
                  </a:lnTo>
                  <a:lnTo>
                    <a:pt x="215503" y="255111"/>
                  </a:lnTo>
                  <a:lnTo>
                    <a:pt x="84732" y="255111"/>
                  </a:lnTo>
                  <a:lnTo>
                    <a:pt x="61244" y="324185"/>
                  </a:lnTo>
                  <a:lnTo>
                    <a:pt x="0" y="324185"/>
                  </a:lnTo>
                  <a:lnTo>
                    <a:pt x="120647" y="0"/>
                  </a:lnTo>
                  <a:close/>
                  <a:moveTo>
                    <a:pt x="102686" y="203538"/>
                  </a:moveTo>
                  <a:lnTo>
                    <a:pt x="197542" y="203538"/>
                  </a:lnTo>
                  <a:lnTo>
                    <a:pt x="150575" y="65859"/>
                  </a:lnTo>
                  <a:lnTo>
                    <a:pt x="149654" y="65859"/>
                  </a:lnTo>
                  <a:lnTo>
                    <a:pt x="102686" y="20353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970453C7-F0DE-47F0-A556-633D71E12AF3}"/>
                </a:ext>
              </a:extLst>
            </p:cNvPr>
            <p:cNvSpPr/>
            <p:nvPr/>
          </p:nvSpPr>
          <p:spPr>
            <a:xfrm>
              <a:off x="6426787" y="1937383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4F84A0C8-4213-4B72-A3AD-CD286700FA17}"/>
                </a:ext>
              </a:extLst>
            </p:cNvPr>
            <p:cNvSpPr/>
            <p:nvPr/>
          </p:nvSpPr>
          <p:spPr>
            <a:xfrm>
              <a:off x="6541003" y="2039148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0 w 214130"/>
                <a:gd name="connsiteY3" fmla="*/ 119266 h 245899"/>
                <a:gd name="connsiteX4" fmla="*/ 213209 w 214130"/>
                <a:gd name="connsiteY4" fmla="*/ 141824 h 245899"/>
                <a:gd name="connsiteX5" fmla="*/ 55726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6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0" y="46968"/>
                    <a:pt x="214130" y="119266"/>
                  </a:cubicBezTo>
                  <a:cubicBezTo>
                    <a:pt x="214130" y="127095"/>
                    <a:pt x="213670" y="135385"/>
                    <a:pt x="213209" y="141824"/>
                  </a:cubicBezTo>
                  <a:lnTo>
                    <a:pt x="55726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31" y="233465"/>
                    <a:pt x="151487" y="245900"/>
                    <a:pt x="116033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72" y="65850"/>
                    <a:pt x="139990" y="45126"/>
                    <a:pt x="109134" y="45126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81DDED70-42A5-47B0-97F2-08BDBD624DBB}"/>
                </a:ext>
              </a:extLst>
            </p:cNvPr>
            <p:cNvSpPr/>
            <p:nvPr/>
          </p:nvSpPr>
          <p:spPr>
            <a:xfrm>
              <a:off x="6784224" y="2045127"/>
              <a:ext cx="224245" cy="234394"/>
            </a:xfrm>
            <a:custGeom>
              <a:avLst/>
              <a:gdLst>
                <a:gd name="connsiteX0" fmla="*/ 224245 w 224245"/>
                <a:gd name="connsiteY0" fmla="*/ 234395 h 234394"/>
                <a:gd name="connsiteX1" fmla="*/ 161619 w 224245"/>
                <a:gd name="connsiteY1" fmla="*/ 234395 h 234394"/>
                <a:gd name="connsiteX2" fmla="*/ 111427 w 224245"/>
                <a:gd name="connsiteY2" fmla="*/ 153346 h 234394"/>
                <a:gd name="connsiteX3" fmla="*/ 110515 w 224245"/>
                <a:gd name="connsiteY3" fmla="*/ 153346 h 234394"/>
                <a:gd name="connsiteX4" fmla="*/ 61697 w 224245"/>
                <a:gd name="connsiteY4" fmla="*/ 234395 h 234394"/>
                <a:gd name="connsiteX5" fmla="*/ 0 w 224245"/>
                <a:gd name="connsiteY5" fmla="*/ 234395 h 234394"/>
                <a:gd name="connsiteX6" fmla="*/ 80119 w 224245"/>
                <a:gd name="connsiteY6" fmla="*/ 112826 h 234394"/>
                <a:gd name="connsiteX7" fmla="*/ 5979 w 224245"/>
                <a:gd name="connsiteY7" fmla="*/ 0 h 234394"/>
                <a:gd name="connsiteX8" fmla="*/ 67684 w 224245"/>
                <a:gd name="connsiteY8" fmla="*/ 0 h 234394"/>
                <a:gd name="connsiteX9" fmla="*/ 111888 w 224245"/>
                <a:gd name="connsiteY9" fmla="*/ 71837 h 234394"/>
                <a:gd name="connsiteX10" fmla="*/ 112801 w 224245"/>
                <a:gd name="connsiteY10" fmla="*/ 71837 h 234394"/>
                <a:gd name="connsiteX11" fmla="*/ 156553 w 224245"/>
                <a:gd name="connsiteY11" fmla="*/ 0 h 234394"/>
                <a:gd name="connsiteX12" fmla="*/ 217337 w 224245"/>
                <a:gd name="connsiteY12" fmla="*/ 0 h 234394"/>
                <a:gd name="connsiteX13" fmla="*/ 143657 w 224245"/>
                <a:gd name="connsiteY13" fmla="*/ 111897 h 234394"/>
                <a:gd name="connsiteX14" fmla="*/ 224245 w 224245"/>
                <a:gd name="connsiteY14" fmla="*/ 234395 h 234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4245" h="234394">
                  <a:moveTo>
                    <a:pt x="224245" y="234395"/>
                  </a:moveTo>
                  <a:lnTo>
                    <a:pt x="161619" y="234395"/>
                  </a:lnTo>
                  <a:lnTo>
                    <a:pt x="111427" y="153346"/>
                  </a:lnTo>
                  <a:lnTo>
                    <a:pt x="110515" y="153346"/>
                  </a:lnTo>
                  <a:lnTo>
                    <a:pt x="61697" y="234395"/>
                  </a:lnTo>
                  <a:lnTo>
                    <a:pt x="0" y="234395"/>
                  </a:lnTo>
                  <a:lnTo>
                    <a:pt x="80119" y="112826"/>
                  </a:lnTo>
                  <a:lnTo>
                    <a:pt x="5979" y="0"/>
                  </a:lnTo>
                  <a:lnTo>
                    <a:pt x="67684" y="0"/>
                  </a:lnTo>
                  <a:lnTo>
                    <a:pt x="111888" y="71837"/>
                  </a:lnTo>
                  <a:lnTo>
                    <a:pt x="112801" y="71837"/>
                  </a:lnTo>
                  <a:lnTo>
                    <a:pt x="156553" y="0"/>
                  </a:lnTo>
                  <a:lnTo>
                    <a:pt x="217337" y="0"/>
                  </a:lnTo>
                  <a:lnTo>
                    <a:pt x="143657" y="111897"/>
                  </a:lnTo>
                  <a:lnTo>
                    <a:pt x="224245" y="23439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25CB480C-3D67-472F-ACFE-9E8627F3F787}"/>
                </a:ext>
              </a:extLst>
            </p:cNvPr>
            <p:cNvSpPr/>
            <p:nvPr/>
          </p:nvSpPr>
          <p:spPr>
            <a:xfrm>
              <a:off x="7037149" y="2039148"/>
              <a:ext cx="198924" cy="245899"/>
            </a:xfrm>
            <a:custGeom>
              <a:avLst/>
              <a:gdLst>
                <a:gd name="connsiteX0" fmla="*/ 100835 w 198924"/>
                <a:gd name="connsiteY0" fmla="*/ 94856 h 245899"/>
                <a:gd name="connsiteX1" fmla="*/ 145039 w 198924"/>
                <a:gd name="connsiteY1" fmla="*/ 99922 h 245899"/>
                <a:gd name="connsiteX2" fmla="*/ 145039 w 198924"/>
                <a:gd name="connsiteY2" fmla="*/ 91633 h 245899"/>
                <a:gd name="connsiteX3" fmla="*/ 93466 w 198924"/>
                <a:gd name="connsiteY3" fmla="*/ 46047 h 245899"/>
                <a:gd name="connsiteX4" fmla="*/ 34064 w 198924"/>
                <a:gd name="connsiteY4" fmla="*/ 59402 h 245899"/>
                <a:gd name="connsiteX5" fmla="*/ 22090 w 198924"/>
                <a:gd name="connsiteY5" fmla="*/ 13356 h 245899"/>
                <a:gd name="connsiteX6" fmla="*/ 98993 w 198924"/>
                <a:gd name="connsiteY6" fmla="*/ 0 h 245899"/>
                <a:gd name="connsiteX7" fmla="*/ 198924 w 198924"/>
                <a:gd name="connsiteY7" fmla="*/ 90712 h 245899"/>
                <a:gd name="connsiteX8" fmla="*/ 198924 w 198924"/>
                <a:gd name="connsiteY8" fmla="*/ 240373 h 245899"/>
                <a:gd name="connsiteX9" fmla="*/ 146882 w 198924"/>
                <a:gd name="connsiteY9" fmla="*/ 240373 h 245899"/>
                <a:gd name="connsiteX10" fmla="*/ 146882 w 198924"/>
                <a:gd name="connsiteY10" fmla="*/ 215504 h 245899"/>
                <a:gd name="connsiteX11" fmla="*/ 145969 w 198924"/>
                <a:gd name="connsiteY11" fmla="*/ 215504 h 245899"/>
                <a:gd name="connsiteX12" fmla="*/ 77356 w 198924"/>
                <a:gd name="connsiteY12" fmla="*/ 245900 h 245899"/>
                <a:gd name="connsiteX13" fmla="*/ 0 w 198924"/>
                <a:gd name="connsiteY13" fmla="*/ 171299 h 245899"/>
                <a:gd name="connsiteX14" fmla="*/ 100835 w 198924"/>
                <a:gd name="connsiteY14" fmla="*/ 94856 h 245899"/>
                <a:gd name="connsiteX15" fmla="*/ 91624 w 198924"/>
                <a:gd name="connsiteY15" fmla="*/ 204919 h 245899"/>
                <a:gd name="connsiteX16" fmla="*/ 145039 w 198924"/>
                <a:gd name="connsiteY16" fmla="*/ 176834 h 245899"/>
                <a:gd name="connsiteX17" fmla="*/ 145039 w 198924"/>
                <a:gd name="connsiteY17" fmla="*/ 135845 h 245899"/>
                <a:gd name="connsiteX18" fmla="*/ 106823 w 198924"/>
                <a:gd name="connsiteY18" fmla="*/ 131240 h 245899"/>
                <a:gd name="connsiteX19" fmla="*/ 52486 w 198924"/>
                <a:gd name="connsiteY19" fmla="*/ 169918 h 245899"/>
                <a:gd name="connsiteX20" fmla="*/ 91624 w 198924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4" h="245899">
                  <a:moveTo>
                    <a:pt x="100835" y="94856"/>
                  </a:moveTo>
                  <a:cubicBezTo>
                    <a:pt x="116025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2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46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0" y="204919"/>
                    <a:pt x="129842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9" y="131240"/>
                    <a:pt x="106823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8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F623BA67-8D59-4570-819E-2DD7773DB063}"/>
                </a:ext>
              </a:extLst>
            </p:cNvPr>
            <p:cNvSpPr/>
            <p:nvPr/>
          </p:nvSpPr>
          <p:spPr>
            <a:xfrm>
              <a:off x="7305540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0 w 201695"/>
                <a:gd name="connsiteY1" fmla="*/ 240373 h 240373"/>
                <a:gd name="connsiteX2" fmla="*/ 146890 w 201695"/>
                <a:gd name="connsiteY2" fmla="*/ 106370 h 240373"/>
                <a:gd name="connsiteX3" fmla="*/ 103607 w 201695"/>
                <a:gd name="connsiteY3" fmla="*/ 49270 h 240373"/>
                <a:gd name="connsiteX4" fmla="*/ 54797 w 201695"/>
                <a:gd name="connsiteY4" fmla="*/ 105918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0" y="240373"/>
                  </a:lnTo>
                  <a:lnTo>
                    <a:pt x="146890" y="106370"/>
                  </a:lnTo>
                  <a:cubicBezTo>
                    <a:pt x="146890" y="72298"/>
                    <a:pt x="136767" y="49270"/>
                    <a:pt x="103607" y="49270"/>
                  </a:cubicBezTo>
                  <a:cubicBezTo>
                    <a:pt x="65390" y="49270"/>
                    <a:pt x="54797" y="80588"/>
                    <a:pt x="54797" y="105918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7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60367351-1CE4-4258-8191-FDB59C1B3FDC}"/>
                </a:ext>
              </a:extLst>
            </p:cNvPr>
            <p:cNvSpPr/>
            <p:nvPr/>
          </p:nvSpPr>
          <p:spPr>
            <a:xfrm>
              <a:off x="7565198" y="1936931"/>
              <a:ext cx="219195" cy="348116"/>
            </a:xfrm>
            <a:custGeom>
              <a:avLst/>
              <a:gdLst>
                <a:gd name="connsiteX0" fmla="*/ 0 w 219195"/>
                <a:gd name="connsiteY0" fmla="*/ 224706 h 348116"/>
                <a:gd name="connsiteX1" fmla="*/ 95325 w 219195"/>
                <a:gd name="connsiteY1" fmla="*/ 102217 h 348116"/>
                <a:gd name="connsiteX2" fmla="*/ 163478 w 219195"/>
                <a:gd name="connsiteY2" fmla="*/ 133986 h 348116"/>
                <a:gd name="connsiteX3" fmla="*/ 164399 w 219195"/>
                <a:gd name="connsiteY3" fmla="*/ 133986 h 348116"/>
                <a:gd name="connsiteX4" fmla="*/ 164399 w 219195"/>
                <a:gd name="connsiteY4" fmla="*/ 13808 h 348116"/>
                <a:gd name="connsiteX5" fmla="*/ 219196 w 219195"/>
                <a:gd name="connsiteY5" fmla="*/ 0 h 348116"/>
                <a:gd name="connsiteX6" fmla="*/ 219196 w 219195"/>
                <a:gd name="connsiteY6" fmla="*/ 342590 h 348116"/>
                <a:gd name="connsiteX7" fmla="*/ 165781 w 219195"/>
                <a:gd name="connsiteY7" fmla="*/ 342590 h 348116"/>
                <a:gd name="connsiteX8" fmla="*/ 165781 w 219195"/>
                <a:gd name="connsiteY8" fmla="*/ 314957 h 348116"/>
                <a:gd name="connsiteX9" fmla="*/ 164859 w 219195"/>
                <a:gd name="connsiteY9" fmla="*/ 314957 h 348116"/>
                <a:gd name="connsiteX10" fmla="*/ 94404 w 219195"/>
                <a:gd name="connsiteY10" fmla="*/ 348117 h 348116"/>
                <a:gd name="connsiteX11" fmla="*/ 0 w 219195"/>
                <a:gd name="connsiteY11" fmla="*/ 224706 h 348116"/>
                <a:gd name="connsiteX12" fmla="*/ 54336 w 219195"/>
                <a:gd name="connsiteY12" fmla="*/ 224706 h 348116"/>
                <a:gd name="connsiteX13" fmla="*/ 108673 w 219195"/>
                <a:gd name="connsiteY13" fmla="*/ 299767 h 348116"/>
                <a:gd name="connsiteX14" fmla="*/ 164391 w 219195"/>
                <a:gd name="connsiteY14" fmla="*/ 268911 h 348116"/>
                <a:gd name="connsiteX15" fmla="*/ 164391 w 219195"/>
                <a:gd name="connsiteY15" fmla="*/ 183265 h 348116"/>
                <a:gd name="connsiteX16" fmla="*/ 108673 w 219195"/>
                <a:gd name="connsiteY16" fmla="*/ 151956 h 348116"/>
                <a:gd name="connsiteX17" fmla="*/ 54336 w 219195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5" h="348116">
                  <a:moveTo>
                    <a:pt x="0" y="224706"/>
                  </a:moveTo>
                  <a:cubicBezTo>
                    <a:pt x="0" y="149185"/>
                    <a:pt x="38217" y="102217"/>
                    <a:pt x="95325" y="102217"/>
                  </a:cubicBezTo>
                  <a:cubicBezTo>
                    <a:pt x="124800" y="102217"/>
                    <a:pt x="147828" y="114643"/>
                    <a:pt x="163478" y="133986"/>
                  </a:cubicBezTo>
                  <a:lnTo>
                    <a:pt x="164399" y="133986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0"/>
                  </a:lnTo>
                  <a:lnTo>
                    <a:pt x="165781" y="342590"/>
                  </a:lnTo>
                  <a:lnTo>
                    <a:pt x="165781" y="314957"/>
                  </a:lnTo>
                  <a:lnTo>
                    <a:pt x="164859" y="314957"/>
                  </a:lnTo>
                  <a:cubicBezTo>
                    <a:pt x="147828" y="335682"/>
                    <a:pt x="123418" y="348117"/>
                    <a:pt x="94404" y="348117"/>
                  </a:cubicBezTo>
                  <a:cubicBezTo>
                    <a:pt x="38686" y="348117"/>
                    <a:pt x="0" y="300689"/>
                    <a:pt x="0" y="224706"/>
                  </a:cubicBezTo>
                  <a:close/>
                  <a:moveTo>
                    <a:pt x="54336" y="224706"/>
                  </a:moveTo>
                  <a:cubicBezTo>
                    <a:pt x="54336" y="272595"/>
                    <a:pt x="74140" y="299767"/>
                    <a:pt x="108673" y="299767"/>
                  </a:cubicBezTo>
                  <a:cubicBezTo>
                    <a:pt x="129850" y="299767"/>
                    <a:pt x="147351" y="289635"/>
                    <a:pt x="164391" y="268911"/>
                  </a:cubicBezTo>
                  <a:lnTo>
                    <a:pt x="164391" y="183265"/>
                  </a:lnTo>
                  <a:cubicBezTo>
                    <a:pt x="148733" y="162088"/>
                    <a:pt x="130771" y="151956"/>
                    <a:pt x="108673" y="151956"/>
                  </a:cubicBezTo>
                  <a:cubicBezTo>
                    <a:pt x="73219" y="151956"/>
                    <a:pt x="54336" y="177739"/>
                    <a:pt x="54336" y="224706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5BDDEE2C-25FB-4022-B55B-F5882A7C2A56}"/>
                </a:ext>
              </a:extLst>
            </p:cNvPr>
            <p:cNvSpPr/>
            <p:nvPr/>
          </p:nvSpPr>
          <p:spPr>
            <a:xfrm>
              <a:off x="7843881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89 w 214130"/>
                <a:gd name="connsiteY10" fmla="*/ 101765 h 245899"/>
                <a:gd name="connsiteX11" fmla="*/ 161160 w 214130"/>
                <a:gd name="connsiteY11" fmla="*/ 101765 h 245899"/>
                <a:gd name="connsiteX12" fmla="*/ 109125 w 214130"/>
                <a:gd name="connsiteY12" fmla="*/ 45126 h 245899"/>
                <a:gd name="connsiteX13" fmla="*/ 54789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23" y="233465"/>
                    <a:pt x="151496" y="245900"/>
                    <a:pt x="116034" y="245900"/>
                  </a:cubicBezTo>
                  <a:close/>
                  <a:moveTo>
                    <a:pt x="54789" y="101765"/>
                  </a:moveTo>
                  <a:lnTo>
                    <a:pt x="161160" y="101765"/>
                  </a:lnTo>
                  <a:cubicBezTo>
                    <a:pt x="158857" y="65850"/>
                    <a:pt x="139982" y="45126"/>
                    <a:pt x="109125" y="45126"/>
                  </a:cubicBezTo>
                  <a:cubicBezTo>
                    <a:pt x="78738" y="45134"/>
                    <a:pt x="59394" y="65390"/>
                    <a:pt x="54789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616535D9-C0A4-42CF-9C54-6DB06DFDFE6E}"/>
                </a:ext>
              </a:extLst>
            </p:cNvPr>
            <p:cNvSpPr/>
            <p:nvPr/>
          </p:nvSpPr>
          <p:spPr>
            <a:xfrm>
              <a:off x="8117849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86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801" y="56631"/>
                    <a:pt x="114668" y="53868"/>
                    <a:pt x="102686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8" y="35454"/>
                  </a:lnTo>
                  <a:cubicBezTo>
                    <a:pt x="67224" y="13348"/>
                    <a:pt x="89330" y="0"/>
                    <a:pt x="116042" y="0"/>
                  </a:cubicBezTo>
                  <a:cubicBezTo>
                    <a:pt x="123871" y="-8"/>
                    <a:pt x="133534" y="1373"/>
                    <a:pt x="141832" y="5058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0485C757-813D-44E0-BCB7-31141CD07E48}"/>
                </a:ext>
              </a:extLst>
            </p:cNvPr>
            <p:cNvSpPr/>
            <p:nvPr/>
          </p:nvSpPr>
          <p:spPr>
            <a:xfrm>
              <a:off x="8293771" y="2109603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C7CAB665-FB04-47AE-A7F6-B25666A9C7BD}"/>
                </a:ext>
              </a:extLst>
            </p:cNvPr>
            <p:cNvSpPr/>
            <p:nvPr/>
          </p:nvSpPr>
          <p:spPr>
            <a:xfrm>
              <a:off x="8478811" y="1955336"/>
              <a:ext cx="253268" cy="329711"/>
            </a:xfrm>
            <a:custGeom>
              <a:avLst/>
              <a:gdLst>
                <a:gd name="connsiteX0" fmla="*/ 253268 w 253268"/>
                <a:gd name="connsiteY0" fmla="*/ 195708 h 329711"/>
                <a:gd name="connsiteX1" fmla="*/ 126174 w 253268"/>
                <a:gd name="connsiteY1" fmla="*/ 329712 h 329711"/>
                <a:gd name="connsiteX2" fmla="*/ 0 w 253268"/>
                <a:gd name="connsiteY2" fmla="*/ 195708 h 329711"/>
                <a:gd name="connsiteX3" fmla="*/ 0 w 253268"/>
                <a:gd name="connsiteY3" fmla="*/ 0 h 329711"/>
                <a:gd name="connsiteX4" fmla="*/ 58941 w 253268"/>
                <a:gd name="connsiteY4" fmla="*/ 0 h 329711"/>
                <a:gd name="connsiteX5" fmla="*/ 58941 w 253268"/>
                <a:gd name="connsiteY5" fmla="*/ 192485 h 329711"/>
                <a:gd name="connsiteX6" fmla="*/ 128016 w 253268"/>
                <a:gd name="connsiteY6" fmla="*/ 274446 h 329711"/>
                <a:gd name="connsiteX7" fmla="*/ 194795 w 253268"/>
                <a:gd name="connsiteY7" fmla="*/ 192485 h 329711"/>
                <a:gd name="connsiteX8" fmla="*/ 194795 w 253268"/>
                <a:gd name="connsiteY8" fmla="*/ 0 h 329711"/>
                <a:gd name="connsiteX9" fmla="*/ 253268 w 253268"/>
                <a:gd name="connsiteY9" fmla="*/ 0 h 329711"/>
                <a:gd name="connsiteX10" fmla="*/ 253268 w 253268"/>
                <a:gd name="connsiteY10" fmla="*/ 195708 h 32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268" h="329711">
                  <a:moveTo>
                    <a:pt x="253268" y="195708"/>
                  </a:moveTo>
                  <a:cubicBezTo>
                    <a:pt x="253268" y="273993"/>
                    <a:pt x="213209" y="329712"/>
                    <a:pt x="126174" y="329712"/>
                  </a:cubicBezTo>
                  <a:cubicBezTo>
                    <a:pt x="39599" y="329712"/>
                    <a:pt x="0" y="274446"/>
                    <a:pt x="0" y="195708"/>
                  </a:cubicBezTo>
                  <a:lnTo>
                    <a:pt x="0" y="0"/>
                  </a:lnTo>
                  <a:lnTo>
                    <a:pt x="58941" y="0"/>
                  </a:lnTo>
                  <a:lnTo>
                    <a:pt x="58941" y="192485"/>
                  </a:lnTo>
                  <a:cubicBezTo>
                    <a:pt x="58941" y="241294"/>
                    <a:pt x="80127" y="274446"/>
                    <a:pt x="128016" y="274446"/>
                  </a:cubicBezTo>
                  <a:cubicBezTo>
                    <a:pt x="175913" y="274446"/>
                    <a:pt x="194795" y="241755"/>
                    <a:pt x="194795" y="192485"/>
                  </a:cubicBezTo>
                  <a:lnTo>
                    <a:pt x="194795" y="0"/>
                  </a:lnTo>
                  <a:lnTo>
                    <a:pt x="253268" y="0"/>
                  </a:lnTo>
                  <a:lnTo>
                    <a:pt x="253268" y="19570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213035C6-CF9F-4D5D-91E7-9D8CA8DAAFD6}"/>
                </a:ext>
              </a:extLst>
            </p:cNvPr>
            <p:cNvSpPr/>
            <p:nvPr/>
          </p:nvSpPr>
          <p:spPr>
            <a:xfrm>
              <a:off x="8804838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8 w 201695"/>
                <a:gd name="connsiteY1" fmla="*/ 240373 h 240373"/>
                <a:gd name="connsiteX2" fmla="*/ 146898 w 201695"/>
                <a:gd name="connsiteY2" fmla="*/ 106370 h 240373"/>
                <a:gd name="connsiteX3" fmla="*/ 103607 w 201695"/>
                <a:gd name="connsiteY3" fmla="*/ 49270 h 240373"/>
                <a:gd name="connsiteX4" fmla="*/ 54798 w 201695"/>
                <a:gd name="connsiteY4" fmla="*/ 105918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8" y="240373"/>
                  </a:lnTo>
                  <a:lnTo>
                    <a:pt x="146898" y="106370"/>
                  </a:lnTo>
                  <a:cubicBezTo>
                    <a:pt x="146898" y="72298"/>
                    <a:pt x="136767" y="49270"/>
                    <a:pt x="103607" y="49270"/>
                  </a:cubicBezTo>
                  <a:cubicBezTo>
                    <a:pt x="65390" y="49270"/>
                    <a:pt x="54798" y="80588"/>
                    <a:pt x="54798" y="105918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7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D46799AE-D1AC-4A16-A5D1-F75A0C52D446}"/>
                </a:ext>
              </a:extLst>
            </p:cNvPr>
            <p:cNvSpPr/>
            <p:nvPr/>
          </p:nvSpPr>
          <p:spPr>
            <a:xfrm>
              <a:off x="9068273" y="1941059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2 w 69534"/>
                <a:gd name="connsiteY1" fmla="*/ 66311 h 338461"/>
                <a:gd name="connsiteX2" fmla="*/ 0 w 69534"/>
                <a:gd name="connsiteY2" fmla="*/ 33160 h 338461"/>
                <a:gd name="connsiteX3" fmla="*/ 34532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2" y="66311"/>
                  </a:cubicBezTo>
                  <a:cubicBezTo>
                    <a:pt x="15649" y="66311"/>
                    <a:pt x="0" y="52503"/>
                    <a:pt x="0" y="33160"/>
                  </a:cubicBezTo>
                  <a:cubicBezTo>
                    <a:pt x="0" y="14277"/>
                    <a:pt x="15649" y="0"/>
                    <a:pt x="34532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288A2A71-FDA8-44E1-BE21-21B3E3CBF381}"/>
                </a:ext>
              </a:extLst>
            </p:cNvPr>
            <p:cNvSpPr/>
            <p:nvPr/>
          </p:nvSpPr>
          <p:spPr>
            <a:xfrm>
              <a:off x="9176921" y="2045135"/>
              <a:ext cx="227478" cy="234386"/>
            </a:xfrm>
            <a:custGeom>
              <a:avLst/>
              <a:gdLst>
                <a:gd name="connsiteX0" fmla="*/ 227478 w 227478"/>
                <a:gd name="connsiteY0" fmla="*/ 0 h 234386"/>
                <a:gd name="connsiteX1" fmla="*/ 142284 w 227478"/>
                <a:gd name="connsiteY1" fmla="*/ 234386 h 234386"/>
                <a:gd name="connsiteX2" fmla="*/ 85185 w 227478"/>
                <a:gd name="connsiteY2" fmla="*/ 234386 h 234386"/>
                <a:gd name="connsiteX3" fmla="*/ 0 w 227478"/>
                <a:gd name="connsiteY3" fmla="*/ 0 h 234386"/>
                <a:gd name="connsiteX4" fmla="*/ 60323 w 227478"/>
                <a:gd name="connsiteY4" fmla="*/ 0 h 234386"/>
                <a:gd name="connsiteX5" fmla="*/ 114199 w 227478"/>
                <a:gd name="connsiteY5" fmla="*/ 170387 h 234386"/>
                <a:gd name="connsiteX6" fmla="*/ 115120 w 227478"/>
                <a:gd name="connsiteY6" fmla="*/ 170387 h 234386"/>
                <a:gd name="connsiteX7" fmla="*/ 168997 w 227478"/>
                <a:gd name="connsiteY7" fmla="*/ 0 h 234386"/>
                <a:gd name="connsiteX8" fmla="*/ 227478 w 227478"/>
                <a:gd name="connsiteY8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478" h="234386">
                  <a:moveTo>
                    <a:pt x="227478" y="0"/>
                  </a:moveTo>
                  <a:lnTo>
                    <a:pt x="142284" y="234386"/>
                  </a:lnTo>
                  <a:lnTo>
                    <a:pt x="85185" y="234386"/>
                  </a:lnTo>
                  <a:lnTo>
                    <a:pt x="0" y="0"/>
                  </a:lnTo>
                  <a:lnTo>
                    <a:pt x="60323" y="0"/>
                  </a:lnTo>
                  <a:lnTo>
                    <a:pt x="114199" y="170387"/>
                  </a:lnTo>
                  <a:lnTo>
                    <a:pt x="115120" y="170387"/>
                  </a:lnTo>
                  <a:lnTo>
                    <a:pt x="168997" y="0"/>
                  </a:lnTo>
                  <a:lnTo>
                    <a:pt x="227478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33E41754-E419-43BA-806E-8079FFB20E80}"/>
                </a:ext>
              </a:extLst>
            </p:cNvPr>
            <p:cNvSpPr/>
            <p:nvPr/>
          </p:nvSpPr>
          <p:spPr>
            <a:xfrm>
              <a:off x="9429904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27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8 w 214130"/>
                <a:gd name="connsiteY10" fmla="*/ 101765 h 245899"/>
                <a:gd name="connsiteX11" fmla="*/ 161168 w 214130"/>
                <a:gd name="connsiteY11" fmla="*/ 101765 h 245899"/>
                <a:gd name="connsiteX12" fmla="*/ 109134 w 214130"/>
                <a:gd name="connsiteY12" fmla="*/ 45126 h 245899"/>
                <a:gd name="connsiteX13" fmla="*/ 5479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500" y="245900"/>
                    <a:pt x="0" y="196621"/>
                    <a:pt x="0" y="122489"/>
                  </a:cubicBezTo>
                  <a:cubicBezTo>
                    <a:pt x="0" y="49739"/>
                    <a:pt x="44666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27" y="141824"/>
                  </a:lnTo>
                  <a:cubicBezTo>
                    <a:pt x="61714" y="178208"/>
                    <a:pt x="83352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31" y="233465"/>
                    <a:pt x="151488" y="245900"/>
                    <a:pt x="116034" y="245900"/>
                  </a:cubicBezTo>
                  <a:close/>
                  <a:moveTo>
                    <a:pt x="54798" y="101765"/>
                  </a:moveTo>
                  <a:lnTo>
                    <a:pt x="161168" y="101765"/>
                  </a:lnTo>
                  <a:cubicBezTo>
                    <a:pt x="158873" y="65850"/>
                    <a:pt x="139990" y="45126"/>
                    <a:pt x="109134" y="45126"/>
                  </a:cubicBezTo>
                  <a:cubicBezTo>
                    <a:pt x="78738" y="45134"/>
                    <a:pt x="59394" y="65390"/>
                    <a:pt x="54798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4FD442D8-2598-48E7-965E-91E79FD4148F}"/>
                </a:ext>
              </a:extLst>
            </p:cNvPr>
            <p:cNvSpPr/>
            <p:nvPr/>
          </p:nvSpPr>
          <p:spPr>
            <a:xfrm>
              <a:off x="9703872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94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7 w 141832"/>
                <a:gd name="connsiteY7" fmla="*/ 5979 h 240364"/>
                <a:gd name="connsiteX8" fmla="*/ 53877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793" y="56631"/>
                    <a:pt x="114669" y="53868"/>
                    <a:pt x="102694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7" y="5979"/>
                  </a:lnTo>
                  <a:lnTo>
                    <a:pt x="53877" y="35454"/>
                  </a:lnTo>
                  <a:lnTo>
                    <a:pt x="54798" y="35454"/>
                  </a:lnTo>
                  <a:cubicBezTo>
                    <a:pt x="67224" y="13348"/>
                    <a:pt x="89331" y="0"/>
                    <a:pt x="116042" y="0"/>
                  </a:cubicBezTo>
                  <a:cubicBezTo>
                    <a:pt x="123872" y="-8"/>
                    <a:pt x="133543" y="1373"/>
                    <a:pt x="141832" y="5058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31013972-1EA6-431E-AFC3-90896A4603F0}"/>
                </a:ext>
              </a:extLst>
            </p:cNvPr>
            <p:cNvSpPr/>
            <p:nvPr/>
          </p:nvSpPr>
          <p:spPr>
            <a:xfrm>
              <a:off x="9871287" y="2039148"/>
              <a:ext cx="180510" cy="245891"/>
            </a:xfrm>
            <a:custGeom>
              <a:avLst/>
              <a:gdLst>
                <a:gd name="connsiteX0" fmla="*/ 26234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2 h 245891"/>
                <a:gd name="connsiteX11" fmla="*/ 0 w 180510"/>
                <a:gd name="connsiteY11" fmla="*/ 217337 h 245891"/>
                <a:gd name="connsiteX12" fmla="*/ 26234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4" y="174063"/>
                  </a:moveTo>
                  <a:cubicBezTo>
                    <a:pt x="49261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82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2"/>
                    <a:pt x="90251" y="245892"/>
                  </a:cubicBezTo>
                  <a:cubicBezTo>
                    <a:pt x="58941" y="245892"/>
                    <a:pt x="27172" y="236220"/>
                    <a:pt x="0" y="217337"/>
                  </a:cubicBezTo>
                  <a:lnTo>
                    <a:pt x="26234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33FA3E3D-E1AC-4DFD-9390-6813E4246D86}"/>
                </a:ext>
              </a:extLst>
            </p:cNvPr>
            <p:cNvSpPr/>
            <p:nvPr/>
          </p:nvSpPr>
          <p:spPr>
            <a:xfrm>
              <a:off x="10103018" y="1941059"/>
              <a:ext cx="69535" cy="338461"/>
            </a:xfrm>
            <a:custGeom>
              <a:avLst/>
              <a:gdLst>
                <a:gd name="connsiteX0" fmla="*/ 69535 w 69535"/>
                <a:gd name="connsiteY0" fmla="*/ 33160 h 338461"/>
                <a:gd name="connsiteX1" fmla="*/ 34533 w 69535"/>
                <a:gd name="connsiteY1" fmla="*/ 66311 h 338461"/>
                <a:gd name="connsiteX2" fmla="*/ 0 w 69535"/>
                <a:gd name="connsiteY2" fmla="*/ 33160 h 338461"/>
                <a:gd name="connsiteX3" fmla="*/ 34533 w 69535"/>
                <a:gd name="connsiteY3" fmla="*/ 0 h 338461"/>
                <a:gd name="connsiteX4" fmla="*/ 69535 w 69535"/>
                <a:gd name="connsiteY4" fmla="*/ 33160 h 338461"/>
                <a:gd name="connsiteX5" fmla="*/ 62166 w 69535"/>
                <a:gd name="connsiteY5" fmla="*/ 338462 h 338461"/>
                <a:gd name="connsiteX6" fmla="*/ 7369 w 69535"/>
                <a:gd name="connsiteY6" fmla="*/ 338462 h 338461"/>
                <a:gd name="connsiteX7" fmla="*/ 7369 w 69535"/>
                <a:gd name="connsiteY7" fmla="*/ 104076 h 338461"/>
                <a:gd name="connsiteX8" fmla="*/ 62166 w 69535"/>
                <a:gd name="connsiteY8" fmla="*/ 104076 h 338461"/>
                <a:gd name="connsiteX9" fmla="*/ 62166 w 69535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5" h="338461">
                  <a:moveTo>
                    <a:pt x="69535" y="33160"/>
                  </a:moveTo>
                  <a:cubicBezTo>
                    <a:pt x="69535" y="52503"/>
                    <a:pt x="53877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7" y="0"/>
                    <a:pt x="69535" y="14277"/>
                    <a:pt x="69535" y="33160"/>
                  </a:cubicBezTo>
                  <a:close/>
                  <a:moveTo>
                    <a:pt x="62166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6" y="104076"/>
                  </a:lnTo>
                  <a:lnTo>
                    <a:pt x="62166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FF90BE11-71FB-49BE-82FE-C113389F6F50}"/>
                </a:ext>
              </a:extLst>
            </p:cNvPr>
            <p:cNvSpPr/>
            <p:nvPr/>
          </p:nvSpPr>
          <p:spPr>
            <a:xfrm>
              <a:off x="10211675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5" name="Freihandform: Form 144">
              <a:extLst>
                <a:ext uri="{FF2B5EF4-FFF2-40B4-BE49-F238E27FC236}">
                  <a16:creationId xmlns:a16="http://schemas.microsoft.com/office/drawing/2014/main" id="{378FF349-EB76-40B6-97C4-BAB8A6EBC098}"/>
                </a:ext>
              </a:extLst>
            </p:cNvPr>
            <p:cNvSpPr/>
            <p:nvPr/>
          </p:nvSpPr>
          <p:spPr>
            <a:xfrm>
              <a:off x="10400449" y="1944744"/>
              <a:ext cx="198923" cy="340304"/>
            </a:xfrm>
            <a:custGeom>
              <a:avLst/>
              <a:gdLst>
                <a:gd name="connsiteX0" fmla="*/ 100835 w 198923"/>
                <a:gd name="connsiteY0" fmla="*/ 189261 h 340304"/>
                <a:gd name="connsiteX1" fmla="*/ 145040 w 198923"/>
                <a:gd name="connsiteY1" fmla="*/ 194327 h 340304"/>
                <a:gd name="connsiteX2" fmla="*/ 145040 w 198923"/>
                <a:gd name="connsiteY2" fmla="*/ 186037 h 340304"/>
                <a:gd name="connsiteX3" fmla="*/ 93466 w 198923"/>
                <a:gd name="connsiteY3" fmla="*/ 140451 h 340304"/>
                <a:gd name="connsiteX4" fmla="*/ 34064 w 198923"/>
                <a:gd name="connsiteY4" fmla="*/ 153807 h 340304"/>
                <a:gd name="connsiteX5" fmla="*/ 22090 w 198923"/>
                <a:gd name="connsiteY5" fmla="*/ 107760 h 340304"/>
                <a:gd name="connsiteX6" fmla="*/ 98993 w 198923"/>
                <a:gd name="connsiteY6" fmla="*/ 94404 h 340304"/>
                <a:gd name="connsiteX7" fmla="*/ 198924 w 198923"/>
                <a:gd name="connsiteY7" fmla="*/ 185116 h 340304"/>
                <a:gd name="connsiteX8" fmla="*/ 198924 w 198923"/>
                <a:gd name="connsiteY8" fmla="*/ 334778 h 340304"/>
                <a:gd name="connsiteX9" fmla="*/ 146882 w 198923"/>
                <a:gd name="connsiteY9" fmla="*/ 334778 h 340304"/>
                <a:gd name="connsiteX10" fmla="*/ 146882 w 198923"/>
                <a:gd name="connsiteY10" fmla="*/ 309908 h 340304"/>
                <a:gd name="connsiteX11" fmla="*/ 145969 w 198923"/>
                <a:gd name="connsiteY11" fmla="*/ 309908 h 340304"/>
                <a:gd name="connsiteX12" fmla="*/ 77356 w 198923"/>
                <a:gd name="connsiteY12" fmla="*/ 340304 h 340304"/>
                <a:gd name="connsiteX13" fmla="*/ 0 w 198923"/>
                <a:gd name="connsiteY13" fmla="*/ 265703 h 340304"/>
                <a:gd name="connsiteX14" fmla="*/ 100835 w 198923"/>
                <a:gd name="connsiteY14" fmla="*/ 189261 h 340304"/>
                <a:gd name="connsiteX15" fmla="*/ 56170 w 198923"/>
                <a:gd name="connsiteY15" fmla="*/ 64008 h 340304"/>
                <a:gd name="connsiteX16" fmla="*/ 23480 w 198923"/>
                <a:gd name="connsiteY16" fmla="*/ 32238 h 340304"/>
                <a:gd name="connsiteX17" fmla="*/ 56170 w 198923"/>
                <a:gd name="connsiteY17" fmla="*/ 0 h 340304"/>
                <a:gd name="connsiteX18" fmla="*/ 88861 w 198923"/>
                <a:gd name="connsiteY18" fmla="*/ 32238 h 340304"/>
                <a:gd name="connsiteX19" fmla="*/ 56170 w 198923"/>
                <a:gd name="connsiteY19" fmla="*/ 64008 h 340304"/>
                <a:gd name="connsiteX20" fmla="*/ 91624 w 198923"/>
                <a:gd name="connsiteY20" fmla="*/ 299324 h 340304"/>
                <a:gd name="connsiteX21" fmla="*/ 145040 w 198923"/>
                <a:gd name="connsiteY21" fmla="*/ 271238 h 340304"/>
                <a:gd name="connsiteX22" fmla="*/ 145040 w 198923"/>
                <a:gd name="connsiteY22" fmla="*/ 230250 h 340304"/>
                <a:gd name="connsiteX23" fmla="*/ 106823 w 198923"/>
                <a:gd name="connsiteY23" fmla="*/ 225644 h 340304"/>
                <a:gd name="connsiteX24" fmla="*/ 52486 w 198923"/>
                <a:gd name="connsiteY24" fmla="*/ 264322 h 340304"/>
                <a:gd name="connsiteX25" fmla="*/ 91624 w 198923"/>
                <a:gd name="connsiteY25" fmla="*/ 299324 h 340304"/>
                <a:gd name="connsiteX26" fmla="*/ 151948 w 198923"/>
                <a:gd name="connsiteY26" fmla="*/ 64008 h 340304"/>
                <a:gd name="connsiteX27" fmla="*/ 119258 w 198923"/>
                <a:gd name="connsiteY27" fmla="*/ 32238 h 340304"/>
                <a:gd name="connsiteX28" fmla="*/ 151948 w 198923"/>
                <a:gd name="connsiteY28" fmla="*/ 0 h 340304"/>
                <a:gd name="connsiteX29" fmla="*/ 184639 w 198923"/>
                <a:gd name="connsiteY29" fmla="*/ 32238 h 340304"/>
                <a:gd name="connsiteX30" fmla="*/ 151948 w 198923"/>
                <a:gd name="connsiteY30" fmla="*/ 64008 h 3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923" h="340304">
                  <a:moveTo>
                    <a:pt x="100835" y="189261"/>
                  </a:moveTo>
                  <a:cubicBezTo>
                    <a:pt x="116026" y="189261"/>
                    <a:pt x="129851" y="190182"/>
                    <a:pt x="145040" y="194327"/>
                  </a:cubicBezTo>
                  <a:lnTo>
                    <a:pt x="145040" y="186037"/>
                  </a:lnTo>
                  <a:cubicBezTo>
                    <a:pt x="145040" y="156109"/>
                    <a:pt x="127539" y="140451"/>
                    <a:pt x="93466" y="140451"/>
                  </a:cubicBezTo>
                  <a:cubicBezTo>
                    <a:pt x="74584" y="140451"/>
                    <a:pt x="53407" y="145056"/>
                    <a:pt x="34064" y="153807"/>
                  </a:cubicBezTo>
                  <a:lnTo>
                    <a:pt x="22090" y="107760"/>
                  </a:lnTo>
                  <a:cubicBezTo>
                    <a:pt x="43727" y="99470"/>
                    <a:pt x="72282" y="94404"/>
                    <a:pt x="98993" y="94404"/>
                  </a:cubicBezTo>
                  <a:cubicBezTo>
                    <a:pt x="164844" y="94404"/>
                    <a:pt x="198924" y="125261"/>
                    <a:pt x="198924" y="185116"/>
                  </a:cubicBezTo>
                  <a:lnTo>
                    <a:pt x="198924" y="334778"/>
                  </a:lnTo>
                  <a:lnTo>
                    <a:pt x="146882" y="334778"/>
                  </a:lnTo>
                  <a:lnTo>
                    <a:pt x="146882" y="309908"/>
                  </a:lnTo>
                  <a:lnTo>
                    <a:pt x="145969" y="309908"/>
                  </a:lnTo>
                  <a:cubicBezTo>
                    <a:pt x="125705" y="330633"/>
                    <a:pt x="104528" y="340304"/>
                    <a:pt x="77356" y="340304"/>
                  </a:cubicBezTo>
                  <a:cubicBezTo>
                    <a:pt x="30388" y="340304"/>
                    <a:pt x="0" y="311290"/>
                    <a:pt x="0" y="265703"/>
                  </a:cubicBezTo>
                  <a:cubicBezTo>
                    <a:pt x="-8" y="215973"/>
                    <a:pt x="35446" y="189261"/>
                    <a:pt x="100835" y="189261"/>
                  </a:cubicBezTo>
                  <a:close/>
                  <a:moveTo>
                    <a:pt x="56170" y="64008"/>
                  </a:moveTo>
                  <a:cubicBezTo>
                    <a:pt x="38670" y="64008"/>
                    <a:pt x="23480" y="49270"/>
                    <a:pt x="23480" y="32238"/>
                  </a:cubicBezTo>
                  <a:cubicBezTo>
                    <a:pt x="23480" y="15198"/>
                    <a:pt x="38670" y="0"/>
                    <a:pt x="56170" y="0"/>
                  </a:cubicBezTo>
                  <a:cubicBezTo>
                    <a:pt x="73671" y="0"/>
                    <a:pt x="88861" y="15190"/>
                    <a:pt x="88861" y="32238"/>
                  </a:cubicBezTo>
                  <a:cubicBezTo>
                    <a:pt x="88861" y="49270"/>
                    <a:pt x="73671" y="64008"/>
                    <a:pt x="56170" y="64008"/>
                  </a:cubicBezTo>
                  <a:close/>
                  <a:moveTo>
                    <a:pt x="91624" y="299324"/>
                  </a:moveTo>
                  <a:cubicBezTo>
                    <a:pt x="111420" y="299324"/>
                    <a:pt x="129841" y="289652"/>
                    <a:pt x="145040" y="271238"/>
                  </a:cubicBezTo>
                  <a:lnTo>
                    <a:pt x="145040" y="230250"/>
                  </a:lnTo>
                  <a:cubicBezTo>
                    <a:pt x="132144" y="227026"/>
                    <a:pt x="118789" y="225644"/>
                    <a:pt x="106823" y="225644"/>
                  </a:cubicBezTo>
                  <a:cubicBezTo>
                    <a:pt x="72290" y="225644"/>
                    <a:pt x="52486" y="239452"/>
                    <a:pt x="52486" y="264322"/>
                  </a:cubicBezTo>
                  <a:cubicBezTo>
                    <a:pt x="52477" y="285968"/>
                    <a:pt x="67684" y="299324"/>
                    <a:pt x="91624" y="299324"/>
                  </a:cubicBezTo>
                  <a:close/>
                  <a:moveTo>
                    <a:pt x="151948" y="64008"/>
                  </a:moveTo>
                  <a:cubicBezTo>
                    <a:pt x="134447" y="64008"/>
                    <a:pt x="119258" y="49270"/>
                    <a:pt x="119258" y="32238"/>
                  </a:cubicBezTo>
                  <a:cubicBezTo>
                    <a:pt x="119258" y="15198"/>
                    <a:pt x="134447" y="0"/>
                    <a:pt x="151948" y="0"/>
                  </a:cubicBezTo>
                  <a:cubicBezTo>
                    <a:pt x="169448" y="0"/>
                    <a:pt x="184639" y="15190"/>
                    <a:pt x="184639" y="32238"/>
                  </a:cubicBezTo>
                  <a:cubicBezTo>
                    <a:pt x="184647" y="49270"/>
                    <a:pt x="169448" y="64008"/>
                    <a:pt x="151948" y="64008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6" name="Freihandform: Form 145">
              <a:extLst>
                <a:ext uri="{FF2B5EF4-FFF2-40B4-BE49-F238E27FC236}">
                  <a16:creationId xmlns:a16="http://schemas.microsoft.com/office/drawing/2014/main" id="{CE5DE3B7-333F-44B2-822B-BBDD51B19A83}"/>
                </a:ext>
              </a:extLst>
            </p:cNvPr>
            <p:cNvSpPr/>
            <p:nvPr/>
          </p:nvSpPr>
          <p:spPr>
            <a:xfrm>
              <a:off x="10641954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67" y="264791"/>
                    <a:pt x="145977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7" name="Freihandform: Form 146">
              <a:extLst>
                <a:ext uri="{FF2B5EF4-FFF2-40B4-BE49-F238E27FC236}">
                  <a16:creationId xmlns:a16="http://schemas.microsoft.com/office/drawing/2014/main" id="{EFDE0E19-A0D6-44C9-B936-C86E69C081A8}"/>
                </a:ext>
              </a:extLst>
            </p:cNvPr>
            <p:cNvSpPr/>
            <p:nvPr/>
          </p:nvSpPr>
          <p:spPr>
            <a:xfrm>
              <a:off x="4034676" y="2461949"/>
              <a:ext cx="203537" cy="324184"/>
            </a:xfrm>
            <a:custGeom>
              <a:avLst/>
              <a:gdLst>
                <a:gd name="connsiteX0" fmla="*/ 203538 w 203537"/>
                <a:gd name="connsiteY0" fmla="*/ 52955 h 324184"/>
                <a:gd name="connsiteX1" fmla="*/ 57561 w 203537"/>
                <a:gd name="connsiteY1" fmla="*/ 52955 h 324184"/>
                <a:gd name="connsiteX2" fmla="*/ 57561 w 203537"/>
                <a:gd name="connsiteY2" fmla="*/ 133543 h 324184"/>
                <a:gd name="connsiteX3" fmla="*/ 166694 w 203537"/>
                <a:gd name="connsiteY3" fmla="*/ 133543 h 324184"/>
                <a:gd name="connsiteX4" fmla="*/ 166694 w 203537"/>
                <a:gd name="connsiteY4" fmla="*/ 186037 h 324184"/>
                <a:gd name="connsiteX5" fmla="*/ 57561 w 203537"/>
                <a:gd name="connsiteY5" fmla="*/ 186037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55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55"/>
                  </a:moveTo>
                  <a:lnTo>
                    <a:pt x="57561" y="52955"/>
                  </a:lnTo>
                  <a:lnTo>
                    <a:pt x="57561" y="133543"/>
                  </a:lnTo>
                  <a:lnTo>
                    <a:pt x="166694" y="133543"/>
                  </a:lnTo>
                  <a:lnTo>
                    <a:pt x="166694" y="186037"/>
                  </a:lnTo>
                  <a:lnTo>
                    <a:pt x="57561" y="186037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5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8" name="Freihandform: Form 147">
              <a:extLst>
                <a:ext uri="{FF2B5EF4-FFF2-40B4-BE49-F238E27FC236}">
                  <a16:creationId xmlns:a16="http://schemas.microsoft.com/office/drawing/2014/main" id="{F92690C8-716E-411B-947A-44532E780BD2}"/>
                </a:ext>
              </a:extLst>
            </p:cNvPr>
            <p:cNvSpPr/>
            <p:nvPr/>
          </p:nvSpPr>
          <p:spPr>
            <a:xfrm>
              <a:off x="4248564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94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5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7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52" y="132621"/>
                    <a:pt x="118796" y="131240"/>
                    <a:pt x="106822" y="131240"/>
                  </a:cubicBezTo>
                  <a:cubicBezTo>
                    <a:pt x="72289" y="131240"/>
                    <a:pt x="52494" y="145048"/>
                    <a:pt x="52494" y="169918"/>
                  </a:cubicBezTo>
                  <a:cubicBezTo>
                    <a:pt x="52494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49" name="Freihandform: Form 148">
              <a:extLst>
                <a:ext uri="{FF2B5EF4-FFF2-40B4-BE49-F238E27FC236}">
                  <a16:creationId xmlns:a16="http://schemas.microsoft.com/office/drawing/2014/main" id="{42450ADB-7283-48C2-85CD-2054C8EB268B}"/>
                </a:ext>
              </a:extLst>
            </p:cNvPr>
            <p:cNvSpPr/>
            <p:nvPr/>
          </p:nvSpPr>
          <p:spPr>
            <a:xfrm>
              <a:off x="4504663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1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09" y="50191"/>
                  </a:cubicBezTo>
                  <a:cubicBezTo>
                    <a:pt x="78276" y="50191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71" y="196161"/>
                    <a:pt x="145509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0B860D4A-1674-4A52-9B9D-2FF3B24B6343}"/>
                </a:ext>
              </a:extLst>
            </p:cNvPr>
            <p:cNvSpPr/>
            <p:nvPr/>
          </p:nvSpPr>
          <p:spPr>
            <a:xfrm>
              <a:off x="4749206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8 w 201695"/>
                <a:gd name="connsiteY10" fmla="*/ 136298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298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0FB526FE-1FA8-44B6-BBD1-1C61428D8F50}"/>
                </a:ext>
              </a:extLst>
            </p:cNvPr>
            <p:cNvSpPr/>
            <p:nvPr/>
          </p:nvSpPr>
          <p:spPr>
            <a:xfrm>
              <a:off x="5020788" y="2443535"/>
              <a:ext cx="218735" cy="348125"/>
            </a:xfrm>
            <a:custGeom>
              <a:avLst/>
              <a:gdLst>
                <a:gd name="connsiteX0" fmla="*/ 218736 w 218735"/>
                <a:gd name="connsiteY0" fmla="*/ 223785 h 348125"/>
                <a:gd name="connsiteX1" fmla="*/ 122959 w 218735"/>
                <a:gd name="connsiteY1" fmla="*/ 348125 h 348125"/>
                <a:gd name="connsiteX2" fmla="*/ 53424 w 218735"/>
                <a:gd name="connsiteY2" fmla="*/ 315434 h 348125"/>
                <a:gd name="connsiteX3" fmla="*/ 52503 w 218735"/>
                <a:gd name="connsiteY3" fmla="*/ 315434 h 348125"/>
                <a:gd name="connsiteX4" fmla="*/ 52503 w 218735"/>
                <a:gd name="connsiteY4" fmla="*/ 342599 h 348125"/>
                <a:gd name="connsiteX5" fmla="*/ 0 w 218735"/>
                <a:gd name="connsiteY5" fmla="*/ 342599 h 348125"/>
                <a:gd name="connsiteX6" fmla="*/ 0 w 218735"/>
                <a:gd name="connsiteY6" fmla="*/ 13808 h 348125"/>
                <a:gd name="connsiteX7" fmla="*/ 54806 w 218735"/>
                <a:gd name="connsiteY7" fmla="*/ 0 h 348125"/>
                <a:gd name="connsiteX8" fmla="*/ 54806 w 218735"/>
                <a:gd name="connsiteY8" fmla="*/ 135376 h 348125"/>
                <a:gd name="connsiteX9" fmla="*/ 55719 w 218735"/>
                <a:gd name="connsiteY9" fmla="*/ 135376 h 348125"/>
                <a:gd name="connsiteX10" fmla="*/ 124332 w 218735"/>
                <a:gd name="connsiteY10" fmla="*/ 102225 h 348125"/>
                <a:gd name="connsiteX11" fmla="*/ 218736 w 218735"/>
                <a:gd name="connsiteY11" fmla="*/ 223785 h 348125"/>
                <a:gd name="connsiteX12" fmla="*/ 164852 w 218735"/>
                <a:gd name="connsiteY12" fmla="*/ 225167 h 348125"/>
                <a:gd name="connsiteX13" fmla="*/ 110055 w 218735"/>
                <a:gd name="connsiteY13" fmla="*/ 151487 h 348125"/>
                <a:gd name="connsiteX14" fmla="*/ 54797 w 218735"/>
                <a:gd name="connsiteY14" fmla="*/ 181883 h 348125"/>
                <a:gd name="connsiteX15" fmla="*/ 54797 w 218735"/>
                <a:gd name="connsiteY15" fmla="*/ 267537 h 348125"/>
                <a:gd name="connsiteX16" fmla="*/ 110507 w 218735"/>
                <a:gd name="connsiteY16" fmla="*/ 299315 h 348125"/>
                <a:gd name="connsiteX17" fmla="*/ 164852 w 218735"/>
                <a:gd name="connsiteY17" fmla="*/ 225167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8735" h="348125">
                  <a:moveTo>
                    <a:pt x="218736" y="223785"/>
                  </a:moveTo>
                  <a:cubicBezTo>
                    <a:pt x="218736" y="299315"/>
                    <a:pt x="180519" y="348125"/>
                    <a:pt x="122959" y="348125"/>
                  </a:cubicBezTo>
                  <a:cubicBezTo>
                    <a:pt x="93483" y="348125"/>
                    <a:pt x="69074" y="335690"/>
                    <a:pt x="53424" y="315434"/>
                  </a:cubicBezTo>
                  <a:lnTo>
                    <a:pt x="52503" y="315434"/>
                  </a:lnTo>
                  <a:lnTo>
                    <a:pt x="52503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806" y="0"/>
                  </a:lnTo>
                  <a:lnTo>
                    <a:pt x="54806" y="135376"/>
                  </a:lnTo>
                  <a:lnTo>
                    <a:pt x="55719" y="135376"/>
                  </a:lnTo>
                  <a:cubicBezTo>
                    <a:pt x="71377" y="114652"/>
                    <a:pt x="95317" y="102225"/>
                    <a:pt x="124332" y="102225"/>
                  </a:cubicBezTo>
                  <a:cubicBezTo>
                    <a:pt x="180510" y="102217"/>
                    <a:pt x="218736" y="147803"/>
                    <a:pt x="218736" y="223785"/>
                  </a:cubicBezTo>
                  <a:close/>
                  <a:moveTo>
                    <a:pt x="164852" y="225167"/>
                  </a:moveTo>
                  <a:cubicBezTo>
                    <a:pt x="164852" y="176826"/>
                    <a:pt x="145056" y="151487"/>
                    <a:pt x="110055" y="151487"/>
                  </a:cubicBezTo>
                  <a:cubicBezTo>
                    <a:pt x="88878" y="151487"/>
                    <a:pt x="71838" y="160707"/>
                    <a:pt x="54797" y="181883"/>
                  </a:cubicBezTo>
                  <a:lnTo>
                    <a:pt x="54797" y="267537"/>
                  </a:lnTo>
                  <a:cubicBezTo>
                    <a:pt x="70448" y="288262"/>
                    <a:pt x="87949" y="299315"/>
                    <a:pt x="110507" y="299315"/>
                  </a:cubicBezTo>
                  <a:cubicBezTo>
                    <a:pt x="145969" y="299307"/>
                    <a:pt x="164852" y="272134"/>
                    <a:pt x="164852" y="225167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2" name="Freihandform: Form 151">
              <a:extLst>
                <a:ext uri="{FF2B5EF4-FFF2-40B4-BE49-F238E27FC236}">
                  <a16:creationId xmlns:a16="http://schemas.microsoft.com/office/drawing/2014/main" id="{D0955A09-933E-4FC9-8935-6A0761EC805E}"/>
                </a:ext>
              </a:extLst>
            </p:cNvPr>
            <p:cNvSpPr/>
            <p:nvPr/>
          </p:nvSpPr>
          <p:spPr>
            <a:xfrm>
              <a:off x="5287630" y="2545752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806 w 214138"/>
                <a:gd name="connsiteY10" fmla="*/ 101765 h 245899"/>
                <a:gd name="connsiteX11" fmla="*/ 161176 w 214138"/>
                <a:gd name="connsiteY11" fmla="*/ 101765 h 245899"/>
                <a:gd name="connsiteX12" fmla="*/ 109134 w 214138"/>
                <a:gd name="connsiteY12" fmla="*/ 45125 h 245899"/>
                <a:gd name="connsiteX13" fmla="*/ 54806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7" y="198924"/>
                    <a:pt x="155658" y="190634"/>
                    <a:pt x="174079" y="171291"/>
                  </a:cubicBezTo>
                  <a:lnTo>
                    <a:pt x="208152" y="207214"/>
                  </a:lnTo>
                  <a:cubicBezTo>
                    <a:pt x="181440" y="233465"/>
                    <a:pt x="151504" y="245900"/>
                    <a:pt x="116042" y="245900"/>
                  </a:cubicBezTo>
                  <a:close/>
                  <a:moveTo>
                    <a:pt x="54806" y="101765"/>
                  </a:moveTo>
                  <a:lnTo>
                    <a:pt x="161176" y="101765"/>
                  </a:lnTo>
                  <a:cubicBezTo>
                    <a:pt x="158873" y="65850"/>
                    <a:pt x="139990" y="45125"/>
                    <a:pt x="109134" y="45125"/>
                  </a:cubicBezTo>
                  <a:cubicBezTo>
                    <a:pt x="78746" y="45134"/>
                    <a:pt x="59411" y="65390"/>
                    <a:pt x="54806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3" name="Freihandform: Form 152">
              <a:extLst>
                <a:ext uri="{FF2B5EF4-FFF2-40B4-BE49-F238E27FC236}">
                  <a16:creationId xmlns:a16="http://schemas.microsoft.com/office/drawing/2014/main" id="{2D2AEB27-3DBE-4C46-B855-F6417F8BE584}"/>
                </a:ext>
              </a:extLst>
            </p:cNvPr>
            <p:cNvSpPr/>
            <p:nvPr/>
          </p:nvSpPr>
          <p:spPr>
            <a:xfrm>
              <a:off x="5561607" y="2545769"/>
              <a:ext cx="141832" cy="240365"/>
            </a:xfrm>
            <a:custGeom>
              <a:avLst/>
              <a:gdLst>
                <a:gd name="connsiteX0" fmla="*/ 141833 w 141832"/>
                <a:gd name="connsiteY0" fmla="*/ 5049 h 240365"/>
                <a:gd name="connsiteX1" fmla="*/ 133082 w 141832"/>
                <a:gd name="connsiteY1" fmla="*/ 61228 h 240365"/>
                <a:gd name="connsiteX2" fmla="*/ 102686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34 w 141832"/>
                <a:gd name="connsiteY10" fmla="*/ 0 h 240365"/>
                <a:gd name="connsiteX11" fmla="*/ 141833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3" y="5049"/>
                  </a:moveTo>
                  <a:lnTo>
                    <a:pt x="133082" y="61228"/>
                  </a:lnTo>
                  <a:cubicBezTo>
                    <a:pt x="124792" y="56623"/>
                    <a:pt x="114661" y="53859"/>
                    <a:pt x="102686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4" y="0"/>
                  </a:cubicBezTo>
                  <a:cubicBezTo>
                    <a:pt x="123879" y="-17"/>
                    <a:pt x="133543" y="1365"/>
                    <a:pt x="141833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4" name="Freihandform: Form 153">
              <a:extLst>
                <a:ext uri="{FF2B5EF4-FFF2-40B4-BE49-F238E27FC236}">
                  <a16:creationId xmlns:a16="http://schemas.microsoft.com/office/drawing/2014/main" id="{33AF7FFB-EC7B-4744-BEA9-F91312BA94BD}"/>
                </a:ext>
              </a:extLst>
            </p:cNvPr>
            <p:cNvSpPr/>
            <p:nvPr/>
          </p:nvSpPr>
          <p:spPr>
            <a:xfrm>
              <a:off x="5733668" y="2545752"/>
              <a:ext cx="214138" cy="245899"/>
            </a:xfrm>
            <a:custGeom>
              <a:avLst/>
              <a:gdLst>
                <a:gd name="connsiteX0" fmla="*/ 116041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6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1 w 214138"/>
                <a:gd name="connsiteY8" fmla="*/ 207214 h 245899"/>
                <a:gd name="connsiteX9" fmla="*/ 116041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5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1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6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6" y="198924"/>
                    <a:pt x="155657" y="190634"/>
                    <a:pt x="174079" y="171291"/>
                  </a:cubicBezTo>
                  <a:lnTo>
                    <a:pt x="208151" y="207214"/>
                  </a:lnTo>
                  <a:cubicBezTo>
                    <a:pt x="181431" y="233465"/>
                    <a:pt x="151495" y="245900"/>
                    <a:pt x="116041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5"/>
                    <a:pt x="109125" y="45125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5" name="Freihandform: Form 154">
              <a:extLst>
                <a:ext uri="{FF2B5EF4-FFF2-40B4-BE49-F238E27FC236}">
                  <a16:creationId xmlns:a16="http://schemas.microsoft.com/office/drawing/2014/main" id="{93A72E4F-5273-4932-87C1-9A44E6D802A2}"/>
                </a:ext>
              </a:extLst>
            </p:cNvPr>
            <p:cNvSpPr/>
            <p:nvPr/>
          </p:nvSpPr>
          <p:spPr>
            <a:xfrm>
              <a:off x="5999489" y="2447663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6" name="Freihandform: Form 155">
              <a:extLst>
                <a:ext uri="{FF2B5EF4-FFF2-40B4-BE49-F238E27FC236}">
                  <a16:creationId xmlns:a16="http://schemas.microsoft.com/office/drawing/2014/main" id="{296CC180-BECF-4BB2-9D3F-345BC48E83FD}"/>
                </a:ext>
              </a:extLst>
            </p:cNvPr>
            <p:cNvSpPr/>
            <p:nvPr/>
          </p:nvSpPr>
          <p:spPr>
            <a:xfrm>
              <a:off x="6120438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8 w 197542"/>
                <a:gd name="connsiteY5" fmla="*/ 75974 h 245899"/>
                <a:gd name="connsiteX6" fmla="*/ 112810 w 197542"/>
                <a:gd name="connsiteY6" fmla="*/ 50191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8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63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7" name="Freihandform: Form 156">
              <a:extLst>
                <a:ext uri="{FF2B5EF4-FFF2-40B4-BE49-F238E27FC236}">
                  <a16:creationId xmlns:a16="http://schemas.microsoft.com/office/drawing/2014/main" id="{815B2B66-D154-4CAE-9E05-F160280AF526}"/>
                </a:ext>
              </a:extLst>
            </p:cNvPr>
            <p:cNvSpPr/>
            <p:nvPr/>
          </p:nvSpPr>
          <p:spPr>
            <a:xfrm>
              <a:off x="6364973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9 w 201695"/>
                <a:gd name="connsiteY10" fmla="*/ 136298 h 342598"/>
                <a:gd name="connsiteX11" fmla="*/ 124324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9" y="136298"/>
                  </a:lnTo>
                  <a:cubicBezTo>
                    <a:pt x="69074" y="115573"/>
                    <a:pt x="93483" y="102225"/>
                    <a:pt x="124324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F4D79CE6-EDE8-44F4-A684-AD28961F3BD9}"/>
                </a:ext>
              </a:extLst>
            </p:cNvPr>
            <p:cNvSpPr/>
            <p:nvPr/>
          </p:nvSpPr>
          <p:spPr>
            <a:xfrm>
              <a:off x="6751826" y="2461940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9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2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9 w 398768"/>
                <a:gd name="connsiteY9" fmla="*/ 0 h 324184"/>
                <a:gd name="connsiteX10" fmla="*/ 317260 w 398768"/>
                <a:gd name="connsiteY10" fmla="*/ 324185 h 324184"/>
                <a:gd name="connsiteX11" fmla="*/ 257858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9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2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9" y="0"/>
                  </a:lnTo>
                  <a:lnTo>
                    <a:pt x="317260" y="324185"/>
                  </a:lnTo>
                  <a:lnTo>
                    <a:pt x="257858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2F7D4B41-7B93-4F1E-9970-BCCF8B6998B4}"/>
                </a:ext>
              </a:extLst>
            </p:cNvPr>
            <p:cNvSpPr/>
            <p:nvPr/>
          </p:nvSpPr>
          <p:spPr>
            <a:xfrm>
              <a:off x="7196759" y="2447663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C95388A3-66FF-4FB5-94A2-B1859A5937F6}"/>
                </a:ext>
              </a:extLst>
            </p:cNvPr>
            <p:cNvSpPr/>
            <p:nvPr/>
          </p:nvSpPr>
          <p:spPr>
            <a:xfrm>
              <a:off x="7330586" y="2545769"/>
              <a:ext cx="141832" cy="240365"/>
            </a:xfrm>
            <a:custGeom>
              <a:avLst/>
              <a:gdLst>
                <a:gd name="connsiteX0" fmla="*/ 141832 w 141832"/>
                <a:gd name="connsiteY0" fmla="*/ 5049 h 240365"/>
                <a:gd name="connsiteX1" fmla="*/ 133082 w 141832"/>
                <a:gd name="connsiteY1" fmla="*/ 61228 h 240365"/>
                <a:gd name="connsiteX2" fmla="*/ 102694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41 w 141832"/>
                <a:gd name="connsiteY10" fmla="*/ 0 h 240365"/>
                <a:gd name="connsiteX11" fmla="*/ 141832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2" y="5049"/>
                  </a:moveTo>
                  <a:lnTo>
                    <a:pt x="133082" y="61228"/>
                  </a:lnTo>
                  <a:cubicBezTo>
                    <a:pt x="124792" y="56623"/>
                    <a:pt x="114668" y="53859"/>
                    <a:pt x="102694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3" y="13348"/>
                    <a:pt x="89330" y="0"/>
                    <a:pt x="116041" y="0"/>
                  </a:cubicBezTo>
                  <a:cubicBezTo>
                    <a:pt x="123871" y="-17"/>
                    <a:pt x="133543" y="1365"/>
                    <a:pt x="141832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161" name="Freihandform: Form 160">
              <a:extLst>
                <a:ext uri="{FF2B5EF4-FFF2-40B4-BE49-F238E27FC236}">
                  <a16:creationId xmlns:a16="http://schemas.microsoft.com/office/drawing/2014/main" id="{778D8F18-F84F-465D-BFC1-1FE4712F2C27}"/>
                </a:ext>
              </a:extLst>
            </p:cNvPr>
            <p:cNvSpPr/>
            <p:nvPr/>
          </p:nvSpPr>
          <p:spPr>
            <a:xfrm>
              <a:off x="7506323" y="2475749"/>
              <a:ext cx="145977" cy="315903"/>
            </a:xfrm>
            <a:custGeom>
              <a:avLst/>
              <a:gdLst>
                <a:gd name="connsiteX0" fmla="*/ 145978 w 145977"/>
                <a:gd name="connsiteY0" fmla="*/ 260185 h 315903"/>
                <a:gd name="connsiteX1" fmla="*/ 145978 w 145977"/>
                <a:gd name="connsiteY1" fmla="*/ 307153 h 315903"/>
                <a:gd name="connsiteX2" fmla="*/ 99923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2 w 145977"/>
                <a:gd name="connsiteY15" fmla="*/ 268006 h 315903"/>
                <a:gd name="connsiteX16" fmla="*/ 145978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3" y="312680"/>
                    <a:pt x="116041" y="315903"/>
                    <a:pt x="99923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20" y="268006"/>
                    <a:pt x="115572" y="268006"/>
                  </a:cubicBezTo>
                  <a:cubicBezTo>
                    <a:pt x="125721" y="268015"/>
                    <a:pt x="136766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A3512126-3734-4488-B3C7-50AA8C99473F}"/>
                </a:ext>
              </a:extLst>
            </p:cNvPr>
            <p:cNvSpPr/>
            <p:nvPr/>
          </p:nvSpPr>
          <p:spPr>
            <a:xfrm>
              <a:off x="7691154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3" y="53415"/>
                    <a:pt x="115121" y="46499"/>
                    <a:pt x="97159" y="46499"/>
                  </a:cubicBezTo>
                  <a:cubicBezTo>
                    <a:pt x="76896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140A4E5F-697E-4391-A49B-C3859A1DB057}"/>
                </a:ext>
              </a:extLst>
            </p:cNvPr>
            <p:cNvSpPr/>
            <p:nvPr/>
          </p:nvSpPr>
          <p:spPr>
            <a:xfrm>
              <a:off x="7916480" y="2545760"/>
              <a:ext cx="197541" cy="245899"/>
            </a:xfrm>
            <a:custGeom>
              <a:avLst/>
              <a:gdLst>
                <a:gd name="connsiteX0" fmla="*/ 196169 w 197541"/>
                <a:gd name="connsiteY0" fmla="*/ 208135 h 245899"/>
                <a:gd name="connsiteX1" fmla="*/ 112357 w 197541"/>
                <a:gd name="connsiteY1" fmla="*/ 245900 h 245899"/>
                <a:gd name="connsiteX2" fmla="*/ 0 w 197541"/>
                <a:gd name="connsiteY2" fmla="*/ 123871 h 245899"/>
                <a:gd name="connsiteX3" fmla="*/ 113278 w 197541"/>
                <a:gd name="connsiteY3" fmla="*/ 0 h 245899"/>
                <a:gd name="connsiteX4" fmla="*/ 197542 w 197541"/>
                <a:gd name="connsiteY4" fmla="*/ 40059 h 245899"/>
                <a:gd name="connsiteX5" fmla="*/ 159777 w 197541"/>
                <a:gd name="connsiteY5" fmla="*/ 75974 h 245899"/>
                <a:gd name="connsiteX6" fmla="*/ 112810 w 197541"/>
                <a:gd name="connsiteY6" fmla="*/ 50191 h 245899"/>
                <a:gd name="connsiteX7" fmla="*/ 54788 w 197541"/>
                <a:gd name="connsiteY7" fmla="*/ 122942 h 245899"/>
                <a:gd name="connsiteX8" fmla="*/ 112349 w 197541"/>
                <a:gd name="connsiteY8" fmla="*/ 196161 h 245899"/>
                <a:gd name="connsiteX9" fmla="*/ 160699 w 197541"/>
                <a:gd name="connsiteY9" fmla="*/ 170370 h 245899"/>
                <a:gd name="connsiteX10" fmla="*/ 196169 w 197541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1" h="245899">
                  <a:moveTo>
                    <a:pt x="196169" y="208135"/>
                  </a:moveTo>
                  <a:cubicBezTo>
                    <a:pt x="172680" y="233926"/>
                    <a:pt x="145977" y="245900"/>
                    <a:pt x="112357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8" y="78737"/>
                    <a:pt x="54788" y="122942"/>
                  </a:cubicBezTo>
                  <a:cubicBezTo>
                    <a:pt x="54788" y="166694"/>
                    <a:pt x="78277" y="196161"/>
                    <a:pt x="112349" y="196161"/>
                  </a:cubicBezTo>
                  <a:cubicBezTo>
                    <a:pt x="130762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C5B8B719-FB01-4DF6-B8A8-5B018E97920C}"/>
                </a:ext>
              </a:extLst>
            </p:cNvPr>
            <p:cNvSpPr/>
            <p:nvPr/>
          </p:nvSpPr>
          <p:spPr>
            <a:xfrm>
              <a:off x="8161024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8 w 201695"/>
                <a:gd name="connsiteY1" fmla="*/ 342590 h 342598"/>
                <a:gd name="connsiteX2" fmla="*/ 146898 w 201695"/>
                <a:gd name="connsiteY2" fmla="*/ 208587 h 342598"/>
                <a:gd name="connsiteX3" fmla="*/ 103607 w 201695"/>
                <a:gd name="connsiteY3" fmla="*/ 151487 h 342598"/>
                <a:gd name="connsiteX4" fmla="*/ 54798 w 201695"/>
                <a:gd name="connsiteY4" fmla="*/ 208135 h 342598"/>
                <a:gd name="connsiteX5" fmla="*/ 54798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8 w 201695"/>
                <a:gd name="connsiteY8" fmla="*/ 0 h 342598"/>
                <a:gd name="connsiteX9" fmla="*/ 54798 w 201695"/>
                <a:gd name="connsiteY9" fmla="*/ 136298 h 342598"/>
                <a:gd name="connsiteX10" fmla="*/ 55719 w 201695"/>
                <a:gd name="connsiteY10" fmla="*/ 136298 h 342598"/>
                <a:gd name="connsiteX11" fmla="*/ 124332 w 201695"/>
                <a:gd name="connsiteY11" fmla="*/ 102225 h 342598"/>
                <a:gd name="connsiteX12" fmla="*/ 201688 w 201695"/>
                <a:gd name="connsiteY12" fmla="*/ 197082 h 342598"/>
                <a:gd name="connsiteX13" fmla="*/ 201688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306" y="151487"/>
                    <a:pt x="103607" y="151487"/>
                  </a:cubicBezTo>
                  <a:cubicBezTo>
                    <a:pt x="65850" y="151487"/>
                    <a:pt x="54798" y="181423"/>
                    <a:pt x="54798" y="208135"/>
                  </a:cubicBezTo>
                  <a:lnTo>
                    <a:pt x="54798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8" y="0"/>
                  </a:lnTo>
                  <a:lnTo>
                    <a:pt x="54798" y="136298"/>
                  </a:lnTo>
                  <a:lnTo>
                    <a:pt x="55719" y="136298"/>
                  </a:lnTo>
                  <a:cubicBezTo>
                    <a:pt x="69074" y="115573"/>
                    <a:pt x="93484" y="102225"/>
                    <a:pt x="124332" y="102225"/>
                  </a:cubicBezTo>
                  <a:cubicBezTo>
                    <a:pt x="178660" y="102225"/>
                    <a:pt x="201688" y="142745"/>
                    <a:pt x="201688" y="197082"/>
                  </a:cubicBezTo>
                  <a:lnTo>
                    <a:pt x="201688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7725D6DA-37D3-47CF-89CE-BB856CF2EB8D}"/>
                </a:ext>
              </a:extLst>
            </p:cNvPr>
            <p:cNvSpPr/>
            <p:nvPr/>
          </p:nvSpPr>
          <p:spPr>
            <a:xfrm>
              <a:off x="8416729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40 w 198923"/>
                <a:gd name="connsiteY1" fmla="*/ 99922 h 245899"/>
                <a:gd name="connsiteX2" fmla="*/ 145040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6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495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26" y="94856"/>
                    <a:pt x="129851" y="95778"/>
                    <a:pt x="145040" y="99922"/>
                  </a:cubicBezTo>
                  <a:lnTo>
                    <a:pt x="145040" y="91633"/>
                  </a:lnTo>
                  <a:cubicBezTo>
                    <a:pt x="145040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2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28" y="204919"/>
                    <a:pt x="129851" y="195248"/>
                    <a:pt x="145048" y="176834"/>
                  </a:cubicBezTo>
                  <a:lnTo>
                    <a:pt x="145048" y="135845"/>
                  </a:lnTo>
                  <a:cubicBezTo>
                    <a:pt x="132152" y="132621"/>
                    <a:pt x="118797" y="131240"/>
                    <a:pt x="106831" y="131240"/>
                  </a:cubicBezTo>
                  <a:cubicBezTo>
                    <a:pt x="72298" y="131240"/>
                    <a:pt x="52495" y="145048"/>
                    <a:pt x="52495" y="169918"/>
                  </a:cubicBezTo>
                  <a:cubicBezTo>
                    <a:pt x="52486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1DBBFD29-EE8E-4CCD-A8B3-557E22A4C9E9}"/>
                </a:ext>
              </a:extLst>
            </p:cNvPr>
            <p:cNvSpPr/>
            <p:nvPr/>
          </p:nvSpPr>
          <p:spPr>
            <a:xfrm>
              <a:off x="8659530" y="2440295"/>
              <a:ext cx="143667" cy="345830"/>
            </a:xfrm>
            <a:custGeom>
              <a:avLst/>
              <a:gdLst>
                <a:gd name="connsiteX0" fmla="*/ 143667 w 143667"/>
                <a:gd name="connsiteY0" fmla="*/ 51582 h 345830"/>
                <a:gd name="connsiteX1" fmla="*/ 119727 w 143667"/>
                <a:gd name="connsiteY1" fmla="*/ 46976 h 345830"/>
                <a:gd name="connsiteX2" fmla="*/ 90712 w 143667"/>
                <a:gd name="connsiteY2" fmla="*/ 79667 h 345830"/>
                <a:gd name="connsiteX3" fmla="*/ 90712 w 143667"/>
                <a:gd name="connsiteY3" fmla="*/ 111445 h 345830"/>
                <a:gd name="connsiteX4" fmla="*/ 137228 w 143667"/>
                <a:gd name="connsiteY4" fmla="*/ 111445 h 345830"/>
                <a:gd name="connsiteX5" fmla="*/ 137228 w 143667"/>
                <a:gd name="connsiteY5" fmla="*/ 157031 h 345830"/>
                <a:gd name="connsiteX6" fmla="*/ 91173 w 143667"/>
                <a:gd name="connsiteY6" fmla="*/ 157031 h 345830"/>
                <a:gd name="connsiteX7" fmla="*/ 91173 w 143667"/>
                <a:gd name="connsiteY7" fmla="*/ 345831 h 345830"/>
                <a:gd name="connsiteX8" fmla="*/ 36375 w 143667"/>
                <a:gd name="connsiteY8" fmla="*/ 345831 h 345830"/>
                <a:gd name="connsiteX9" fmla="*/ 36375 w 143667"/>
                <a:gd name="connsiteY9" fmla="*/ 157031 h 345830"/>
                <a:gd name="connsiteX10" fmla="*/ 0 w 143667"/>
                <a:gd name="connsiteY10" fmla="*/ 157031 h 345830"/>
                <a:gd name="connsiteX11" fmla="*/ 0 w 143667"/>
                <a:gd name="connsiteY11" fmla="*/ 111445 h 345830"/>
                <a:gd name="connsiteX12" fmla="*/ 36375 w 143667"/>
                <a:gd name="connsiteY12" fmla="*/ 111445 h 345830"/>
                <a:gd name="connsiteX13" fmla="*/ 36375 w 143667"/>
                <a:gd name="connsiteY13" fmla="*/ 77824 h 345830"/>
                <a:gd name="connsiteX14" fmla="*/ 110976 w 143667"/>
                <a:gd name="connsiteY14" fmla="*/ 0 h 345830"/>
                <a:gd name="connsiteX15" fmla="*/ 143667 w 143667"/>
                <a:gd name="connsiteY15" fmla="*/ 5066 h 345830"/>
                <a:gd name="connsiteX16" fmla="*/ 143667 w 143667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67" h="345830">
                  <a:moveTo>
                    <a:pt x="143667" y="51582"/>
                  </a:moveTo>
                  <a:cubicBezTo>
                    <a:pt x="136298" y="48358"/>
                    <a:pt x="127548" y="46976"/>
                    <a:pt x="119727" y="46976"/>
                  </a:cubicBezTo>
                  <a:cubicBezTo>
                    <a:pt x="99001" y="46976"/>
                    <a:pt x="90712" y="57569"/>
                    <a:pt x="90712" y="79667"/>
                  </a:cubicBezTo>
                  <a:lnTo>
                    <a:pt x="90712" y="111445"/>
                  </a:lnTo>
                  <a:lnTo>
                    <a:pt x="137228" y="111445"/>
                  </a:lnTo>
                  <a:lnTo>
                    <a:pt x="137228" y="157031"/>
                  </a:lnTo>
                  <a:lnTo>
                    <a:pt x="91173" y="157031"/>
                  </a:lnTo>
                  <a:lnTo>
                    <a:pt x="91173" y="345831"/>
                  </a:lnTo>
                  <a:lnTo>
                    <a:pt x="36375" y="345831"/>
                  </a:lnTo>
                  <a:lnTo>
                    <a:pt x="36375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75" y="111445"/>
                  </a:lnTo>
                  <a:lnTo>
                    <a:pt x="36375" y="77824"/>
                  </a:lnTo>
                  <a:cubicBezTo>
                    <a:pt x="36375" y="29015"/>
                    <a:pt x="58481" y="0"/>
                    <a:pt x="110976" y="0"/>
                  </a:cubicBezTo>
                  <a:cubicBezTo>
                    <a:pt x="122951" y="0"/>
                    <a:pt x="134465" y="1382"/>
                    <a:pt x="143667" y="5066"/>
                  </a:cubicBezTo>
                  <a:lnTo>
                    <a:pt x="143667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2D98E32F-BDD7-4752-A6B1-BC0D4C3F7AC3}"/>
                </a:ext>
              </a:extLst>
            </p:cNvPr>
            <p:cNvSpPr/>
            <p:nvPr/>
          </p:nvSpPr>
          <p:spPr>
            <a:xfrm>
              <a:off x="8832370" y="2475749"/>
              <a:ext cx="145978" cy="315903"/>
            </a:xfrm>
            <a:custGeom>
              <a:avLst/>
              <a:gdLst>
                <a:gd name="connsiteX0" fmla="*/ 145978 w 145978"/>
                <a:gd name="connsiteY0" fmla="*/ 260185 h 315903"/>
                <a:gd name="connsiteX1" fmla="*/ 145978 w 145978"/>
                <a:gd name="connsiteY1" fmla="*/ 307153 h 315903"/>
                <a:gd name="connsiteX2" fmla="*/ 99923 w 145978"/>
                <a:gd name="connsiteY2" fmla="*/ 315903 h 315903"/>
                <a:gd name="connsiteX3" fmla="*/ 35915 w 145978"/>
                <a:gd name="connsiteY3" fmla="*/ 250053 h 315903"/>
                <a:gd name="connsiteX4" fmla="*/ 35915 w 145978"/>
                <a:gd name="connsiteY4" fmla="*/ 121577 h 315903"/>
                <a:gd name="connsiteX5" fmla="*/ 0 w 145978"/>
                <a:gd name="connsiteY5" fmla="*/ 121577 h 315903"/>
                <a:gd name="connsiteX6" fmla="*/ 0 w 145978"/>
                <a:gd name="connsiteY6" fmla="*/ 75991 h 315903"/>
                <a:gd name="connsiteX7" fmla="*/ 35454 w 145978"/>
                <a:gd name="connsiteY7" fmla="*/ 75991 h 315903"/>
                <a:gd name="connsiteX8" fmla="*/ 35454 w 145978"/>
                <a:gd name="connsiteY8" fmla="*/ 11983 h 315903"/>
                <a:gd name="connsiteX9" fmla="*/ 90252 w 145978"/>
                <a:gd name="connsiteY9" fmla="*/ 0 h 315903"/>
                <a:gd name="connsiteX10" fmla="*/ 90252 w 145978"/>
                <a:gd name="connsiteY10" fmla="*/ 75982 h 315903"/>
                <a:gd name="connsiteX11" fmla="*/ 145969 w 145978"/>
                <a:gd name="connsiteY11" fmla="*/ 75982 h 315903"/>
                <a:gd name="connsiteX12" fmla="*/ 145969 w 145978"/>
                <a:gd name="connsiteY12" fmla="*/ 121568 h 315903"/>
                <a:gd name="connsiteX13" fmla="*/ 90252 w 145978"/>
                <a:gd name="connsiteY13" fmla="*/ 121568 h 315903"/>
                <a:gd name="connsiteX14" fmla="*/ 90252 w 145978"/>
                <a:gd name="connsiteY14" fmla="*/ 237149 h 315903"/>
                <a:gd name="connsiteX15" fmla="*/ 115573 w 145978"/>
                <a:gd name="connsiteY15" fmla="*/ 268006 h 315903"/>
                <a:gd name="connsiteX16" fmla="*/ 145978 w 145978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8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4" y="312680"/>
                    <a:pt x="116042" y="315903"/>
                    <a:pt x="99923" y="315903"/>
                  </a:cubicBezTo>
                  <a:cubicBezTo>
                    <a:pt x="58481" y="315903"/>
                    <a:pt x="35915" y="292876"/>
                    <a:pt x="35915" y="250053"/>
                  </a:cubicBezTo>
                  <a:lnTo>
                    <a:pt x="35915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2" y="0"/>
                  </a:lnTo>
                  <a:lnTo>
                    <a:pt x="90252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2" y="121568"/>
                  </a:lnTo>
                  <a:lnTo>
                    <a:pt x="90252" y="237149"/>
                  </a:lnTo>
                  <a:cubicBezTo>
                    <a:pt x="90252" y="258795"/>
                    <a:pt x="97620" y="268006"/>
                    <a:pt x="115573" y="268006"/>
                  </a:cubicBezTo>
                  <a:cubicBezTo>
                    <a:pt x="125714" y="268015"/>
                    <a:pt x="136758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BD915048-FE88-419D-9EBB-8092B5E0F630}"/>
                </a:ext>
              </a:extLst>
            </p:cNvPr>
            <p:cNvSpPr/>
            <p:nvPr/>
          </p:nvSpPr>
          <p:spPr>
            <a:xfrm>
              <a:off x="9017185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1041994C-FB80-4B8C-A450-4723FFE0FDD3}"/>
                </a:ext>
              </a:extLst>
            </p:cNvPr>
            <p:cNvSpPr/>
            <p:nvPr/>
          </p:nvSpPr>
          <p:spPr>
            <a:xfrm>
              <a:off x="9240728" y="2616208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3F006D8D-E219-438B-83C5-C378362B72E1}"/>
                </a:ext>
              </a:extLst>
            </p:cNvPr>
            <p:cNvSpPr/>
            <p:nvPr/>
          </p:nvSpPr>
          <p:spPr>
            <a:xfrm>
              <a:off x="9550208" y="2551739"/>
              <a:ext cx="201686" cy="239921"/>
            </a:xfrm>
            <a:custGeom>
              <a:avLst/>
              <a:gdLst>
                <a:gd name="connsiteX0" fmla="*/ 54797 w 201686"/>
                <a:gd name="connsiteY0" fmla="*/ 140911 h 239921"/>
                <a:gd name="connsiteX1" fmla="*/ 101304 w 201686"/>
                <a:gd name="connsiteY1" fmla="*/ 190182 h 239921"/>
                <a:gd name="connsiteX2" fmla="*/ 146890 w 201686"/>
                <a:gd name="connsiteY2" fmla="*/ 140451 h 239921"/>
                <a:gd name="connsiteX3" fmla="*/ 146890 w 201686"/>
                <a:gd name="connsiteY3" fmla="*/ 8 h 239921"/>
                <a:gd name="connsiteX4" fmla="*/ 201687 w 201686"/>
                <a:gd name="connsiteY4" fmla="*/ 8 h 239921"/>
                <a:gd name="connsiteX5" fmla="*/ 201687 w 201686"/>
                <a:gd name="connsiteY5" fmla="*/ 142301 h 239921"/>
                <a:gd name="connsiteX6" fmla="*/ 102685 w 201686"/>
                <a:gd name="connsiteY6" fmla="*/ 239921 h 239921"/>
                <a:gd name="connsiteX7" fmla="*/ 0 w 201686"/>
                <a:gd name="connsiteY7" fmla="*/ 142754 h 239921"/>
                <a:gd name="connsiteX8" fmla="*/ 0 w 201686"/>
                <a:gd name="connsiteY8" fmla="*/ 0 h 239921"/>
                <a:gd name="connsiteX9" fmla="*/ 54797 w 201686"/>
                <a:gd name="connsiteY9" fmla="*/ 0 h 239921"/>
                <a:gd name="connsiteX10" fmla="*/ 54797 w 201686"/>
                <a:gd name="connsiteY10" fmla="*/ 140911 h 23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1686" h="239921">
                  <a:moveTo>
                    <a:pt x="54797" y="140911"/>
                  </a:moveTo>
                  <a:cubicBezTo>
                    <a:pt x="54797" y="173141"/>
                    <a:pt x="70916" y="190182"/>
                    <a:pt x="101304" y="190182"/>
                  </a:cubicBezTo>
                  <a:cubicBezTo>
                    <a:pt x="131240" y="190182"/>
                    <a:pt x="146890" y="173610"/>
                    <a:pt x="146890" y="140451"/>
                  </a:cubicBezTo>
                  <a:lnTo>
                    <a:pt x="146890" y="8"/>
                  </a:lnTo>
                  <a:lnTo>
                    <a:pt x="201687" y="8"/>
                  </a:lnTo>
                  <a:lnTo>
                    <a:pt x="201687" y="142301"/>
                  </a:lnTo>
                  <a:cubicBezTo>
                    <a:pt x="201687" y="203998"/>
                    <a:pt x="167155" y="239921"/>
                    <a:pt x="102685" y="239921"/>
                  </a:cubicBezTo>
                  <a:cubicBezTo>
                    <a:pt x="38678" y="239921"/>
                    <a:pt x="0" y="203998"/>
                    <a:pt x="0" y="142754"/>
                  </a:cubicBezTo>
                  <a:lnTo>
                    <a:pt x="0" y="0"/>
                  </a:lnTo>
                  <a:lnTo>
                    <a:pt x="54797" y="0"/>
                  </a:lnTo>
                  <a:lnTo>
                    <a:pt x="54797" y="14091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42B68FE3-6246-468A-A9CC-619DD77F8675}"/>
                </a:ext>
              </a:extLst>
            </p:cNvPr>
            <p:cNvSpPr/>
            <p:nvPr/>
          </p:nvSpPr>
          <p:spPr>
            <a:xfrm>
              <a:off x="9821371" y="2545760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89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45BE1ABE-A986-48B3-9EC3-5AC189356127}"/>
                </a:ext>
              </a:extLst>
            </p:cNvPr>
            <p:cNvSpPr/>
            <p:nvPr/>
          </p:nvSpPr>
          <p:spPr>
            <a:xfrm>
              <a:off x="10081021" y="2443527"/>
              <a:ext cx="219196" cy="348125"/>
            </a:xfrm>
            <a:custGeom>
              <a:avLst/>
              <a:gdLst>
                <a:gd name="connsiteX0" fmla="*/ 0 w 219196"/>
                <a:gd name="connsiteY0" fmla="*/ 224715 h 348125"/>
                <a:gd name="connsiteX1" fmla="*/ 95326 w 219196"/>
                <a:gd name="connsiteY1" fmla="*/ 102225 h 348125"/>
                <a:gd name="connsiteX2" fmla="*/ 163478 w 219196"/>
                <a:gd name="connsiteY2" fmla="*/ 133995 h 348125"/>
                <a:gd name="connsiteX3" fmla="*/ 164399 w 219196"/>
                <a:gd name="connsiteY3" fmla="*/ 133995 h 348125"/>
                <a:gd name="connsiteX4" fmla="*/ 164399 w 219196"/>
                <a:gd name="connsiteY4" fmla="*/ 13808 h 348125"/>
                <a:gd name="connsiteX5" fmla="*/ 219196 w 219196"/>
                <a:gd name="connsiteY5" fmla="*/ 0 h 348125"/>
                <a:gd name="connsiteX6" fmla="*/ 219196 w 219196"/>
                <a:gd name="connsiteY6" fmla="*/ 342598 h 348125"/>
                <a:gd name="connsiteX7" fmla="*/ 165781 w 219196"/>
                <a:gd name="connsiteY7" fmla="*/ 342598 h 348125"/>
                <a:gd name="connsiteX8" fmla="*/ 165781 w 219196"/>
                <a:gd name="connsiteY8" fmla="*/ 314965 h 348125"/>
                <a:gd name="connsiteX9" fmla="*/ 164860 w 219196"/>
                <a:gd name="connsiteY9" fmla="*/ 314965 h 348125"/>
                <a:gd name="connsiteX10" fmla="*/ 94405 w 219196"/>
                <a:gd name="connsiteY10" fmla="*/ 348125 h 348125"/>
                <a:gd name="connsiteX11" fmla="*/ 0 w 219196"/>
                <a:gd name="connsiteY11" fmla="*/ 224715 h 348125"/>
                <a:gd name="connsiteX12" fmla="*/ 54345 w 219196"/>
                <a:gd name="connsiteY12" fmla="*/ 224715 h 348125"/>
                <a:gd name="connsiteX13" fmla="*/ 108681 w 219196"/>
                <a:gd name="connsiteY13" fmla="*/ 299776 h 348125"/>
                <a:gd name="connsiteX14" fmla="*/ 164399 w 219196"/>
                <a:gd name="connsiteY14" fmla="*/ 268919 h 348125"/>
                <a:gd name="connsiteX15" fmla="*/ 164399 w 219196"/>
                <a:gd name="connsiteY15" fmla="*/ 183265 h 348125"/>
                <a:gd name="connsiteX16" fmla="*/ 108681 w 219196"/>
                <a:gd name="connsiteY16" fmla="*/ 151956 h 348125"/>
                <a:gd name="connsiteX17" fmla="*/ 54345 w 219196"/>
                <a:gd name="connsiteY17" fmla="*/ 224715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6" h="348125">
                  <a:moveTo>
                    <a:pt x="0" y="224715"/>
                  </a:moveTo>
                  <a:cubicBezTo>
                    <a:pt x="0" y="149193"/>
                    <a:pt x="38217" y="102225"/>
                    <a:pt x="95326" y="102225"/>
                  </a:cubicBezTo>
                  <a:cubicBezTo>
                    <a:pt x="124801" y="102225"/>
                    <a:pt x="147828" y="114652"/>
                    <a:pt x="163478" y="133995"/>
                  </a:cubicBezTo>
                  <a:lnTo>
                    <a:pt x="164399" y="133995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8"/>
                  </a:lnTo>
                  <a:lnTo>
                    <a:pt x="165781" y="342598"/>
                  </a:lnTo>
                  <a:lnTo>
                    <a:pt x="165781" y="314965"/>
                  </a:lnTo>
                  <a:lnTo>
                    <a:pt x="164860" y="314965"/>
                  </a:lnTo>
                  <a:cubicBezTo>
                    <a:pt x="147828" y="335690"/>
                    <a:pt x="123419" y="348125"/>
                    <a:pt x="94405" y="348125"/>
                  </a:cubicBezTo>
                  <a:cubicBezTo>
                    <a:pt x="38686" y="348125"/>
                    <a:pt x="0" y="300697"/>
                    <a:pt x="0" y="224715"/>
                  </a:cubicBezTo>
                  <a:close/>
                  <a:moveTo>
                    <a:pt x="54345" y="224715"/>
                  </a:moveTo>
                  <a:cubicBezTo>
                    <a:pt x="54345" y="272603"/>
                    <a:pt x="74148" y="299776"/>
                    <a:pt x="108681" y="299776"/>
                  </a:cubicBezTo>
                  <a:cubicBezTo>
                    <a:pt x="129867" y="299776"/>
                    <a:pt x="147359" y="289644"/>
                    <a:pt x="164399" y="268919"/>
                  </a:cubicBezTo>
                  <a:lnTo>
                    <a:pt x="164399" y="183265"/>
                  </a:lnTo>
                  <a:cubicBezTo>
                    <a:pt x="148740" y="162088"/>
                    <a:pt x="130780" y="151956"/>
                    <a:pt x="108681" y="151956"/>
                  </a:cubicBezTo>
                  <a:cubicBezTo>
                    <a:pt x="73227" y="151965"/>
                    <a:pt x="54345" y="177747"/>
                    <a:pt x="54345" y="22471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9E59EF01-209C-43D8-AD0F-020420CE10FE}"/>
                </a:ext>
              </a:extLst>
            </p:cNvPr>
            <p:cNvSpPr/>
            <p:nvPr/>
          </p:nvSpPr>
          <p:spPr>
            <a:xfrm>
              <a:off x="4011188" y="2963018"/>
              <a:ext cx="227478" cy="335246"/>
            </a:xfrm>
            <a:custGeom>
              <a:avLst/>
              <a:gdLst>
                <a:gd name="connsiteX0" fmla="*/ 36383 w 227478"/>
                <a:gd name="connsiteY0" fmla="*/ 245900 h 335246"/>
                <a:gd name="connsiteX1" fmla="*/ 116963 w 227478"/>
                <a:gd name="connsiteY1" fmla="*/ 282283 h 335246"/>
                <a:gd name="connsiteX2" fmla="*/ 169465 w 227478"/>
                <a:gd name="connsiteY2" fmla="*/ 241755 h 335246"/>
                <a:gd name="connsiteX3" fmla="*/ 10593 w 227478"/>
                <a:gd name="connsiteY3" fmla="*/ 93944 h 335246"/>
                <a:gd name="connsiteX4" fmla="*/ 120656 w 227478"/>
                <a:gd name="connsiteY4" fmla="*/ 0 h 335246"/>
                <a:gd name="connsiteX5" fmla="*/ 225183 w 227478"/>
                <a:gd name="connsiteY5" fmla="*/ 39147 h 335246"/>
                <a:gd name="connsiteX6" fmla="*/ 188800 w 227478"/>
                <a:gd name="connsiteY6" fmla="*/ 83812 h 335246"/>
                <a:gd name="connsiteX7" fmla="*/ 117884 w 227478"/>
                <a:gd name="connsiteY7" fmla="*/ 52503 h 335246"/>
                <a:gd name="connsiteX8" fmla="*/ 68613 w 227478"/>
                <a:gd name="connsiteY8" fmla="*/ 88886 h 335246"/>
                <a:gd name="connsiteX9" fmla="*/ 227478 w 227478"/>
                <a:gd name="connsiteY9" fmla="*/ 237158 h 335246"/>
                <a:gd name="connsiteX10" fmla="*/ 115590 w 227478"/>
                <a:gd name="connsiteY10" fmla="*/ 335246 h 335246"/>
                <a:gd name="connsiteX11" fmla="*/ 0 w 227478"/>
                <a:gd name="connsiteY11" fmla="*/ 290573 h 335246"/>
                <a:gd name="connsiteX12" fmla="*/ 36383 w 227478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78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63" y="282283"/>
                  </a:cubicBezTo>
                  <a:cubicBezTo>
                    <a:pt x="147359" y="282283"/>
                    <a:pt x="169465" y="265243"/>
                    <a:pt x="169465" y="241755"/>
                  </a:cubicBezTo>
                  <a:cubicBezTo>
                    <a:pt x="169465" y="179589"/>
                    <a:pt x="10593" y="198932"/>
                    <a:pt x="10593" y="93944"/>
                  </a:cubicBezTo>
                  <a:cubicBezTo>
                    <a:pt x="10593" y="38226"/>
                    <a:pt x="55726" y="0"/>
                    <a:pt x="120656" y="0"/>
                  </a:cubicBezTo>
                  <a:cubicBezTo>
                    <a:pt x="159333" y="0"/>
                    <a:pt x="195256" y="13356"/>
                    <a:pt x="225183" y="39147"/>
                  </a:cubicBezTo>
                  <a:lnTo>
                    <a:pt x="188800" y="83812"/>
                  </a:lnTo>
                  <a:cubicBezTo>
                    <a:pt x="165312" y="63087"/>
                    <a:pt x="141832" y="52503"/>
                    <a:pt x="117884" y="52503"/>
                  </a:cubicBezTo>
                  <a:cubicBezTo>
                    <a:pt x="89338" y="52503"/>
                    <a:pt x="68613" y="67692"/>
                    <a:pt x="68613" y="88886"/>
                  </a:cubicBezTo>
                  <a:cubicBezTo>
                    <a:pt x="68613" y="147359"/>
                    <a:pt x="227478" y="128024"/>
                    <a:pt x="227478" y="237158"/>
                  </a:cubicBezTo>
                  <a:cubicBezTo>
                    <a:pt x="227478" y="295639"/>
                    <a:pt x="182352" y="335246"/>
                    <a:pt x="115590" y="335246"/>
                  </a:cubicBezTo>
                  <a:cubicBezTo>
                    <a:pt x="72758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9D96E9F2-8836-4F7F-855B-26E3CBC00612}"/>
                </a:ext>
              </a:extLst>
            </p:cNvPr>
            <p:cNvSpPr/>
            <p:nvPr/>
          </p:nvSpPr>
          <p:spPr>
            <a:xfrm>
              <a:off x="4287334" y="3052356"/>
              <a:ext cx="225644" cy="245908"/>
            </a:xfrm>
            <a:custGeom>
              <a:avLst/>
              <a:gdLst>
                <a:gd name="connsiteX0" fmla="*/ 0 w 225644"/>
                <a:gd name="connsiteY0" fmla="*/ 122950 h 245908"/>
                <a:gd name="connsiteX1" fmla="*/ 113748 w 225644"/>
                <a:gd name="connsiteY1" fmla="*/ 0 h 245908"/>
                <a:gd name="connsiteX2" fmla="*/ 225644 w 225644"/>
                <a:gd name="connsiteY2" fmla="*/ 122950 h 245908"/>
                <a:gd name="connsiteX3" fmla="*/ 113748 w 225644"/>
                <a:gd name="connsiteY3" fmla="*/ 245908 h 245908"/>
                <a:gd name="connsiteX4" fmla="*/ 0 w 225644"/>
                <a:gd name="connsiteY4" fmla="*/ 122950 h 245908"/>
                <a:gd name="connsiteX5" fmla="*/ 171308 w 225644"/>
                <a:gd name="connsiteY5" fmla="*/ 123410 h 245908"/>
                <a:gd name="connsiteX6" fmla="*/ 112826 w 225644"/>
                <a:gd name="connsiteY6" fmla="*/ 49731 h 245908"/>
                <a:gd name="connsiteX7" fmla="*/ 54345 w 225644"/>
                <a:gd name="connsiteY7" fmla="*/ 122481 h 245908"/>
                <a:gd name="connsiteX8" fmla="*/ 113287 w 225644"/>
                <a:gd name="connsiteY8" fmla="*/ 196621 h 245908"/>
                <a:gd name="connsiteX9" fmla="*/ 171308 w 225644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44" h="245908">
                  <a:moveTo>
                    <a:pt x="0" y="122950"/>
                  </a:moveTo>
                  <a:cubicBezTo>
                    <a:pt x="0" y="49270"/>
                    <a:pt x="45586" y="0"/>
                    <a:pt x="113748" y="0"/>
                  </a:cubicBezTo>
                  <a:cubicBezTo>
                    <a:pt x="181440" y="0"/>
                    <a:pt x="225644" y="48349"/>
                    <a:pt x="225644" y="122950"/>
                  </a:cubicBezTo>
                  <a:cubicBezTo>
                    <a:pt x="225644" y="196629"/>
                    <a:pt x="181892" y="245908"/>
                    <a:pt x="113748" y="245908"/>
                  </a:cubicBezTo>
                  <a:cubicBezTo>
                    <a:pt x="46055" y="245900"/>
                    <a:pt x="0" y="197090"/>
                    <a:pt x="0" y="122950"/>
                  </a:cubicBezTo>
                  <a:close/>
                  <a:moveTo>
                    <a:pt x="171308" y="123410"/>
                  </a:moveTo>
                  <a:cubicBezTo>
                    <a:pt x="171308" y="77824"/>
                    <a:pt x="148741" y="49731"/>
                    <a:pt x="112826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12" y="196621"/>
                    <a:pt x="113287" y="196621"/>
                  </a:cubicBezTo>
                  <a:cubicBezTo>
                    <a:pt x="149202" y="196629"/>
                    <a:pt x="171308" y="168536"/>
                    <a:pt x="171308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1D392914-26E6-435A-9AE2-5EB8E02D6C78}"/>
                </a:ext>
              </a:extLst>
            </p:cNvPr>
            <p:cNvSpPr/>
            <p:nvPr/>
          </p:nvSpPr>
          <p:spPr>
            <a:xfrm>
              <a:off x="4551790" y="3058352"/>
              <a:ext cx="185115" cy="234377"/>
            </a:xfrm>
            <a:custGeom>
              <a:avLst/>
              <a:gdLst>
                <a:gd name="connsiteX0" fmla="*/ 185108 w 185115"/>
                <a:gd name="connsiteY0" fmla="*/ 234378 h 234377"/>
                <a:gd name="connsiteX1" fmla="*/ 0 w 185115"/>
                <a:gd name="connsiteY1" fmla="*/ 234378 h 234377"/>
                <a:gd name="connsiteX2" fmla="*/ 0 w 185115"/>
                <a:gd name="connsiteY2" fmla="*/ 187410 h 234377"/>
                <a:gd name="connsiteX3" fmla="*/ 116963 w 185115"/>
                <a:gd name="connsiteY3" fmla="*/ 46968 h 234377"/>
                <a:gd name="connsiteX4" fmla="*/ 6900 w 185115"/>
                <a:gd name="connsiteY4" fmla="*/ 46968 h 234377"/>
                <a:gd name="connsiteX5" fmla="*/ 6900 w 185115"/>
                <a:gd name="connsiteY5" fmla="*/ 0 h 234377"/>
                <a:gd name="connsiteX6" fmla="*/ 183274 w 185115"/>
                <a:gd name="connsiteY6" fmla="*/ 0 h 234377"/>
                <a:gd name="connsiteX7" fmla="*/ 183274 w 185115"/>
                <a:gd name="connsiteY7" fmla="*/ 46968 h 234377"/>
                <a:gd name="connsiteX8" fmla="*/ 65850 w 185115"/>
                <a:gd name="connsiteY8" fmla="*/ 187410 h 234377"/>
                <a:gd name="connsiteX9" fmla="*/ 185116 w 185115"/>
                <a:gd name="connsiteY9" fmla="*/ 187410 h 234377"/>
                <a:gd name="connsiteX10" fmla="*/ 185116 w 185115"/>
                <a:gd name="connsiteY10" fmla="*/ 234378 h 2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5115" h="234377">
                  <a:moveTo>
                    <a:pt x="185108" y="234378"/>
                  </a:moveTo>
                  <a:lnTo>
                    <a:pt x="0" y="234378"/>
                  </a:lnTo>
                  <a:lnTo>
                    <a:pt x="0" y="187410"/>
                  </a:lnTo>
                  <a:lnTo>
                    <a:pt x="116963" y="46968"/>
                  </a:lnTo>
                  <a:lnTo>
                    <a:pt x="6900" y="46968"/>
                  </a:lnTo>
                  <a:lnTo>
                    <a:pt x="6900" y="0"/>
                  </a:lnTo>
                  <a:lnTo>
                    <a:pt x="183274" y="0"/>
                  </a:lnTo>
                  <a:lnTo>
                    <a:pt x="183274" y="46968"/>
                  </a:lnTo>
                  <a:lnTo>
                    <a:pt x="65850" y="187410"/>
                  </a:lnTo>
                  <a:lnTo>
                    <a:pt x="185116" y="187410"/>
                  </a:lnTo>
                  <a:lnTo>
                    <a:pt x="185116" y="23437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027165C0-61B7-44AE-B61C-71360C9532ED}"/>
                </a:ext>
              </a:extLst>
            </p:cNvPr>
            <p:cNvSpPr/>
            <p:nvPr/>
          </p:nvSpPr>
          <p:spPr>
            <a:xfrm>
              <a:off x="478624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84" y="66311"/>
                    <a:pt x="34533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33" y="0"/>
                  </a:cubicBezTo>
                  <a:cubicBezTo>
                    <a:pt x="53884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2FC0E39F-03DD-436D-AA92-6F57E74A48FE}"/>
                </a:ext>
              </a:extLst>
            </p:cNvPr>
            <p:cNvSpPr/>
            <p:nvPr/>
          </p:nvSpPr>
          <p:spPr>
            <a:xfrm>
              <a:off x="4904378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503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6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36" y="204919"/>
                    <a:pt x="129850" y="195248"/>
                    <a:pt x="145048" y="176834"/>
                  </a:cubicBezTo>
                  <a:lnTo>
                    <a:pt x="145048" y="135845"/>
                  </a:lnTo>
                  <a:cubicBezTo>
                    <a:pt x="132161" y="132621"/>
                    <a:pt x="118805" y="131240"/>
                    <a:pt x="106831" y="131240"/>
                  </a:cubicBezTo>
                  <a:cubicBezTo>
                    <a:pt x="72298" y="131240"/>
                    <a:pt x="52503" y="145048"/>
                    <a:pt x="52503" y="169918"/>
                  </a:cubicBezTo>
                  <a:cubicBezTo>
                    <a:pt x="52494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41C091E0-5821-4486-8E64-2FD52F3E0717}"/>
                </a:ext>
              </a:extLst>
            </p:cNvPr>
            <p:cNvSpPr/>
            <p:nvPr/>
          </p:nvSpPr>
          <p:spPr>
            <a:xfrm>
              <a:off x="5173423" y="2950592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DF283017-0B2C-494C-BA68-EAD21CFD4FA4}"/>
                </a:ext>
              </a:extLst>
            </p:cNvPr>
            <p:cNvSpPr/>
            <p:nvPr/>
          </p:nvSpPr>
          <p:spPr>
            <a:xfrm>
              <a:off x="5275974" y="3058344"/>
              <a:ext cx="330180" cy="234386"/>
            </a:xfrm>
            <a:custGeom>
              <a:avLst/>
              <a:gdLst>
                <a:gd name="connsiteX0" fmla="*/ 330180 w 330180"/>
                <a:gd name="connsiteY0" fmla="*/ 0 h 234386"/>
                <a:gd name="connsiteX1" fmla="*/ 260646 w 330180"/>
                <a:gd name="connsiteY1" fmla="*/ 234386 h 234386"/>
                <a:gd name="connsiteX2" fmla="*/ 208143 w 330180"/>
                <a:gd name="connsiteY2" fmla="*/ 234386 h 234386"/>
                <a:gd name="connsiteX3" fmla="*/ 165320 w 330180"/>
                <a:gd name="connsiteY3" fmla="*/ 72298 h 234386"/>
                <a:gd name="connsiteX4" fmla="*/ 164408 w 330180"/>
                <a:gd name="connsiteY4" fmla="*/ 72298 h 234386"/>
                <a:gd name="connsiteX5" fmla="*/ 122037 w 330180"/>
                <a:gd name="connsiteY5" fmla="*/ 234386 h 234386"/>
                <a:gd name="connsiteX6" fmla="*/ 69535 w 330180"/>
                <a:gd name="connsiteY6" fmla="*/ 234386 h 234386"/>
                <a:gd name="connsiteX7" fmla="*/ 0 w 330180"/>
                <a:gd name="connsiteY7" fmla="*/ 0 h 234386"/>
                <a:gd name="connsiteX8" fmla="*/ 57560 w 330180"/>
                <a:gd name="connsiteY8" fmla="*/ 0 h 234386"/>
                <a:gd name="connsiteX9" fmla="*/ 98089 w 330180"/>
                <a:gd name="connsiteY9" fmla="*/ 157943 h 234386"/>
                <a:gd name="connsiteX10" fmla="*/ 99001 w 330180"/>
                <a:gd name="connsiteY10" fmla="*/ 157943 h 234386"/>
                <a:gd name="connsiteX11" fmla="*/ 140451 w 330180"/>
                <a:gd name="connsiteY11" fmla="*/ 0 h 234386"/>
                <a:gd name="connsiteX12" fmla="*/ 190642 w 330180"/>
                <a:gd name="connsiteY12" fmla="*/ 0 h 234386"/>
                <a:gd name="connsiteX13" fmla="*/ 233465 w 330180"/>
                <a:gd name="connsiteY13" fmla="*/ 157943 h 234386"/>
                <a:gd name="connsiteX14" fmla="*/ 234378 w 330180"/>
                <a:gd name="connsiteY14" fmla="*/ 157943 h 234386"/>
                <a:gd name="connsiteX15" fmla="*/ 273524 w 330180"/>
                <a:gd name="connsiteY15" fmla="*/ 0 h 234386"/>
                <a:gd name="connsiteX16" fmla="*/ 330180 w 330180"/>
                <a:gd name="connsiteY16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180" h="234386">
                  <a:moveTo>
                    <a:pt x="330180" y="0"/>
                  </a:moveTo>
                  <a:lnTo>
                    <a:pt x="260646" y="234386"/>
                  </a:lnTo>
                  <a:lnTo>
                    <a:pt x="208143" y="234386"/>
                  </a:lnTo>
                  <a:lnTo>
                    <a:pt x="165320" y="72298"/>
                  </a:lnTo>
                  <a:lnTo>
                    <a:pt x="164408" y="72298"/>
                  </a:lnTo>
                  <a:lnTo>
                    <a:pt x="122037" y="234386"/>
                  </a:lnTo>
                  <a:lnTo>
                    <a:pt x="69535" y="234386"/>
                  </a:lnTo>
                  <a:lnTo>
                    <a:pt x="0" y="0"/>
                  </a:lnTo>
                  <a:lnTo>
                    <a:pt x="57560" y="0"/>
                  </a:lnTo>
                  <a:lnTo>
                    <a:pt x="98089" y="157943"/>
                  </a:lnTo>
                  <a:lnTo>
                    <a:pt x="99001" y="157943"/>
                  </a:lnTo>
                  <a:lnTo>
                    <a:pt x="140451" y="0"/>
                  </a:lnTo>
                  <a:lnTo>
                    <a:pt x="190642" y="0"/>
                  </a:lnTo>
                  <a:lnTo>
                    <a:pt x="233465" y="157943"/>
                  </a:lnTo>
                  <a:lnTo>
                    <a:pt x="234378" y="157943"/>
                  </a:lnTo>
                  <a:lnTo>
                    <a:pt x="273524" y="0"/>
                  </a:lnTo>
                  <a:lnTo>
                    <a:pt x="33018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7BB3E30E-76D0-477B-850A-C60FD0634019}"/>
                </a:ext>
              </a:extLst>
            </p:cNvPr>
            <p:cNvSpPr/>
            <p:nvPr/>
          </p:nvSpPr>
          <p:spPr>
            <a:xfrm>
              <a:off x="5647320" y="2954268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05161B9B-AEF2-4FE6-8472-579148D2B4F5}"/>
                </a:ext>
              </a:extLst>
            </p:cNvPr>
            <p:cNvSpPr/>
            <p:nvPr/>
          </p:nvSpPr>
          <p:spPr>
            <a:xfrm>
              <a:off x="5759802" y="3052356"/>
              <a:ext cx="180502" cy="245891"/>
            </a:xfrm>
            <a:custGeom>
              <a:avLst/>
              <a:gdLst>
                <a:gd name="connsiteX0" fmla="*/ 26235 w 180502"/>
                <a:gd name="connsiteY0" fmla="*/ 174063 h 245891"/>
                <a:gd name="connsiteX1" fmla="*/ 92545 w 180502"/>
                <a:gd name="connsiteY1" fmla="*/ 200314 h 245891"/>
                <a:gd name="connsiteX2" fmla="*/ 127078 w 180502"/>
                <a:gd name="connsiteY2" fmla="*/ 176826 h 245891"/>
                <a:gd name="connsiteX3" fmla="*/ 9655 w 180502"/>
                <a:gd name="connsiteY3" fmla="*/ 72750 h 245891"/>
                <a:gd name="connsiteX4" fmla="*/ 98072 w 180502"/>
                <a:gd name="connsiteY4" fmla="*/ 0 h 245891"/>
                <a:gd name="connsiteX5" fmla="*/ 179120 w 180502"/>
                <a:gd name="connsiteY5" fmla="*/ 24401 h 245891"/>
                <a:gd name="connsiteX6" fmla="*/ 153338 w 180502"/>
                <a:gd name="connsiteY6" fmla="*/ 67223 h 245891"/>
                <a:gd name="connsiteX7" fmla="*/ 97159 w 180502"/>
                <a:gd name="connsiteY7" fmla="*/ 46499 h 245891"/>
                <a:gd name="connsiteX8" fmla="*/ 63539 w 180502"/>
                <a:gd name="connsiteY8" fmla="*/ 68145 h 245891"/>
                <a:gd name="connsiteX9" fmla="*/ 180502 w 180502"/>
                <a:gd name="connsiteY9" fmla="*/ 171751 h 245891"/>
                <a:gd name="connsiteX10" fmla="*/ 90251 w 180502"/>
                <a:gd name="connsiteY10" fmla="*/ 245891 h 245891"/>
                <a:gd name="connsiteX11" fmla="*/ 0 w 180502"/>
                <a:gd name="connsiteY11" fmla="*/ 217337 h 245891"/>
                <a:gd name="connsiteX12" fmla="*/ 26235 w 180502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02" h="245891">
                  <a:moveTo>
                    <a:pt x="26235" y="174063"/>
                  </a:moveTo>
                  <a:cubicBezTo>
                    <a:pt x="49254" y="191563"/>
                    <a:pt x="71821" y="200314"/>
                    <a:pt x="92545" y="200314"/>
                  </a:cubicBezTo>
                  <a:cubicBezTo>
                    <a:pt x="112801" y="200314"/>
                    <a:pt x="127078" y="191103"/>
                    <a:pt x="127078" y="176826"/>
                  </a:cubicBezTo>
                  <a:cubicBezTo>
                    <a:pt x="127078" y="136766"/>
                    <a:pt x="9655" y="151035"/>
                    <a:pt x="9655" y="72750"/>
                  </a:cubicBezTo>
                  <a:cubicBezTo>
                    <a:pt x="9655" y="29467"/>
                    <a:pt x="45578" y="0"/>
                    <a:pt x="98072" y="0"/>
                  </a:cubicBezTo>
                  <a:cubicBezTo>
                    <a:pt x="126166" y="0"/>
                    <a:pt x="154259" y="8282"/>
                    <a:pt x="179120" y="24401"/>
                  </a:cubicBezTo>
                  <a:lnTo>
                    <a:pt x="153338" y="67223"/>
                  </a:lnTo>
                  <a:cubicBezTo>
                    <a:pt x="133074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02" y="93014"/>
                    <a:pt x="180502" y="171751"/>
                  </a:cubicBezTo>
                  <a:cubicBezTo>
                    <a:pt x="180502" y="215956"/>
                    <a:pt x="144127" y="245891"/>
                    <a:pt x="90251" y="245891"/>
                  </a:cubicBezTo>
                  <a:cubicBezTo>
                    <a:pt x="58942" y="245891"/>
                    <a:pt x="27164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A66A89DC-56C3-4098-B227-7E3A3A35EBD4}"/>
                </a:ext>
              </a:extLst>
            </p:cNvPr>
            <p:cNvSpPr/>
            <p:nvPr/>
          </p:nvSpPr>
          <p:spPr>
            <a:xfrm>
              <a:off x="597652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87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47 w 180510"/>
                <a:gd name="connsiteY8" fmla="*/ 68145 h 245891"/>
                <a:gd name="connsiteX9" fmla="*/ 180510 w 180510"/>
                <a:gd name="connsiteY9" fmla="*/ 171751 h 245891"/>
                <a:gd name="connsiteX10" fmla="*/ 90259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1" y="200314"/>
                    <a:pt x="92545" y="200314"/>
                  </a:cubicBezTo>
                  <a:cubicBezTo>
                    <a:pt x="112809" y="200314"/>
                    <a:pt x="127087" y="191103"/>
                    <a:pt x="127087" y="176826"/>
                  </a:cubicBezTo>
                  <a:cubicBezTo>
                    <a:pt x="127087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2" y="53415"/>
                    <a:pt x="115129" y="46499"/>
                    <a:pt x="97159" y="46499"/>
                  </a:cubicBezTo>
                  <a:cubicBezTo>
                    <a:pt x="76904" y="46499"/>
                    <a:pt x="63547" y="55249"/>
                    <a:pt x="63547" y="68145"/>
                  </a:cubicBezTo>
                  <a:cubicBezTo>
                    <a:pt x="63547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9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0A8862CA-8004-4A78-A7D1-3E40F07F0F8C}"/>
                </a:ext>
              </a:extLst>
            </p:cNvPr>
            <p:cNvSpPr/>
            <p:nvPr/>
          </p:nvSpPr>
          <p:spPr>
            <a:xfrm>
              <a:off x="6201863" y="3052356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5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7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4" y="207214"/>
                  </a:lnTo>
                  <a:cubicBezTo>
                    <a:pt x="181432" y="233465"/>
                    <a:pt x="151496" y="245900"/>
                    <a:pt x="116034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5" y="65850"/>
                    <a:pt x="139990" y="45125"/>
                    <a:pt x="109134" y="45125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EAED3121-6B94-4633-9DD0-443BA4AAFDBA}"/>
                </a:ext>
              </a:extLst>
            </p:cNvPr>
            <p:cNvSpPr/>
            <p:nvPr/>
          </p:nvSpPr>
          <p:spPr>
            <a:xfrm>
              <a:off x="6475831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7 w 201695"/>
                <a:gd name="connsiteY4" fmla="*/ 105910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7" y="80579"/>
                    <a:pt x="54797" y="105910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6CDC8138-A44E-422D-9D3C-E27D1EB31A10}"/>
                </a:ext>
              </a:extLst>
            </p:cNvPr>
            <p:cNvSpPr/>
            <p:nvPr/>
          </p:nvSpPr>
          <p:spPr>
            <a:xfrm>
              <a:off x="672606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7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0" y="200314"/>
                    <a:pt x="92545" y="200314"/>
                  </a:cubicBezTo>
                  <a:cubicBezTo>
                    <a:pt x="112809" y="200314"/>
                    <a:pt x="127078" y="191103"/>
                    <a:pt x="127078" y="176826"/>
                  </a:cubicBezTo>
                  <a:cubicBezTo>
                    <a:pt x="127078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5" y="0"/>
                    <a:pt x="154259" y="8282"/>
                    <a:pt x="179128" y="24401"/>
                  </a:cubicBezTo>
                  <a:lnTo>
                    <a:pt x="153337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1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F2F80334-9D78-414E-92CF-9B09E762E936}"/>
                </a:ext>
              </a:extLst>
            </p:cNvPr>
            <p:cNvSpPr/>
            <p:nvPr/>
          </p:nvSpPr>
          <p:spPr>
            <a:xfrm>
              <a:off x="6951395" y="3052365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8 w 197542"/>
                <a:gd name="connsiteY3" fmla="*/ 0 h 245899"/>
                <a:gd name="connsiteX4" fmla="*/ 197542 w 197542"/>
                <a:gd name="connsiteY4" fmla="*/ 40060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25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60"/>
                  </a:cubicBezTo>
                  <a:lnTo>
                    <a:pt x="159777" y="75974"/>
                  </a:lnTo>
                  <a:cubicBezTo>
                    <a:pt x="145969" y="58013"/>
                    <a:pt x="131231" y="50192"/>
                    <a:pt x="112809" y="50192"/>
                  </a:cubicBezTo>
                  <a:cubicBezTo>
                    <a:pt x="78276" y="50192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62" y="196161"/>
                    <a:pt x="145500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07C72013-7C44-4386-86D5-3A12A2F7EFCB}"/>
                </a:ext>
              </a:extLst>
            </p:cNvPr>
            <p:cNvSpPr/>
            <p:nvPr/>
          </p:nvSpPr>
          <p:spPr>
            <a:xfrm>
              <a:off x="7195938" y="2950140"/>
              <a:ext cx="201695" cy="342598"/>
            </a:xfrm>
            <a:custGeom>
              <a:avLst/>
              <a:gdLst>
                <a:gd name="connsiteX0" fmla="*/ 201695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7 h 342598"/>
                <a:gd name="connsiteX10" fmla="*/ 55718 w 201695"/>
                <a:gd name="connsiteY10" fmla="*/ 136297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5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7"/>
                  </a:lnTo>
                  <a:lnTo>
                    <a:pt x="55718" y="136297"/>
                  </a:lnTo>
                  <a:cubicBezTo>
                    <a:pt x="69074" y="115573"/>
                    <a:pt x="93483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B6AEF49F-F4CF-4D85-B5B5-551CF214D939}"/>
                </a:ext>
              </a:extLst>
            </p:cNvPr>
            <p:cNvSpPr/>
            <p:nvPr/>
          </p:nvSpPr>
          <p:spPr>
            <a:xfrm>
              <a:off x="7451652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86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8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19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8" y="131240"/>
                    <a:pt x="106822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7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A4800E96-F44F-4BE1-93C8-E28DBD9F06F9}"/>
                </a:ext>
              </a:extLst>
            </p:cNvPr>
            <p:cNvSpPr/>
            <p:nvPr/>
          </p:nvSpPr>
          <p:spPr>
            <a:xfrm>
              <a:off x="7694437" y="2946899"/>
              <a:ext cx="143674" cy="345830"/>
            </a:xfrm>
            <a:custGeom>
              <a:avLst/>
              <a:gdLst>
                <a:gd name="connsiteX0" fmla="*/ 143674 w 143674"/>
                <a:gd name="connsiteY0" fmla="*/ 51582 h 345830"/>
                <a:gd name="connsiteX1" fmla="*/ 119734 w 143674"/>
                <a:gd name="connsiteY1" fmla="*/ 46976 h 345830"/>
                <a:gd name="connsiteX2" fmla="*/ 90720 w 143674"/>
                <a:gd name="connsiteY2" fmla="*/ 79667 h 345830"/>
                <a:gd name="connsiteX3" fmla="*/ 90720 w 143674"/>
                <a:gd name="connsiteY3" fmla="*/ 111445 h 345830"/>
                <a:gd name="connsiteX4" fmla="*/ 137235 w 143674"/>
                <a:gd name="connsiteY4" fmla="*/ 111445 h 345830"/>
                <a:gd name="connsiteX5" fmla="*/ 137235 w 143674"/>
                <a:gd name="connsiteY5" fmla="*/ 157031 h 345830"/>
                <a:gd name="connsiteX6" fmla="*/ 91180 w 143674"/>
                <a:gd name="connsiteY6" fmla="*/ 157031 h 345830"/>
                <a:gd name="connsiteX7" fmla="*/ 91180 w 143674"/>
                <a:gd name="connsiteY7" fmla="*/ 345831 h 345830"/>
                <a:gd name="connsiteX8" fmla="*/ 36383 w 143674"/>
                <a:gd name="connsiteY8" fmla="*/ 345831 h 345830"/>
                <a:gd name="connsiteX9" fmla="*/ 36383 w 143674"/>
                <a:gd name="connsiteY9" fmla="*/ 157031 h 345830"/>
                <a:gd name="connsiteX10" fmla="*/ 0 w 143674"/>
                <a:gd name="connsiteY10" fmla="*/ 157031 h 345830"/>
                <a:gd name="connsiteX11" fmla="*/ 0 w 143674"/>
                <a:gd name="connsiteY11" fmla="*/ 111445 h 345830"/>
                <a:gd name="connsiteX12" fmla="*/ 36383 w 143674"/>
                <a:gd name="connsiteY12" fmla="*/ 111445 h 345830"/>
                <a:gd name="connsiteX13" fmla="*/ 36383 w 143674"/>
                <a:gd name="connsiteY13" fmla="*/ 77825 h 345830"/>
                <a:gd name="connsiteX14" fmla="*/ 110983 w 143674"/>
                <a:gd name="connsiteY14" fmla="*/ 0 h 345830"/>
                <a:gd name="connsiteX15" fmla="*/ 143674 w 143674"/>
                <a:gd name="connsiteY15" fmla="*/ 5066 h 345830"/>
                <a:gd name="connsiteX16" fmla="*/ 143674 w 143674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74" h="345830">
                  <a:moveTo>
                    <a:pt x="143674" y="51582"/>
                  </a:moveTo>
                  <a:cubicBezTo>
                    <a:pt x="136306" y="48358"/>
                    <a:pt x="127555" y="46976"/>
                    <a:pt x="119734" y="46976"/>
                  </a:cubicBezTo>
                  <a:cubicBezTo>
                    <a:pt x="99010" y="46976"/>
                    <a:pt x="90720" y="57569"/>
                    <a:pt x="90720" y="79667"/>
                  </a:cubicBezTo>
                  <a:lnTo>
                    <a:pt x="90720" y="111445"/>
                  </a:lnTo>
                  <a:lnTo>
                    <a:pt x="137235" y="111445"/>
                  </a:lnTo>
                  <a:lnTo>
                    <a:pt x="137235" y="157031"/>
                  </a:lnTo>
                  <a:lnTo>
                    <a:pt x="91180" y="157031"/>
                  </a:lnTo>
                  <a:lnTo>
                    <a:pt x="91180" y="345831"/>
                  </a:lnTo>
                  <a:lnTo>
                    <a:pt x="36383" y="345831"/>
                  </a:lnTo>
                  <a:lnTo>
                    <a:pt x="36383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83" y="111445"/>
                  </a:lnTo>
                  <a:lnTo>
                    <a:pt x="36383" y="77825"/>
                  </a:lnTo>
                  <a:cubicBezTo>
                    <a:pt x="36383" y="29015"/>
                    <a:pt x="58490" y="0"/>
                    <a:pt x="110983" y="0"/>
                  </a:cubicBezTo>
                  <a:cubicBezTo>
                    <a:pt x="122958" y="0"/>
                    <a:pt x="134472" y="1382"/>
                    <a:pt x="143674" y="5066"/>
                  </a:cubicBezTo>
                  <a:lnTo>
                    <a:pt x="143674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C7190F48-4EF5-4244-9B7B-1D12115D9AED}"/>
                </a:ext>
              </a:extLst>
            </p:cNvPr>
            <p:cNvSpPr/>
            <p:nvPr/>
          </p:nvSpPr>
          <p:spPr>
            <a:xfrm>
              <a:off x="7867277" y="2982353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88ED0AF2-2479-48AB-9C89-A9E064055FB4}"/>
                </a:ext>
              </a:extLst>
            </p:cNvPr>
            <p:cNvSpPr/>
            <p:nvPr/>
          </p:nvSpPr>
          <p:spPr>
            <a:xfrm>
              <a:off x="8049797" y="3052356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4 w 214130"/>
                <a:gd name="connsiteY2" fmla="*/ 0 h 245899"/>
                <a:gd name="connsiteX3" fmla="*/ 214131 w 214130"/>
                <a:gd name="connsiteY3" fmla="*/ 119266 h 245899"/>
                <a:gd name="connsiteX4" fmla="*/ 213209 w 214130"/>
                <a:gd name="connsiteY4" fmla="*/ 141824 h 245899"/>
                <a:gd name="connsiteX5" fmla="*/ 55727 w 214130"/>
                <a:gd name="connsiteY5" fmla="*/ 141824 h 245899"/>
                <a:gd name="connsiteX6" fmla="*/ 116510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88 w 214130"/>
                <a:gd name="connsiteY10" fmla="*/ 101765 h 245899"/>
                <a:gd name="connsiteX11" fmla="*/ 161159 w 214130"/>
                <a:gd name="connsiteY11" fmla="*/ 101765 h 245899"/>
                <a:gd name="connsiteX12" fmla="*/ 109125 w 214130"/>
                <a:gd name="connsiteY12" fmla="*/ 45125 h 245899"/>
                <a:gd name="connsiteX13" fmla="*/ 5478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4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09" y="141824"/>
                  </a:cubicBezTo>
                  <a:lnTo>
                    <a:pt x="55727" y="141824"/>
                  </a:lnTo>
                  <a:cubicBezTo>
                    <a:pt x="61714" y="178207"/>
                    <a:pt x="83351" y="198924"/>
                    <a:pt x="116510" y="198924"/>
                  </a:cubicBezTo>
                  <a:cubicBezTo>
                    <a:pt x="138147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23" y="233465"/>
                    <a:pt x="151487" y="245900"/>
                    <a:pt x="116033" y="245900"/>
                  </a:cubicBezTo>
                  <a:close/>
                  <a:moveTo>
                    <a:pt x="54788" y="101765"/>
                  </a:moveTo>
                  <a:lnTo>
                    <a:pt x="161159" y="101765"/>
                  </a:lnTo>
                  <a:cubicBezTo>
                    <a:pt x="158864" y="65850"/>
                    <a:pt x="139981" y="45125"/>
                    <a:pt x="109125" y="45125"/>
                  </a:cubicBezTo>
                  <a:cubicBezTo>
                    <a:pt x="78729" y="45134"/>
                    <a:pt x="59394" y="65390"/>
                    <a:pt x="54788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622CD024-B066-425E-90D8-13B1673EBE29}"/>
                </a:ext>
              </a:extLst>
            </p:cNvPr>
            <p:cNvSpPr/>
            <p:nvPr/>
          </p:nvSpPr>
          <p:spPr>
            <a:xfrm>
              <a:off x="8323756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99DAA978-C363-44B9-ABA1-626F858E9B0C}"/>
                </a:ext>
              </a:extLst>
            </p:cNvPr>
            <p:cNvSpPr/>
            <p:nvPr/>
          </p:nvSpPr>
          <p:spPr>
            <a:xfrm>
              <a:off x="8741466" y="2935854"/>
              <a:ext cx="31309" cy="452200"/>
            </a:xfrm>
            <a:custGeom>
              <a:avLst/>
              <a:gdLst>
                <a:gd name="connsiteX0" fmla="*/ 31309 w 31309"/>
                <a:gd name="connsiteY0" fmla="*/ 452201 h 452200"/>
                <a:gd name="connsiteX1" fmla="*/ 0 w 31309"/>
                <a:gd name="connsiteY1" fmla="*/ 452201 h 452200"/>
                <a:gd name="connsiteX2" fmla="*/ 0 w 31309"/>
                <a:gd name="connsiteY2" fmla="*/ 0 h 452200"/>
                <a:gd name="connsiteX3" fmla="*/ 31309 w 31309"/>
                <a:gd name="connsiteY3" fmla="*/ 0 h 452200"/>
                <a:gd name="connsiteX4" fmla="*/ 31309 w 31309"/>
                <a:gd name="connsiteY4" fmla="*/ 452201 h 45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09" h="452200">
                  <a:moveTo>
                    <a:pt x="31309" y="452201"/>
                  </a:moveTo>
                  <a:lnTo>
                    <a:pt x="0" y="452201"/>
                  </a:lnTo>
                  <a:lnTo>
                    <a:pt x="0" y="0"/>
                  </a:lnTo>
                  <a:lnTo>
                    <a:pt x="31309" y="0"/>
                  </a:lnTo>
                  <a:lnTo>
                    <a:pt x="31309" y="45220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88785ABD-E1F8-421B-9E84-DCDBF11C2B02}"/>
                </a:ext>
              </a:extLst>
            </p:cNvPr>
            <p:cNvSpPr/>
            <p:nvPr/>
          </p:nvSpPr>
          <p:spPr>
            <a:xfrm>
              <a:off x="8970820" y="2968545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8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3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8 w 398768"/>
                <a:gd name="connsiteY9" fmla="*/ 0 h 324184"/>
                <a:gd name="connsiteX10" fmla="*/ 317260 w 398768"/>
                <a:gd name="connsiteY10" fmla="*/ 324185 h 324184"/>
                <a:gd name="connsiteX11" fmla="*/ 257857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8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3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8" y="0"/>
                  </a:lnTo>
                  <a:lnTo>
                    <a:pt x="317260" y="324185"/>
                  </a:lnTo>
                  <a:lnTo>
                    <a:pt x="257857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A0A53AA3-90DB-4EE1-9D52-0CE955AC6132}"/>
                </a:ext>
              </a:extLst>
            </p:cNvPr>
            <p:cNvSpPr/>
            <p:nvPr/>
          </p:nvSpPr>
          <p:spPr>
            <a:xfrm>
              <a:off x="941575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361C518F-8017-4A8A-82AE-26EA3F2EDA25}"/>
                </a:ext>
              </a:extLst>
            </p:cNvPr>
            <p:cNvSpPr/>
            <p:nvPr/>
          </p:nvSpPr>
          <p:spPr>
            <a:xfrm>
              <a:off x="9528805" y="2963018"/>
              <a:ext cx="227486" cy="335246"/>
            </a:xfrm>
            <a:custGeom>
              <a:avLst/>
              <a:gdLst>
                <a:gd name="connsiteX0" fmla="*/ 36383 w 227486"/>
                <a:gd name="connsiteY0" fmla="*/ 245900 h 335246"/>
                <a:gd name="connsiteX1" fmla="*/ 116971 w 227486"/>
                <a:gd name="connsiteY1" fmla="*/ 282283 h 335246"/>
                <a:gd name="connsiteX2" fmla="*/ 169466 w 227486"/>
                <a:gd name="connsiteY2" fmla="*/ 241755 h 335246"/>
                <a:gd name="connsiteX3" fmla="*/ 10601 w 227486"/>
                <a:gd name="connsiteY3" fmla="*/ 93944 h 335246"/>
                <a:gd name="connsiteX4" fmla="*/ 120656 w 227486"/>
                <a:gd name="connsiteY4" fmla="*/ 0 h 335246"/>
                <a:gd name="connsiteX5" fmla="*/ 225183 w 227486"/>
                <a:gd name="connsiteY5" fmla="*/ 39147 h 335246"/>
                <a:gd name="connsiteX6" fmla="*/ 188808 w 227486"/>
                <a:gd name="connsiteY6" fmla="*/ 83812 h 335246"/>
                <a:gd name="connsiteX7" fmla="*/ 117884 w 227486"/>
                <a:gd name="connsiteY7" fmla="*/ 52503 h 335246"/>
                <a:gd name="connsiteX8" fmla="*/ 68613 w 227486"/>
                <a:gd name="connsiteY8" fmla="*/ 88886 h 335246"/>
                <a:gd name="connsiteX9" fmla="*/ 227486 w 227486"/>
                <a:gd name="connsiteY9" fmla="*/ 237158 h 335246"/>
                <a:gd name="connsiteX10" fmla="*/ 115590 w 227486"/>
                <a:gd name="connsiteY10" fmla="*/ 335246 h 335246"/>
                <a:gd name="connsiteX11" fmla="*/ 0 w 227486"/>
                <a:gd name="connsiteY11" fmla="*/ 290573 h 335246"/>
                <a:gd name="connsiteX12" fmla="*/ 36383 w 227486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86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71" y="282283"/>
                  </a:cubicBezTo>
                  <a:cubicBezTo>
                    <a:pt x="147359" y="282283"/>
                    <a:pt x="169466" y="265243"/>
                    <a:pt x="169466" y="241755"/>
                  </a:cubicBezTo>
                  <a:cubicBezTo>
                    <a:pt x="169466" y="179589"/>
                    <a:pt x="10601" y="198932"/>
                    <a:pt x="10601" y="93944"/>
                  </a:cubicBezTo>
                  <a:cubicBezTo>
                    <a:pt x="10601" y="38226"/>
                    <a:pt x="55727" y="0"/>
                    <a:pt x="120656" y="0"/>
                  </a:cubicBezTo>
                  <a:cubicBezTo>
                    <a:pt x="159342" y="0"/>
                    <a:pt x="195256" y="13356"/>
                    <a:pt x="225183" y="39147"/>
                  </a:cubicBezTo>
                  <a:lnTo>
                    <a:pt x="188808" y="83812"/>
                  </a:lnTo>
                  <a:cubicBezTo>
                    <a:pt x="165321" y="63087"/>
                    <a:pt x="141841" y="52503"/>
                    <a:pt x="117884" y="52503"/>
                  </a:cubicBezTo>
                  <a:cubicBezTo>
                    <a:pt x="89339" y="52503"/>
                    <a:pt x="68613" y="67692"/>
                    <a:pt x="68613" y="88886"/>
                  </a:cubicBezTo>
                  <a:cubicBezTo>
                    <a:pt x="68613" y="147359"/>
                    <a:pt x="227486" y="128024"/>
                    <a:pt x="227486" y="237158"/>
                  </a:cubicBezTo>
                  <a:cubicBezTo>
                    <a:pt x="227486" y="295639"/>
                    <a:pt x="182352" y="335246"/>
                    <a:pt x="115590" y="335246"/>
                  </a:cubicBezTo>
                  <a:cubicBezTo>
                    <a:pt x="72767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11B09AF8-F848-4632-B342-DF48AD33BA92}"/>
                </a:ext>
              </a:extLst>
            </p:cNvPr>
            <p:cNvSpPr/>
            <p:nvPr/>
          </p:nvSpPr>
          <p:spPr>
            <a:xfrm>
              <a:off x="9804959" y="3052356"/>
              <a:ext cx="225636" cy="245908"/>
            </a:xfrm>
            <a:custGeom>
              <a:avLst/>
              <a:gdLst>
                <a:gd name="connsiteX0" fmla="*/ 0 w 225636"/>
                <a:gd name="connsiteY0" fmla="*/ 122950 h 245908"/>
                <a:gd name="connsiteX1" fmla="*/ 113739 w 225636"/>
                <a:gd name="connsiteY1" fmla="*/ 0 h 245908"/>
                <a:gd name="connsiteX2" fmla="*/ 225636 w 225636"/>
                <a:gd name="connsiteY2" fmla="*/ 122950 h 245908"/>
                <a:gd name="connsiteX3" fmla="*/ 113739 w 225636"/>
                <a:gd name="connsiteY3" fmla="*/ 245908 h 245908"/>
                <a:gd name="connsiteX4" fmla="*/ 0 w 225636"/>
                <a:gd name="connsiteY4" fmla="*/ 122950 h 245908"/>
                <a:gd name="connsiteX5" fmla="*/ 171300 w 225636"/>
                <a:gd name="connsiteY5" fmla="*/ 123410 h 245908"/>
                <a:gd name="connsiteX6" fmla="*/ 112818 w 225636"/>
                <a:gd name="connsiteY6" fmla="*/ 49731 h 245908"/>
                <a:gd name="connsiteX7" fmla="*/ 54345 w 225636"/>
                <a:gd name="connsiteY7" fmla="*/ 122481 h 245908"/>
                <a:gd name="connsiteX8" fmla="*/ 113287 w 225636"/>
                <a:gd name="connsiteY8" fmla="*/ 196621 h 245908"/>
                <a:gd name="connsiteX9" fmla="*/ 171300 w 225636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36" h="245908">
                  <a:moveTo>
                    <a:pt x="0" y="122950"/>
                  </a:moveTo>
                  <a:cubicBezTo>
                    <a:pt x="0" y="49270"/>
                    <a:pt x="45586" y="0"/>
                    <a:pt x="113739" y="0"/>
                  </a:cubicBezTo>
                  <a:cubicBezTo>
                    <a:pt x="181431" y="0"/>
                    <a:pt x="225636" y="48349"/>
                    <a:pt x="225636" y="122950"/>
                  </a:cubicBezTo>
                  <a:cubicBezTo>
                    <a:pt x="225636" y="196629"/>
                    <a:pt x="181884" y="245908"/>
                    <a:pt x="113739" y="245908"/>
                  </a:cubicBezTo>
                  <a:cubicBezTo>
                    <a:pt x="46047" y="245900"/>
                    <a:pt x="0" y="197090"/>
                    <a:pt x="0" y="122950"/>
                  </a:cubicBezTo>
                  <a:close/>
                  <a:moveTo>
                    <a:pt x="171300" y="123410"/>
                  </a:moveTo>
                  <a:cubicBezTo>
                    <a:pt x="171300" y="77824"/>
                    <a:pt x="148741" y="49731"/>
                    <a:pt x="112818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03" y="196621"/>
                    <a:pt x="113287" y="196621"/>
                  </a:cubicBezTo>
                  <a:cubicBezTo>
                    <a:pt x="149193" y="196629"/>
                    <a:pt x="171300" y="168536"/>
                    <a:pt x="171300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620"/>
            </a:p>
          </p:txBody>
        </p:sp>
      </p:grpSp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75069-90D3-47FD-846C-CB9D88DEE72F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C50F1EF-7CD3-4F38-8BE6-ED3FCE2DB3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8" y="1631156"/>
            <a:ext cx="5469732" cy="45696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024A1079-17C2-45DE-A16B-14C152A08F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6329" y="1631156"/>
            <a:ext cx="5469732" cy="45696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E5E3F57-04C9-40C7-B10F-E51808253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6791738E-1095-45F8-98E2-D057FFD19CA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73212EE7-978B-435B-B747-4DF34057F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59413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1739F-85A4-4904-BF10-1F018D199650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2099" y="6634666"/>
            <a:ext cx="193964" cy="123111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36A777D-D5C6-4E84-A9C9-D0F4836A4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D304591F-2FC9-4C29-9FE5-537955E3B9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8318" y="1631157"/>
            <a:ext cx="3568821" cy="456961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D0C47385-EF97-44EE-867E-E9365B44CA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07242" y="1631157"/>
            <a:ext cx="3568821" cy="456961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E3F53468-6A74-4DFC-93FD-A760B961965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12780" y="1631157"/>
            <a:ext cx="3568821" cy="456961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86333803-0B38-4F61-95AE-49DCFFD7FB88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08BEEA51-35F2-44B9-8FA6-474AFBCFB0F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66738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B52583-25AC-450B-861F-C7EF6E2A4877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C50F1EF-7CD3-4F38-8BE6-ED3FCE2DB3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8" y="1631156"/>
            <a:ext cx="5469732" cy="45696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E5E3F57-04C9-40C7-B10F-E51808253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3A0E3338-4E71-4920-9A06-A4D408E5A29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5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8D50DB04-91D7-4C23-96CE-09E0502D14C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A160CC5-8A59-46D3-A1D7-F21A3B6955D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664633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3A0E3338-4E71-4920-9A06-A4D408E5A29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318" y="1631155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66975A-5916-44F8-AAB7-DA930B118AE0}" type="datetime4">
              <a:rPr lang="de-DE" smtClean="0"/>
              <a:t>13. März 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2099" y="6634666"/>
            <a:ext cx="193964" cy="123111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C50F1EF-7CD3-4F38-8BE6-ED3FCE2DB3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06331" y="1631156"/>
            <a:ext cx="5469732" cy="45696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E5E3F57-04C9-40C7-B10F-E51808253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1C6D487A-3469-4A14-880C-0C0352BFC29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65A4D142-596E-4394-B407-65001A377D3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128208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32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68005349-B597-40A4-BBEC-241EC89DAF8C}" type="datetime4">
              <a:rPr lang="de-DE" smtClean="0"/>
              <a:t>13. März 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5469732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Wirtschafts- und Sozialwissenschaften | WiS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196733"/>
            <a:ext cx="11676062" cy="72000"/>
          </a:xfrm>
          <a:prstGeom prst="rect">
            <a:avLst/>
          </a:prstGeom>
          <a:solidFill>
            <a:srgbClr val="C50F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rgbClr val="C50F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94ED806-CB19-40CC-A79A-590CC1E2001C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133350" y="2711163"/>
            <a:chExt cx="333375" cy="136812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4AAF1C65-9B2D-4CC2-AC17-D265DC4D73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1A82F2D7-59C8-4661-B851-DC008AA6297D}"/>
                </a:ext>
              </a:extLst>
            </p:cNvPr>
            <p:cNvSpPr txBox="1"/>
            <p:nvPr userDrawn="1"/>
          </p:nvSpPr>
          <p:spPr>
            <a:xfrm>
              <a:off x="-96506" y="271116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11FD6C4-2ACB-4F36-A3BA-68BAE793E096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133350" y="2711163"/>
            <a:chExt cx="333375" cy="136812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79170BC-C4E0-4FC8-93EA-CB17C932729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CF57888-5707-459D-94AC-235CE0EBEDDC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503014F4-59EC-4961-A29D-259A33C423B3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133350" y="2711163"/>
            <a:chExt cx="333375" cy="136812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BD8E14DC-3898-4BA1-91EA-46ADC917A5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61BB5C6B-8FE1-44A4-AE66-C1DB01AE301C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B9991022-C87B-4402-BF68-CD3ED59D5D85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133350" y="2711163"/>
            <a:chExt cx="333375" cy="136812"/>
          </a:xfrm>
        </p:grpSpPr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39873FE-8996-424A-94FE-EEEEC0A7B6C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A04C5416-0A35-4C8C-8975-2F5057F69C48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FF9A881D-D6E0-4814-9AA3-AAF6697A620E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133350" y="2711163"/>
            <a:chExt cx="333375" cy="136812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7ECA5DFD-01F8-49BC-9DE9-EE577F9B40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0348451A-09A8-4D76-AA86-13CB9E640770}"/>
                </a:ext>
              </a:extLst>
            </p:cNvPr>
            <p:cNvSpPr txBox="1"/>
            <p:nvPr userDrawn="1"/>
          </p:nvSpPr>
          <p:spPr>
            <a:xfrm>
              <a:off x="-96504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324DF2EB-9047-4DDA-A12A-4BAC4962F78F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133350" y="2711163"/>
            <a:chExt cx="333375" cy="136812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90A038D-AD14-4251-A0A9-22A5F6713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9E3D1027-C73A-4F88-AB8D-55680AB053E7}"/>
                </a:ext>
              </a:extLst>
            </p:cNvPr>
            <p:cNvSpPr txBox="1"/>
            <p:nvPr userDrawn="1"/>
          </p:nvSpPr>
          <p:spPr>
            <a:xfrm>
              <a:off x="-96503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B6244944-3F97-4474-9D4A-3D31BFBC3DF9}"/>
              </a:ext>
            </a:extLst>
          </p:cNvPr>
          <p:cNvGrpSpPr/>
          <p:nvPr userDrawn="1"/>
        </p:nvGrpSpPr>
        <p:grpSpPr>
          <a:xfrm rot="16200000">
            <a:off x="281643" y="-299136"/>
            <a:ext cx="333375" cy="136808"/>
            <a:chOff x="-133350" y="2711167"/>
            <a:chExt cx="333375" cy="136808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7182CE3-E874-4552-B5B3-4076C99089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DFE6B92B-AC01-4482-A6E7-400EF0E7F9ED}"/>
                </a:ext>
              </a:extLst>
            </p:cNvPr>
            <p:cNvSpPr txBox="1"/>
            <p:nvPr userDrawn="1"/>
          </p:nvSpPr>
          <p:spPr>
            <a:xfrm>
              <a:off x="-96507" y="271116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5EC5B3E5-86C1-4027-A74F-789345DFA684}"/>
              </a:ext>
            </a:extLst>
          </p:cNvPr>
          <p:cNvGrpSpPr/>
          <p:nvPr userDrawn="1"/>
        </p:nvGrpSpPr>
        <p:grpSpPr>
          <a:xfrm rot="16200000">
            <a:off x="5752963" y="-299136"/>
            <a:ext cx="333375" cy="136804"/>
            <a:chOff x="-133350" y="2711171"/>
            <a:chExt cx="333375" cy="136804"/>
          </a:xfrm>
        </p:grpSpPr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7B62256D-25C9-4899-8A3A-7970EB4706F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29A2699B-FFE8-4320-BD7A-68D214D9A58B}"/>
                </a:ext>
              </a:extLst>
            </p:cNvPr>
            <p:cNvSpPr txBox="1"/>
            <p:nvPr userDrawn="1"/>
          </p:nvSpPr>
          <p:spPr>
            <a:xfrm>
              <a:off x="-96504" y="271117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1A9EBBA-C118-4592-8B41-99FA797C19C4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416680" y="-397424"/>
            <a:chExt cx="124906" cy="333375"/>
          </a:xfrm>
        </p:grpSpPr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45C123C4-4121-4372-95DF-DC232FC6A3E1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10C304B0-38F3-48B3-A23F-BE3EEAF774D6}"/>
                </a:ext>
              </a:extLst>
            </p:cNvPr>
            <p:cNvSpPr txBox="1"/>
            <p:nvPr userDrawn="1"/>
          </p:nvSpPr>
          <p:spPr>
            <a:xfrm rot="16200000">
              <a:off x="634928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EA609601-D94C-4D05-A7EF-EBA9D6ACA000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3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2CEB042-C849-4BE4-A0F0-03828777E713}"/>
              </a:ext>
            </a:extLst>
          </p:cNvPr>
          <p:cNvGrpSpPr/>
          <p:nvPr userDrawn="1"/>
        </p:nvGrpSpPr>
        <p:grpSpPr>
          <a:xfrm rot="16200000">
            <a:off x="11447325" y="-299139"/>
            <a:ext cx="333375" cy="136800"/>
            <a:chOff x="-133350" y="2711175"/>
            <a:chExt cx="333375" cy="136800"/>
          </a:xfrm>
        </p:grpSpPr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A58E387D-7C2C-4001-94B6-8372A7A130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29EC0E69-66B7-4E97-B0AC-9CFA0DDEC604}"/>
                </a:ext>
              </a:extLst>
            </p:cNvPr>
            <p:cNvSpPr txBox="1"/>
            <p:nvPr userDrawn="1"/>
          </p:nvSpPr>
          <p:spPr>
            <a:xfrm>
              <a:off x="-96501" y="2711175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44" name="Freihandform: Form 43">
            <a:extLst>
              <a:ext uri="{FF2B5EF4-FFF2-40B4-BE49-F238E27FC236}">
                <a16:creationId xmlns:a16="http://schemas.microsoft.com/office/drawing/2014/main" id="{5455B7B7-D66F-4A5D-9E90-5BA38D64518F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54" r:id="rId21"/>
    <p:sldLayoutId id="2147483756" r:id="rId2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4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4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4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0430535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hteck 55"/>
          <p:cNvSpPr/>
          <p:nvPr userDrawn="1"/>
        </p:nvSpPr>
        <p:spPr>
          <a:xfrm>
            <a:off x="0" y="1316765"/>
            <a:ext cx="259200" cy="1296260"/>
          </a:xfrm>
          <a:prstGeom prst="rect">
            <a:avLst/>
          </a:prstGeom>
          <a:solidFill>
            <a:srgbClr val="8D14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400"/>
          </a:p>
        </p:txBody>
      </p:sp>
      <p:sp>
        <p:nvSpPr>
          <p:cNvPr id="57" name="Rechteck 56"/>
          <p:cNvSpPr/>
          <p:nvPr userDrawn="1"/>
        </p:nvSpPr>
        <p:spPr>
          <a:xfrm>
            <a:off x="-1" y="2646296"/>
            <a:ext cx="259200" cy="1296000"/>
          </a:xfrm>
          <a:prstGeom prst="rect">
            <a:avLst/>
          </a:prstGeom>
          <a:solidFill>
            <a:srgbClr val="0038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240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4109" y="260078"/>
            <a:ext cx="2446416" cy="676337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F6206FB-6735-4301-89BB-8D0073366A0A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814" y="260078"/>
            <a:ext cx="2040660" cy="680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738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17" r:id="rId3"/>
    <p:sldLayoutId id="2147483746" r:id="rId4"/>
    <p:sldLayoutId id="2147483719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5" r:id="rId13"/>
    <p:sldLayoutId id="2147483757" r:id="rId14"/>
  </p:sldLayoutIdLst>
  <p:hf hdr="0" dt="0"/>
  <p:txStyles>
    <p:titleStyle>
      <a:lvl1pPr algn="l" defTabSz="1219170" rtl="0" eaLnBrk="1" latinLnBrk="0" hangingPunct="1">
        <a:lnSpc>
          <a:spcPts val="4267"/>
        </a:lnSpc>
        <a:spcBef>
          <a:spcPct val="0"/>
        </a:spcBef>
        <a:buNone/>
        <a:defRPr sz="4267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609585" indent="-609585" algn="l" defTabSz="1219170" rtl="0" eaLnBrk="1" latinLnBrk="0" hangingPunct="1">
        <a:spcBef>
          <a:spcPct val="20000"/>
        </a:spcBef>
        <a:buFont typeface="+mj-lt"/>
        <a:buAutoNum type="arabicPeriod"/>
        <a:defRPr sz="3200" kern="1200">
          <a:solidFill>
            <a:schemeClr val="bg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bg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bg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bg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22">
          <p15:clr>
            <a:srgbClr val="F26B43"/>
          </p15:clr>
        </p15:guide>
        <p15:guide id="2" pos="24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6"/>
            <a:ext cx="6844386" cy="29918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77040" y="6634667"/>
            <a:ext cx="589905" cy="110800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720">
                <a:solidFill>
                  <a:schemeClr val="tx1"/>
                </a:solidFill>
              </a:defRPr>
            </a:lvl1pPr>
          </a:lstStyle>
          <a:p>
            <a:fld id="{68005349-B597-40A4-BBEC-241EC89DAF8C}" type="datetime4">
              <a:rPr lang="de-DE" smtClean="0"/>
              <a:t>13. März 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20" y="6634667"/>
            <a:ext cx="5469732" cy="110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720">
                <a:solidFill>
                  <a:schemeClr val="tx1"/>
                </a:solidFill>
              </a:defRPr>
            </a:lvl1pPr>
          </a:lstStyle>
          <a:p>
            <a:r>
              <a:rPr lang="de-DE"/>
              <a:t>Wirtschafts- und Sozialwissenschaften | WiS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1717" y="6634667"/>
            <a:ext cx="184346" cy="110800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72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196733"/>
            <a:ext cx="11676062" cy="72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2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20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94ED806-CB19-40CC-A79A-590CC1E2001C}"/>
              </a:ext>
            </a:extLst>
          </p:cNvPr>
          <p:cNvGrpSpPr/>
          <p:nvPr userDrawn="1"/>
        </p:nvGrpSpPr>
        <p:grpSpPr>
          <a:xfrm>
            <a:off x="-390525" y="160153"/>
            <a:ext cx="333376" cy="136812"/>
            <a:chOff x="-133350" y="2711163"/>
            <a:chExt cx="333375" cy="136812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4AAF1C65-9B2D-4CC2-AC17-D265DC4D73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1A82F2D7-59C8-4661-B851-DC008AA6297D}"/>
                </a:ext>
              </a:extLst>
            </p:cNvPr>
            <p:cNvSpPr txBox="1"/>
            <p:nvPr userDrawn="1"/>
          </p:nvSpPr>
          <p:spPr>
            <a:xfrm>
              <a:off x="-82078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11FD6C4-2ACB-4F36-A3BA-68BAE793E096}"/>
              </a:ext>
            </a:extLst>
          </p:cNvPr>
          <p:cNvGrpSpPr/>
          <p:nvPr userDrawn="1"/>
        </p:nvGrpSpPr>
        <p:grpSpPr>
          <a:xfrm>
            <a:off x="-390525" y="1131703"/>
            <a:ext cx="333376" cy="136812"/>
            <a:chOff x="-133350" y="2711163"/>
            <a:chExt cx="333375" cy="136812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79170BC-C4E0-4FC8-93EA-CB17C932729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CF57888-5707-459D-94AC-235CE0EBEDDC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503014F4-59EC-4961-A29D-259A33C423B3}"/>
              </a:ext>
            </a:extLst>
          </p:cNvPr>
          <p:cNvGrpSpPr/>
          <p:nvPr userDrawn="1"/>
        </p:nvGrpSpPr>
        <p:grpSpPr>
          <a:xfrm>
            <a:off x="-390525" y="1491963"/>
            <a:ext cx="333376" cy="136812"/>
            <a:chOff x="-133350" y="2711163"/>
            <a:chExt cx="333375" cy="136812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BD8E14DC-3898-4BA1-91EA-46ADC917A5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61BB5C6B-8FE1-44A4-AE66-C1DB01AE301C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B9991022-C87B-4402-BF68-CD3ED59D5D85}"/>
              </a:ext>
            </a:extLst>
          </p:cNvPr>
          <p:cNvGrpSpPr/>
          <p:nvPr userDrawn="1"/>
        </p:nvGrpSpPr>
        <p:grpSpPr>
          <a:xfrm>
            <a:off x="-390525" y="3292188"/>
            <a:ext cx="333376" cy="136812"/>
            <a:chOff x="-133350" y="2711163"/>
            <a:chExt cx="333375" cy="136812"/>
          </a:xfrm>
        </p:grpSpPr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39873FE-8996-424A-94FE-EEEEC0A7B6C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A04C5416-0A35-4C8C-8975-2F5057F69C48}"/>
                </a:ext>
              </a:extLst>
            </p:cNvPr>
            <p:cNvSpPr txBox="1"/>
            <p:nvPr userDrawn="1"/>
          </p:nvSpPr>
          <p:spPr>
            <a:xfrm>
              <a:off x="-82077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FF9A881D-D6E0-4814-9AA3-AAF6697A620E}"/>
              </a:ext>
            </a:extLst>
          </p:cNvPr>
          <p:cNvGrpSpPr/>
          <p:nvPr userDrawn="1"/>
        </p:nvGrpSpPr>
        <p:grpSpPr>
          <a:xfrm>
            <a:off x="-390525" y="6063963"/>
            <a:ext cx="333376" cy="136812"/>
            <a:chOff x="-133350" y="2711163"/>
            <a:chExt cx="333375" cy="136812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7ECA5DFD-01F8-49BC-9DE9-EE577F9B40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0348451A-09A8-4D76-AA86-13CB9E640770}"/>
                </a:ext>
              </a:extLst>
            </p:cNvPr>
            <p:cNvSpPr txBox="1"/>
            <p:nvPr userDrawn="1"/>
          </p:nvSpPr>
          <p:spPr>
            <a:xfrm>
              <a:off x="-82076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324DF2EB-9047-4DDA-A12A-4BAC4962F78F}"/>
              </a:ext>
            </a:extLst>
          </p:cNvPr>
          <p:cNvGrpSpPr/>
          <p:nvPr userDrawn="1"/>
        </p:nvGrpSpPr>
        <p:grpSpPr>
          <a:xfrm>
            <a:off x="-390525" y="6495763"/>
            <a:ext cx="333376" cy="136812"/>
            <a:chOff x="-133350" y="2711163"/>
            <a:chExt cx="333375" cy="136812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90A038D-AD14-4251-A0A9-22A5F6713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9E3D1027-C73A-4F88-AB8D-55680AB053E7}"/>
                </a:ext>
              </a:extLst>
            </p:cNvPr>
            <p:cNvSpPr txBox="1"/>
            <p:nvPr userDrawn="1"/>
          </p:nvSpPr>
          <p:spPr>
            <a:xfrm>
              <a:off x="-82075" y="2711163"/>
              <a:ext cx="230831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B6244944-3F97-4474-9D4A-3D31BFBC3DF9}"/>
              </a:ext>
            </a:extLst>
          </p:cNvPr>
          <p:cNvGrpSpPr/>
          <p:nvPr userDrawn="1"/>
        </p:nvGrpSpPr>
        <p:grpSpPr>
          <a:xfrm rot="16200000">
            <a:off x="284750" y="-296027"/>
            <a:ext cx="333375" cy="130588"/>
            <a:chOff x="-133350" y="2717387"/>
            <a:chExt cx="333375" cy="130588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7182CE3-E874-4552-B5B3-4076C99089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DFE6B92B-AC01-4482-A6E7-400EF0E7F9ED}"/>
                </a:ext>
              </a:extLst>
            </p:cNvPr>
            <p:cNvSpPr txBox="1"/>
            <p:nvPr userDrawn="1"/>
          </p:nvSpPr>
          <p:spPr>
            <a:xfrm>
              <a:off x="-82079" y="2717387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5EC5B3E5-86C1-4027-A74F-789345DFA684}"/>
              </a:ext>
            </a:extLst>
          </p:cNvPr>
          <p:cNvGrpSpPr/>
          <p:nvPr userDrawn="1"/>
        </p:nvGrpSpPr>
        <p:grpSpPr>
          <a:xfrm rot="16200000">
            <a:off x="5756070" y="-296028"/>
            <a:ext cx="333375" cy="130584"/>
            <a:chOff x="-133350" y="2717391"/>
            <a:chExt cx="333375" cy="130584"/>
          </a:xfrm>
        </p:grpSpPr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7B62256D-25C9-4899-8A3A-7970EB4706F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29A2699B-FFE8-4320-BD7A-68D214D9A58B}"/>
                </a:ext>
              </a:extLst>
            </p:cNvPr>
            <p:cNvSpPr txBox="1"/>
            <p:nvPr userDrawn="1"/>
          </p:nvSpPr>
          <p:spPr>
            <a:xfrm>
              <a:off x="-82076" y="2717391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1A9EBBA-C118-4592-8B41-99FA797C19C4}"/>
              </a:ext>
            </a:extLst>
          </p:cNvPr>
          <p:cNvGrpSpPr/>
          <p:nvPr userDrawn="1"/>
        </p:nvGrpSpPr>
        <p:grpSpPr>
          <a:xfrm>
            <a:off x="6203945" y="-397424"/>
            <a:ext cx="118684" cy="333375"/>
            <a:chOff x="6416681" y="-397424"/>
            <a:chExt cx="118684" cy="333375"/>
          </a:xfrm>
        </p:grpSpPr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45C123C4-4121-4372-95DF-DC232FC6A3E1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10C304B0-38F3-48B3-A23F-BE3EEAF774D6}"/>
                </a:ext>
              </a:extLst>
            </p:cNvPr>
            <p:cNvSpPr txBox="1"/>
            <p:nvPr userDrawn="1"/>
          </p:nvSpPr>
          <p:spPr>
            <a:xfrm rot="16200000">
              <a:off x="6363716" y="-286972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EA609601-D94C-4D05-A7EF-EBA9D6ACA000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4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2CEB042-C849-4BE4-A0F0-03828777E713}"/>
              </a:ext>
            </a:extLst>
          </p:cNvPr>
          <p:cNvGrpSpPr/>
          <p:nvPr userDrawn="1"/>
        </p:nvGrpSpPr>
        <p:grpSpPr>
          <a:xfrm rot="16200000">
            <a:off x="11450432" y="-296031"/>
            <a:ext cx="333375" cy="130580"/>
            <a:chOff x="-133350" y="2717395"/>
            <a:chExt cx="333375" cy="130580"/>
          </a:xfrm>
        </p:grpSpPr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A58E387D-7C2C-4001-94B6-8372A7A130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29EC0E69-66B7-4E97-B0AC-9CFA0DDEC604}"/>
                </a:ext>
              </a:extLst>
            </p:cNvPr>
            <p:cNvSpPr txBox="1"/>
            <p:nvPr userDrawn="1"/>
          </p:nvSpPr>
          <p:spPr>
            <a:xfrm>
              <a:off x="-82072" y="2717395"/>
              <a:ext cx="230832" cy="1124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82296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8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72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44" name="Freihandform: Form 43">
            <a:extLst>
              <a:ext uri="{FF2B5EF4-FFF2-40B4-BE49-F238E27FC236}">
                <a16:creationId xmlns:a16="http://schemas.microsoft.com/office/drawing/2014/main" id="{5455B7B7-D66F-4A5D-9E90-5BA38D64518F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316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8229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2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41" r:id="rId3"/>
    <p:sldLayoutId id="2147483762" r:id="rId4"/>
    <p:sldLayoutId id="2147483743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58" r:id="rId13"/>
    <p:sldLayoutId id="2147483770" r:id="rId14"/>
    <p:sldLayoutId id="2147483729" r:id="rId15"/>
    <p:sldLayoutId id="2147483759" r:id="rId16"/>
    <p:sldLayoutId id="2147483771" r:id="rId17"/>
    <p:sldLayoutId id="2147483732" r:id="rId18"/>
    <p:sldLayoutId id="2147483733" r:id="rId19"/>
    <p:sldLayoutId id="2147483734" r:id="rId20"/>
  </p:sldLayoutIdLst>
  <p:hf hdr="0"/>
  <p:txStyles>
    <p:titleStyle>
      <a:lvl1pPr algn="l" defTabSz="822960" rtl="0" eaLnBrk="1" latinLnBrk="0" hangingPunct="1">
        <a:lnSpc>
          <a:spcPct val="90000"/>
        </a:lnSpc>
        <a:spcBef>
          <a:spcPct val="0"/>
        </a:spcBef>
        <a:buNone/>
        <a:defRPr sz="2160" b="1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822960" rtl="0" eaLnBrk="1" latinLnBrk="0" hangingPunct="1">
        <a:lnSpc>
          <a:spcPct val="110000"/>
        </a:lnSpc>
        <a:spcBef>
          <a:spcPts val="0"/>
        </a:spcBef>
        <a:spcAft>
          <a:spcPts val="1080"/>
        </a:spcAft>
        <a:buFont typeface="Arial" panose="020B0604020202020204" pitchFamily="34" charset="0"/>
        <a:buNone/>
        <a:defRPr sz="1440" kern="1200">
          <a:solidFill>
            <a:schemeClr val="tx1"/>
          </a:solidFill>
          <a:latin typeface="+mn-lt"/>
          <a:ea typeface="+mn-ea"/>
          <a:cs typeface="+mn-cs"/>
        </a:defRPr>
      </a:lvl1pPr>
      <a:lvl2pPr marL="162000" indent="-162000" algn="l" defTabSz="822960" rtl="0" eaLnBrk="1" latinLnBrk="0" hangingPunct="1">
        <a:lnSpc>
          <a:spcPct val="110000"/>
        </a:lnSpc>
        <a:spcBef>
          <a:spcPts val="0"/>
        </a:spcBef>
        <a:spcAft>
          <a:spcPts val="1080"/>
        </a:spcAft>
        <a:buClr>
          <a:schemeClr val="accent4"/>
        </a:buClr>
        <a:buFont typeface="Symbol" panose="05050102010706020507" pitchFamily="18" charset="2"/>
        <a:buChar char="-"/>
        <a:defRPr sz="1440" kern="1200">
          <a:solidFill>
            <a:schemeClr val="tx1"/>
          </a:solidFill>
          <a:latin typeface="+mn-lt"/>
          <a:ea typeface="+mn-ea"/>
          <a:cs typeface="+mn-cs"/>
        </a:defRPr>
      </a:lvl2pPr>
      <a:lvl3pPr marL="324000" indent="-162000" algn="l" defTabSz="822960" rtl="0" eaLnBrk="1" latinLnBrk="0" hangingPunct="1">
        <a:lnSpc>
          <a:spcPct val="110000"/>
        </a:lnSpc>
        <a:spcBef>
          <a:spcPts val="0"/>
        </a:spcBef>
        <a:spcAft>
          <a:spcPts val="1080"/>
        </a:spcAft>
        <a:buClr>
          <a:schemeClr val="accent4"/>
        </a:buClr>
        <a:buFont typeface="Symbol" panose="05050102010706020507" pitchFamily="18" charset="2"/>
        <a:buChar char="-"/>
        <a:defRPr sz="1260" kern="1200">
          <a:solidFill>
            <a:schemeClr val="tx1"/>
          </a:solidFill>
          <a:latin typeface="+mn-lt"/>
          <a:ea typeface="+mn-ea"/>
          <a:cs typeface="+mn-cs"/>
        </a:defRPr>
      </a:lvl3pPr>
      <a:lvl4pPr marL="486000" indent="-162000" algn="l" defTabSz="822960" rtl="0" eaLnBrk="1" latinLnBrk="0" hangingPunct="1">
        <a:lnSpc>
          <a:spcPct val="110000"/>
        </a:lnSpc>
        <a:spcBef>
          <a:spcPts val="0"/>
        </a:spcBef>
        <a:spcAft>
          <a:spcPts val="1080"/>
        </a:spcAft>
        <a:buClr>
          <a:schemeClr val="accent4"/>
        </a:buClr>
        <a:buFont typeface="Symbol" panose="05050102010706020507" pitchFamily="18" charset="2"/>
        <a:buChar char="-"/>
        <a:defRPr sz="126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162000" algn="l" defTabSz="822960" rtl="0" eaLnBrk="1" latinLnBrk="0" hangingPunct="1">
        <a:lnSpc>
          <a:spcPct val="110000"/>
        </a:lnSpc>
        <a:spcBef>
          <a:spcPts val="0"/>
        </a:spcBef>
        <a:spcAft>
          <a:spcPts val="1080"/>
        </a:spcAft>
        <a:buClr>
          <a:schemeClr val="accent4"/>
        </a:buClr>
        <a:buFont typeface="Symbol" panose="05050102010706020507" pitchFamily="18" charset="2"/>
        <a:buChar char="-"/>
        <a:defRPr sz="1080" kern="1200">
          <a:solidFill>
            <a:schemeClr val="tx1"/>
          </a:solidFill>
          <a:latin typeface="+mn-lt"/>
          <a:ea typeface="+mn-ea"/>
          <a:cs typeface="+mn-cs"/>
        </a:defRPr>
      </a:lvl5pPr>
      <a:lvl6pPr marL="810000" indent="-162000" algn="l" defTabSz="822960" rtl="0" eaLnBrk="1" latinLnBrk="0" hangingPunct="1">
        <a:lnSpc>
          <a:spcPct val="110000"/>
        </a:lnSpc>
        <a:spcBef>
          <a:spcPts val="0"/>
        </a:spcBef>
        <a:spcAft>
          <a:spcPts val="1080"/>
        </a:spcAft>
        <a:buClr>
          <a:schemeClr val="accent4"/>
        </a:buClr>
        <a:buFont typeface="Symbol" panose="05050102010706020507" pitchFamily="18" charset="2"/>
        <a:buChar char="-"/>
        <a:defRPr sz="1080" kern="1200">
          <a:solidFill>
            <a:schemeClr val="tx1"/>
          </a:solidFill>
          <a:latin typeface="+mn-lt"/>
          <a:ea typeface="+mn-ea"/>
          <a:cs typeface="+mn-cs"/>
        </a:defRPr>
      </a:lvl6pPr>
      <a:lvl7pPr marL="972000" indent="-162000" algn="l" defTabSz="822960" rtl="0" eaLnBrk="1" latinLnBrk="0" hangingPunct="1">
        <a:lnSpc>
          <a:spcPct val="110000"/>
        </a:lnSpc>
        <a:spcBef>
          <a:spcPts val="0"/>
        </a:spcBef>
        <a:spcAft>
          <a:spcPts val="1080"/>
        </a:spcAft>
        <a:buClr>
          <a:schemeClr val="accent4"/>
        </a:buClr>
        <a:buFont typeface="Symbol" panose="05050102010706020507" pitchFamily="18" charset="2"/>
        <a:buChar char="-"/>
        <a:defRPr sz="1080" kern="1200">
          <a:solidFill>
            <a:schemeClr val="tx1"/>
          </a:solidFill>
          <a:latin typeface="+mn-lt"/>
          <a:ea typeface="+mn-ea"/>
          <a:cs typeface="+mn-cs"/>
        </a:defRPr>
      </a:lvl7pPr>
      <a:lvl8pPr marL="1134000" indent="-162000" algn="l" defTabSz="822960" rtl="0" eaLnBrk="1" latinLnBrk="0" hangingPunct="1">
        <a:lnSpc>
          <a:spcPct val="110000"/>
        </a:lnSpc>
        <a:spcBef>
          <a:spcPts val="0"/>
        </a:spcBef>
        <a:spcAft>
          <a:spcPts val="1080"/>
        </a:spcAft>
        <a:buClr>
          <a:schemeClr val="accent4"/>
        </a:buClr>
        <a:buFont typeface="Symbol" panose="05050102010706020507" pitchFamily="18" charset="2"/>
        <a:buChar char="-"/>
        <a:defRPr sz="1080" kern="1200">
          <a:solidFill>
            <a:schemeClr val="tx1"/>
          </a:solidFill>
          <a:latin typeface="+mn-lt"/>
          <a:ea typeface="+mn-ea"/>
          <a:cs typeface="+mn-cs"/>
        </a:defRPr>
      </a:lvl8pPr>
      <a:lvl9pPr marL="1296000" indent="-162000" algn="l" defTabSz="822960" rtl="0" eaLnBrk="1" latinLnBrk="0" hangingPunct="1">
        <a:lnSpc>
          <a:spcPct val="110000"/>
        </a:lnSpc>
        <a:spcBef>
          <a:spcPts val="0"/>
        </a:spcBef>
        <a:spcAft>
          <a:spcPts val="1080"/>
        </a:spcAft>
        <a:buClr>
          <a:schemeClr val="accent4"/>
        </a:buClr>
        <a:buFont typeface="Symbol" panose="05050102010706020507" pitchFamily="18" charset="2"/>
        <a:buChar char="-"/>
        <a:defRPr sz="10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26" userDrawn="1">
          <p15:clr>
            <a:srgbClr val="F26B43"/>
          </p15:clr>
        </p15:guide>
        <p15:guide id="4" pos="7356" userDrawn="1">
          <p15:clr>
            <a:srgbClr val="F26B43"/>
          </p15:clr>
        </p15:guide>
        <p15:guide id="5" orient="horz" pos="187" userDrawn="1">
          <p15:clr>
            <a:srgbClr val="F26B43"/>
          </p15:clr>
        </p15:guide>
        <p15:guide id="6" orient="horz" pos="799" userDrawn="1">
          <p15:clr>
            <a:srgbClr val="F26B43"/>
          </p15:clr>
        </p15:guide>
        <p15:guide id="7" orient="horz" pos="1026" userDrawn="1">
          <p15:clr>
            <a:srgbClr val="F26B43"/>
          </p15:clr>
        </p15:guide>
        <p15:guide id="8" orient="horz" pos="3906" userDrawn="1">
          <p15:clr>
            <a:srgbClr val="F26B43"/>
          </p15:clr>
        </p15:guide>
        <p15:guide id="9" orient="horz" pos="4178" userDrawn="1">
          <p15:clr>
            <a:srgbClr val="F26B43"/>
          </p15:clr>
        </p15:guide>
        <p15:guide id="10" pos="3908" userDrawn="1">
          <p15:clr>
            <a:srgbClr val="F26B43"/>
          </p15:clr>
        </p15:guide>
        <p15:guide id="11" pos="37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image" Target="../media/image47.png"/><Relationship Id="rId7" Type="http://schemas.openxmlformats.org/officeDocument/2006/relationships/image" Target="../media/image51.jpe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50.jpeg"/><Relationship Id="rId5" Type="http://schemas.openxmlformats.org/officeDocument/2006/relationships/image" Target="../media/image49.jpeg"/><Relationship Id="rId4" Type="http://schemas.openxmlformats.org/officeDocument/2006/relationships/image" Target="../media/image48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5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4" Type="http://schemas.openxmlformats.org/officeDocument/2006/relationships/image" Target="../media/image57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6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C5_9E431E7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C6_FD689439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D6_99073FCB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70.png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CA_25D53EF0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42.xml"/><Relationship Id="rId117" Type="http://schemas.openxmlformats.org/officeDocument/2006/relationships/oleObject" Target="../embeddings/oleObject15.bin"/><Relationship Id="rId21" Type="http://schemas.openxmlformats.org/officeDocument/2006/relationships/tags" Target="../tags/tag37.xml"/><Relationship Id="rId42" Type="http://schemas.openxmlformats.org/officeDocument/2006/relationships/tags" Target="../tags/tag58.xml"/><Relationship Id="rId47" Type="http://schemas.openxmlformats.org/officeDocument/2006/relationships/tags" Target="../tags/tag63.xml"/><Relationship Id="rId63" Type="http://schemas.openxmlformats.org/officeDocument/2006/relationships/tags" Target="../tags/tag79.xml"/><Relationship Id="rId68" Type="http://schemas.openxmlformats.org/officeDocument/2006/relationships/tags" Target="../tags/tag84.xml"/><Relationship Id="rId84" Type="http://schemas.openxmlformats.org/officeDocument/2006/relationships/tags" Target="../tags/tag100.xml"/><Relationship Id="rId89" Type="http://schemas.openxmlformats.org/officeDocument/2006/relationships/tags" Target="../tags/tag105.xml"/><Relationship Id="rId112" Type="http://schemas.openxmlformats.org/officeDocument/2006/relationships/tags" Target="../tags/tag128.xml"/><Relationship Id="rId16" Type="http://schemas.openxmlformats.org/officeDocument/2006/relationships/tags" Target="../tags/tag32.xml"/><Relationship Id="rId107" Type="http://schemas.openxmlformats.org/officeDocument/2006/relationships/tags" Target="../tags/tag123.xml"/><Relationship Id="rId11" Type="http://schemas.openxmlformats.org/officeDocument/2006/relationships/tags" Target="../tags/tag27.xml"/><Relationship Id="rId32" Type="http://schemas.openxmlformats.org/officeDocument/2006/relationships/tags" Target="../tags/tag48.xml"/><Relationship Id="rId37" Type="http://schemas.openxmlformats.org/officeDocument/2006/relationships/tags" Target="../tags/tag53.xml"/><Relationship Id="rId53" Type="http://schemas.openxmlformats.org/officeDocument/2006/relationships/tags" Target="../tags/tag69.xml"/><Relationship Id="rId58" Type="http://schemas.openxmlformats.org/officeDocument/2006/relationships/tags" Target="../tags/tag74.xml"/><Relationship Id="rId74" Type="http://schemas.openxmlformats.org/officeDocument/2006/relationships/tags" Target="../tags/tag90.xml"/><Relationship Id="rId79" Type="http://schemas.openxmlformats.org/officeDocument/2006/relationships/tags" Target="../tags/tag95.xml"/><Relationship Id="rId102" Type="http://schemas.openxmlformats.org/officeDocument/2006/relationships/tags" Target="../tags/tag118.xml"/><Relationship Id="rId5" Type="http://schemas.openxmlformats.org/officeDocument/2006/relationships/tags" Target="../tags/tag21.xml"/><Relationship Id="rId90" Type="http://schemas.openxmlformats.org/officeDocument/2006/relationships/tags" Target="../tags/tag106.xml"/><Relationship Id="rId95" Type="http://schemas.openxmlformats.org/officeDocument/2006/relationships/tags" Target="../tags/tag111.xml"/><Relationship Id="rId22" Type="http://schemas.openxmlformats.org/officeDocument/2006/relationships/tags" Target="../tags/tag38.xml"/><Relationship Id="rId27" Type="http://schemas.openxmlformats.org/officeDocument/2006/relationships/tags" Target="../tags/tag43.xml"/><Relationship Id="rId43" Type="http://schemas.openxmlformats.org/officeDocument/2006/relationships/tags" Target="../tags/tag59.xml"/><Relationship Id="rId48" Type="http://schemas.openxmlformats.org/officeDocument/2006/relationships/tags" Target="../tags/tag64.xml"/><Relationship Id="rId64" Type="http://schemas.openxmlformats.org/officeDocument/2006/relationships/tags" Target="../tags/tag80.xml"/><Relationship Id="rId69" Type="http://schemas.openxmlformats.org/officeDocument/2006/relationships/tags" Target="../tags/tag85.xml"/><Relationship Id="rId113" Type="http://schemas.openxmlformats.org/officeDocument/2006/relationships/tags" Target="../tags/tag129.xml"/><Relationship Id="rId118" Type="http://schemas.openxmlformats.org/officeDocument/2006/relationships/image" Target="../media/image18.emf"/><Relationship Id="rId80" Type="http://schemas.openxmlformats.org/officeDocument/2006/relationships/tags" Target="../tags/tag96.xml"/><Relationship Id="rId85" Type="http://schemas.openxmlformats.org/officeDocument/2006/relationships/tags" Target="../tags/tag101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33" Type="http://schemas.openxmlformats.org/officeDocument/2006/relationships/tags" Target="../tags/tag49.xml"/><Relationship Id="rId38" Type="http://schemas.openxmlformats.org/officeDocument/2006/relationships/tags" Target="../tags/tag54.xml"/><Relationship Id="rId59" Type="http://schemas.openxmlformats.org/officeDocument/2006/relationships/tags" Target="../tags/tag75.xml"/><Relationship Id="rId103" Type="http://schemas.openxmlformats.org/officeDocument/2006/relationships/tags" Target="../tags/tag119.xml"/><Relationship Id="rId108" Type="http://schemas.openxmlformats.org/officeDocument/2006/relationships/tags" Target="../tags/tag124.xml"/><Relationship Id="rId54" Type="http://schemas.openxmlformats.org/officeDocument/2006/relationships/tags" Target="../tags/tag70.xml"/><Relationship Id="rId70" Type="http://schemas.openxmlformats.org/officeDocument/2006/relationships/tags" Target="../tags/tag86.xml"/><Relationship Id="rId75" Type="http://schemas.openxmlformats.org/officeDocument/2006/relationships/tags" Target="../tags/tag91.xml"/><Relationship Id="rId91" Type="http://schemas.openxmlformats.org/officeDocument/2006/relationships/tags" Target="../tags/tag107.xml"/><Relationship Id="rId96" Type="http://schemas.openxmlformats.org/officeDocument/2006/relationships/tags" Target="../tags/tag112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23" Type="http://schemas.openxmlformats.org/officeDocument/2006/relationships/tags" Target="../tags/tag39.xml"/><Relationship Id="rId28" Type="http://schemas.openxmlformats.org/officeDocument/2006/relationships/tags" Target="../tags/tag44.xml"/><Relationship Id="rId49" Type="http://schemas.openxmlformats.org/officeDocument/2006/relationships/tags" Target="../tags/tag65.xml"/><Relationship Id="rId114" Type="http://schemas.openxmlformats.org/officeDocument/2006/relationships/tags" Target="../tags/tag130.xml"/><Relationship Id="rId119" Type="http://schemas.openxmlformats.org/officeDocument/2006/relationships/image" Target="../media/image19.png"/><Relationship Id="rId44" Type="http://schemas.openxmlformats.org/officeDocument/2006/relationships/tags" Target="../tags/tag60.xml"/><Relationship Id="rId60" Type="http://schemas.openxmlformats.org/officeDocument/2006/relationships/tags" Target="../tags/tag76.xml"/><Relationship Id="rId65" Type="http://schemas.openxmlformats.org/officeDocument/2006/relationships/tags" Target="../tags/tag81.xml"/><Relationship Id="rId81" Type="http://schemas.openxmlformats.org/officeDocument/2006/relationships/tags" Target="../tags/tag97.xml"/><Relationship Id="rId86" Type="http://schemas.openxmlformats.org/officeDocument/2006/relationships/tags" Target="../tags/tag102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9" Type="http://schemas.openxmlformats.org/officeDocument/2006/relationships/tags" Target="../tags/tag55.xml"/><Relationship Id="rId109" Type="http://schemas.openxmlformats.org/officeDocument/2006/relationships/tags" Target="../tags/tag125.xml"/><Relationship Id="rId34" Type="http://schemas.openxmlformats.org/officeDocument/2006/relationships/tags" Target="../tags/tag50.xml"/><Relationship Id="rId50" Type="http://schemas.openxmlformats.org/officeDocument/2006/relationships/tags" Target="../tags/tag66.xml"/><Relationship Id="rId55" Type="http://schemas.openxmlformats.org/officeDocument/2006/relationships/tags" Target="../tags/tag71.xml"/><Relationship Id="rId76" Type="http://schemas.openxmlformats.org/officeDocument/2006/relationships/tags" Target="../tags/tag92.xml"/><Relationship Id="rId97" Type="http://schemas.openxmlformats.org/officeDocument/2006/relationships/tags" Target="../tags/tag113.xml"/><Relationship Id="rId104" Type="http://schemas.openxmlformats.org/officeDocument/2006/relationships/tags" Target="../tags/tag120.xml"/><Relationship Id="rId120" Type="http://schemas.openxmlformats.org/officeDocument/2006/relationships/image" Target="../media/image20.png"/><Relationship Id="rId7" Type="http://schemas.openxmlformats.org/officeDocument/2006/relationships/tags" Target="../tags/tag23.xml"/><Relationship Id="rId71" Type="http://schemas.openxmlformats.org/officeDocument/2006/relationships/tags" Target="../tags/tag87.xml"/><Relationship Id="rId92" Type="http://schemas.openxmlformats.org/officeDocument/2006/relationships/tags" Target="../tags/tag108.xml"/><Relationship Id="rId2" Type="http://schemas.openxmlformats.org/officeDocument/2006/relationships/tags" Target="../tags/tag18.xml"/><Relationship Id="rId29" Type="http://schemas.openxmlformats.org/officeDocument/2006/relationships/tags" Target="../tags/tag45.xml"/><Relationship Id="rId24" Type="http://schemas.openxmlformats.org/officeDocument/2006/relationships/tags" Target="../tags/tag40.xml"/><Relationship Id="rId40" Type="http://schemas.openxmlformats.org/officeDocument/2006/relationships/tags" Target="../tags/tag56.xml"/><Relationship Id="rId45" Type="http://schemas.openxmlformats.org/officeDocument/2006/relationships/tags" Target="../tags/tag61.xml"/><Relationship Id="rId66" Type="http://schemas.openxmlformats.org/officeDocument/2006/relationships/tags" Target="../tags/tag82.xml"/><Relationship Id="rId87" Type="http://schemas.openxmlformats.org/officeDocument/2006/relationships/tags" Target="../tags/tag103.xml"/><Relationship Id="rId110" Type="http://schemas.openxmlformats.org/officeDocument/2006/relationships/tags" Target="../tags/tag126.xml"/><Relationship Id="rId115" Type="http://schemas.openxmlformats.org/officeDocument/2006/relationships/slideLayout" Target="../slideLayouts/slideLayout7.xml"/><Relationship Id="rId61" Type="http://schemas.openxmlformats.org/officeDocument/2006/relationships/tags" Target="../tags/tag77.xml"/><Relationship Id="rId82" Type="http://schemas.openxmlformats.org/officeDocument/2006/relationships/tags" Target="../tags/tag98.xml"/><Relationship Id="rId19" Type="http://schemas.openxmlformats.org/officeDocument/2006/relationships/tags" Target="../tags/tag35.xml"/><Relationship Id="rId14" Type="http://schemas.openxmlformats.org/officeDocument/2006/relationships/tags" Target="../tags/tag30.xml"/><Relationship Id="rId30" Type="http://schemas.openxmlformats.org/officeDocument/2006/relationships/tags" Target="../tags/tag46.xml"/><Relationship Id="rId35" Type="http://schemas.openxmlformats.org/officeDocument/2006/relationships/tags" Target="../tags/tag51.xml"/><Relationship Id="rId56" Type="http://schemas.openxmlformats.org/officeDocument/2006/relationships/tags" Target="../tags/tag72.xml"/><Relationship Id="rId77" Type="http://schemas.openxmlformats.org/officeDocument/2006/relationships/tags" Target="../tags/tag93.xml"/><Relationship Id="rId100" Type="http://schemas.openxmlformats.org/officeDocument/2006/relationships/tags" Target="../tags/tag116.xml"/><Relationship Id="rId105" Type="http://schemas.openxmlformats.org/officeDocument/2006/relationships/tags" Target="../tags/tag121.xml"/><Relationship Id="rId8" Type="http://schemas.openxmlformats.org/officeDocument/2006/relationships/tags" Target="../tags/tag24.xml"/><Relationship Id="rId51" Type="http://schemas.openxmlformats.org/officeDocument/2006/relationships/tags" Target="../tags/tag67.xml"/><Relationship Id="rId72" Type="http://schemas.openxmlformats.org/officeDocument/2006/relationships/tags" Target="../tags/tag88.xml"/><Relationship Id="rId93" Type="http://schemas.openxmlformats.org/officeDocument/2006/relationships/tags" Target="../tags/tag109.xml"/><Relationship Id="rId98" Type="http://schemas.openxmlformats.org/officeDocument/2006/relationships/tags" Target="../tags/tag114.xml"/><Relationship Id="rId121" Type="http://schemas.openxmlformats.org/officeDocument/2006/relationships/image" Target="../media/image21.png"/><Relationship Id="rId3" Type="http://schemas.openxmlformats.org/officeDocument/2006/relationships/tags" Target="../tags/tag19.xml"/><Relationship Id="rId25" Type="http://schemas.openxmlformats.org/officeDocument/2006/relationships/tags" Target="../tags/tag41.xml"/><Relationship Id="rId46" Type="http://schemas.openxmlformats.org/officeDocument/2006/relationships/tags" Target="../tags/tag62.xml"/><Relationship Id="rId67" Type="http://schemas.openxmlformats.org/officeDocument/2006/relationships/tags" Target="../tags/tag83.xml"/><Relationship Id="rId116" Type="http://schemas.openxmlformats.org/officeDocument/2006/relationships/notesSlide" Target="../notesSlides/notesSlide2.xml"/><Relationship Id="rId20" Type="http://schemas.openxmlformats.org/officeDocument/2006/relationships/tags" Target="../tags/tag36.xml"/><Relationship Id="rId41" Type="http://schemas.openxmlformats.org/officeDocument/2006/relationships/tags" Target="../tags/tag57.xml"/><Relationship Id="rId62" Type="http://schemas.openxmlformats.org/officeDocument/2006/relationships/tags" Target="../tags/tag78.xml"/><Relationship Id="rId83" Type="http://schemas.openxmlformats.org/officeDocument/2006/relationships/tags" Target="../tags/tag99.xml"/><Relationship Id="rId88" Type="http://schemas.openxmlformats.org/officeDocument/2006/relationships/tags" Target="../tags/tag104.xml"/><Relationship Id="rId111" Type="http://schemas.openxmlformats.org/officeDocument/2006/relationships/tags" Target="../tags/tag127.xml"/><Relationship Id="rId15" Type="http://schemas.openxmlformats.org/officeDocument/2006/relationships/tags" Target="../tags/tag31.xml"/><Relationship Id="rId36" Type="http://schemas.openxmlformats.org/officeDocument/2006/relationships/tags" Target="../tags/tag52.xml"/><Relationship Id="rId57" Type="http://schemas.openxmlformats.org/officeDocument/2006/relationships/tags" Target="../tags/tag73.xml"/><Relationship Id="rId106" Type="http://schemas.openxmlformats.org/officeDocument/2006/relationships/tags" Target="../tags/tag122.xml"/><Relationship Id="rId10" Type="http://schemas.openxmlformats.org/officeDocument/2006/relationships/tags" Target="../tags/tag26.xml"/><Relationship Id="rId31" Type="http://schemas.openxmlformats.org/officeDocument/2006/relationships/tags" Target="../tags/tag47.xml"/><Relationship Id="rId52" Type="http://schemas.openxmlformats.org/officeDocument/2006/relationships/tags" Target="../tags/tag68.xml"/><Relationship Id="rId73" Type="http://schemas.openxmlformats.org/officeDocument/2006/relationships/tags" Target="../tags/tag89.xml"/><Relationship Id="rId78" Type="http://schemas.openxmlformats.org/officeDocument/2006/relationships/tags" Target="../tags/tag94.xml"/><Relationship Id="rId94" Type="http://schemas.openxmlformats.org/officeDocument/2006/relationships/tags" Target="../tags/tag110.xml"/><Relationship Id="rId99" Type="http://schemas.openxmlformats.org/officeDocument/2006/relationships/tags" Target="../tags/tag115.xml"/><Relationship Id="rId101" Type="http://schemas.openxmlformats.org/officeDocument/2006/relationships/tags" Target="../tags/tag1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3.png"/><Relationship Id="rId4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svg"/><Relationship Id="rId9" Type="http://schemas.openxmlformats.org/officeDocument/2006/relationships/image" Target="../media/image30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32.jpg"/><Relationship Id="rId4" Type="http://schemas.openxmlformats.org/officeDocument/2006/relationships/image" Target="../media/image31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AB793DD3-3E89-8596-F618-FF96E456E8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8001" y="1506780"/>
            <a:ext cx="11435951" cy="1246021"/>
          </a:xfrm>
        </p:spPr>
        <p:txBody>
          <a:bodyPr/>
          <a:lstStyle/>
          <a:p>
            <a:r>
              <a:rPr lang="en-GB" altLang="zh-CN" sz="3600"/>
              <a:t>Quality Control of Kontron Industrial Computers</a:t>
            </a:r>
            <a:br>
              <a:rPr lang="en-US" altLang="zh-CN" sz="4800"/>
            </a:br>
            <a:r>
              <a:rPr lang="en-GB" altLang="zh-CN" sz="2400" b="0"/>
              <a:t>Development of Deep Vision Systems</a:t>
            </a:r>
            <a:endParaRPr lang="en-GB" sz="4400" b="0"/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AC03B485-56E3-6017-581E-3691083F25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08" y="2706927"/>
            <a:ext cx="11455359" cy="1142468"/>
          </a:xfrm>
        </p:spPr>
        <p:txBody>
          <a:bodyPr lIns="0" tIns="0" rIns="0" bIns="0" anchor="t">
            <a:normAutofit/>
          </a:bodyPr>
          <a:lstStyle/>
          <a:p>
            <a:pPr>
              <a:lnSpc>
                <a:spcPct val="120000"/>
              </a:lnSpc>
            </a:pPr>
            <a:endParaRPr lang="de-DE" sz="1800"/>
          </a:p>
          <a:p>
            <a:pPr>
              <a:lnSpc>
                <a:spcPct val="120000"/>
              </a:lnSpc>
            </a:pPr>
            <a:r>
              <a:rPr lang="de-DE" sz="1800"/>
              <a:t>Zhizi Wen, Julius </a:t>
            </a:r>
            <a:r>
              <a:rPr lang="de-DE" sz="1800" err="1"/>
              <a:t>Wilps</a:t>
            </a:r>
            <a:r>
              <a:rPr lang="de-DE" sz="1800"/>
              <a:t>, </a:t>
            </a:r>
            <a:r>
              <a:rPr lang="en-GB" sz="1800"/>
              <a:t>Tobias </a:t>
            </a:r>
            <a:r>
              <a:rPr lang="en-GB" sz="1800" err="1"/>
              <a:t>Völkel</a:t>
            </a:r>
            <a:r>
              <a:rPr lang="en-GB" sz="1800"/>
              <a:t>, Omar </a:t>
            </a:r>
            <a:r>
              <a:rPr lang="en-GB" sz="1800" err="1"/>
              <a:t>Fourati</a:t>
            </a:r>
            <a:endParaRPr lang="en-GB" sz="1800"/>
          </a:p>
          <a:p>
            <a:pPr>
              <a:lnSpc>
                <a:spcPct val="120000"/>
              </a:lnSpc>
            </a:pPr>
            <a:r>
              <a:rPr lang="en-GB" sz="1800"/>
              <a:t>2023</a:t>
            </a:r>
            <a:r>
              <a:rPr lang="de-DE" sz="1800"/>
              <a:t>-03-13</a:t>
            </a:r>
            <a:endParaRPr lang="en-US" sz="1800"/>
          </a:p>
          <a:p>
            <a:endParaRPr lang="en-GB" sz="280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4A28A8-8931-43F1-E308-D3B69EE2723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3152" y="6599768"/>
            <a:ext cx="958849" cy="192617"/>
          </a:xfrm>
          <a:prstGeom prst="rect">
            <a:avLst/>
          </a:prstGeom>
        </p:spPr>
        <p:txBody>
          <a:bodyPr/>
          <a:lstStyle/>
          <a:p>
            <a:pPr defTabSz="1219170"/>
            <a:fld id="{0759437E-DD65-47AE-A718-65B9481C0A9E}" type="slidenum">
              <a:rPr lang="de-DE" sz="2400">
                <a:solidFill>
                  <a:prstClr val="black"/>
                </a:solidFill>
                <a:latin typeface="Arial"/>
              </a:rPr>
              <a:pPr defTabSz="1219170"/>
              <a:t>1</a:t>
            </a:fld>
            <a:endParaRPr lang="de-DE" sz="240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28BCE9B1-50AD-24F4-FDF0-BB39B93F50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8474" y="373077"/>
            <a:ext cx="4830778" cy="810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0765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C46B3-551E-EB4A-1B19-8431C04D3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ox </a:t>
            </a:r>
            <a:r>
              <a:rPr lang="de-DE" err="1"/>
              <a:t>Localization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7755B5F-5B92-9175-C19B-E27003856FAD}"/>
              </a:ext>
            </a:extLst>
          </p:cNvPr>
          <p:cNvSpPr txBox="1">
            <a:spLocks/>
          </p:cNvSpPr>
          <p:nvPr/>
        </p:nvSpPr>
        <p:spPr>
          <a:xfrm>
            <a:off x="441460" y="666027"/>
            <a:ext cx="6844385" cy="24981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err="1">
                <a:solidFill>
                  <a:srgbClr val="041E42"/>
                </a:solidFill>
              </a:rPr>
              <a:t>Pretrained</a:t>
            </a:r>
            <a:r>
              <a:rPr lang="de-DE">
                <a:solidFill>
                  <a:srgbClr val="041E42"/>
                </a:solidFill>
              </a:rPr>
              <a:t> Model</a:t>
            </a:r>
          </a:p>
        </p:txBody>
      </p:sp>
      <p:sp>
        <p:nvSpPr>
          <p:cNvPr id="9" name="矩形: 圆角 3">
            <a:extLst>
              <a:ext uri="{FF2B5EF4-FFF2-40B4-BE49-F238E27FC236}">
                <a16:creationId xmlns:a16="http://schemas.microsoft.com/office/drawing/2014/main" id="{5539DD1F-1C12-9436-6F52-48648B45A3FD}"/>
              </a:ext>
            </a:extLst>
          </p:cNvPr>
          <p:cNvSpPr/>
          <p:nvPr/>
        </p:nvSpPr>
        <p:spPr>
          <a:xfrm>
            <a:off x="874713" y="1945882"/>
            <a:ext cx="5978637" cy="1808238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11" name="文本框 5">
            <a:extLst>
              <a:ext uri="{FF2B5EF4-FFF2-40B4-BE49-F238E27FC236}">
                <a16:creationId xmlns:a16="http://schemas.microsoft.com/office/drawing/2014/main" id="{9E862F88-2B6B-9D31-F69F-99B17FF1F480}"/>
              </a:ext>
            </a:extLst>
          </p:cNvPr>
          <p:cNvSpPr txBox="1"/>
          <p:nvPr/>
        </p:nvSpPr>
        <p:spPr>
          <a:xfrm>
            <a:off x="1006117" y="2085216"/>
            <a:ext cx="925253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Model</a:t>
            </a:r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11818B6-2088-5941-F410-4879ED1104A8}"/>
              </a:ext>
            </a:extLst>
          </p:cNvPr>
          <p:cNvSpPr txBox="1"/>
          <p:nvPr/>
        </p:nvSpPr>
        <p:spPr>
          <a:xfrm>
            <a:off x="1534934" y="2626118"/>
            <a:ext cx="4730592" cy="281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b="1" err="1">
                <a:latin typeface="Arial"/>
                <a:cs typeface="Arial"/>
              </a:rPr>
              <a:t>Faster</a:t>
            </a:r>
            <a:r>
              <a:rPr lang="de-DE" b="1">
                <a:latin typeface="Arial"/>
                <a:cs typeface="Arial"/>
              </a:rPr>
              <a:t> RCNN </a:t>
            </a:r>
            <a:r>
              <a:rPr lang="de-DE" b="1" err="1">
                <a:latin typeface="Arial"/>
                <a:cs typeface="Arial"/>
              </a:rPr>
              <a:t>with</a:t>
            </a:r>
            <a:r>
              <a:rPr lang="de-DE" b="1">
                <a:latin typeface="Arial"/>
                <a:cs typeface="Arial"/>
              </a:rPr>
              <a:t> ResNet50 FPN </a:t>
            </a:r>
            <a:r>
              <a:rPr lang="de-DE" b="1" err="1">
                <a:latin typeface="Arial"/>
                <a:cs typeface="Arial"/>
              </a:rPr>
              <a:t>backbone</a:t>
            </a:r>
            <a:endParaRPr lang="de-DE" err="1">
              <a:ea typeface="+mn-ea"/>
              <a:cs typeface="+mn-cs"/>
            </a:endParaRPr>
          </a:p>
        </p:txBody>
      </p:sp>
      <p:sp>
        <p:nvSpPr>
          <p:cNvPr id="15" name="矩形: 圆角 3">
            <a:extLst>
              <a:ext uri="{FF2B5EF4-FFF2-40B4-BE49-F238E27FC236}">
                <a16:creationId xmlns:a16="http://schemas.microsoft.com/office/drawing/2014/main" id="{5C7155CA-E6CA-A72D-B376-8E480BCECD96}"/>
              </a:ext>
            </a:extLst>
          </p:cNvPr>
          <p:cNvSpPr/>
          <p:nvPr/>
        </p:nvSpPr>
        <p:spPr>
          <a:xfrm>
            <a:off x="910998" y="4080691"/>
            <a:ext cx="5978637" cy="1808238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16" name="文本框 5">
            <a:extLst>
              <a:ext uri="{FF2B5EF4-FFF2-40B4-BE49-F238E27FC236}">
                <a16:creationId xmlns:a16="http://schemas.microsoft.com/office/drawing/2014/main" id="{8777DEF9-FED8-CA10-59CE-5E1AC36B06DD}"/>
              </a:ext>
            </a:extLst>
          </p:cNvPr>
          <p:cNvSpPr txBox="1"/>
          <p:nvPr/>
        </p:nvSpPr>
        <p:spPr>
          <a:xfrm>
            <a:off x="1006116" y="4153501"/>
            <a:ext cx="1383712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Approach</a:t>
            </a:r>
            <a:endParaRPr lang="de-DE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81174097-DBB7-64A7-58C9-4DB595CBE0E7}"/>
              </a:ext>
            </a:extLst>
          </p:cNvPr>
          <p:cNvSpPr txBox="1"/>
          <p:nvPr/>
        </p:nvSpPr>
        <p:spPr>
          <a:xfrm>
            <a:off x="1796770" y="4555307"/>
            <a:ext cx="4206336" cy="8351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b="1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Train a </a:t>
            </a:r>
            <a:r>
              <a:rPr lang="de-DE" b="1" err="1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localizator</a:t>
            </a:r>
            <a:r>
              <a:rPr lang="de-DE" b="1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 </a:t>
            </a:r>
            <a:r>
              <a:rPr lang="de-DE" b="1" err="1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for</a:t>
            </a:r>
            <a:r>
              <a:rPr lang="de-DE" b="1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 Allen-Bradley and Kontron </a:t>
            </a:r>
            <a:r>
              <a:rPr lang="de-DE" b="1" err="1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boxes</a:t>
            </a:r>
            <a:r>
              <a:rPr lang="de-DE" b="1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 </a:t>
            </a:r>
            <a:r>
              <a:rPr lang="de-DE" b="1" err="1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seperately</a:t>
            </a:r>
            <a:endParaRPr lang="de-DE" b="1">
              <a:solidFill>
                <a:schemeClr val="tx1">
                  <a:lumMod val="85000"/>
                  <a:lumOff val="15000"/>
                </a:schemeClr>
              </a:solidFill>
              <a:ea typeface="+mn-lt"/>
              <a:cs typeface="+mn-lt"/>
            </a:endParaRPr>
          </a:p>
          <a:p>
            <a:pPr>
              <a:lnSpc>
                <a:spcPct val="110000"/>
              </a:lnSpc>
              <a:spcAft>
                <a:spcPts val="1200"/>
              </a:spcAft>
            </a:pPr>
            <a:endParaRPr lang="de-DE" b="1">
              <a:cs typeface="Arial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E2753B3-0734-7B11-7F7D-E0F2827D1E5B}"/>
              </a:ext>
            </a:extLst>
          </p:cNvPr>
          <p:cNvSpPr txBox="1"/>
          <p:nvPr/>
        </p:nvSpPr>
        <p:spPr>
          <a:xfrm>
            <a:off x="1760485" y="2964784"/>
            <a:ext cx="4206336" cy="5581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err="1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Pretrained</a:t>
            </a:r>
            <a:r>
              <a:rPr lang="de-DE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 on </a:t>
            </a:r>
            <a:r>
              <a:rPr lang="de-DE" err="1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the</a:t>
            </a:r>
            <a:r>
              <a:rPr lang="de-DE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 MS </a:t>
            </a:r>
            <a:r>
              <a:rPr lang="de-DE" err="1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coco</a:t>
            </a:r>
            <a:r>
              <a:rPr lang="de-DE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 </a:t>
            </a:r>
            <a:r>
              <a:rPr lang="de-DE" err="1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dataset</a:t>
            </a:r>
          </a:p>
          <a:p>
            <a:pPr>
              <a:lnSpc>
                <a:spcPct val="110000"/>
              </a:lnSpc>
              <a:spcAft>
                <a:spcPts val="1200"/>
              </a:spcAft>
            </a:pPr>
            <a:endParaRPr lang="de-DE" b="1">
              <a:cs typeface="Arial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D4FC2B63-E7E7-12F9-1D6B-98845D1B1D2B}"/>
              </a:ext>
            </a:extLst>
          </p:cNvPr>
          <p:cNvSpPr txBox="1"/>
          <p:nvPr/>
        </p:nvSpPr>
        <p:spPr>
          <a:xfrm>
            <a:off x="284865" y="5190307"/>
            <a:ext cx="4206336" cy="8351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Allen-Bradley</a:t>
            </a:r>
          </a:p>
          <a:p>
            <a:pPr algn="ctr"/>
            <a:r>
              <a:rPr lang="de-DE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100 </a:t>
            </a:r>
            <a:r>
              <a:rPr lang="de-DE" err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epochs</a:t>
            </a:r>
            <a:endParaRPr lang="de-DE">
              <a:solidFill>
                <a:schemeClr val="tx1">
                  <a:lumMod val="85000"/>
                  <a:lumOff val="15000"/>
                </a:schemeClr>
              </a:solidFill>
              <a:cs typeface="Arial"/>
            </a:endParaRPr>
          </a:p>
          <a:p>
            <a:pPr>
              <a:lnSpc>
                <a:spcPct val="110000"/>
              </a:lnSpc>
              <a:spcAft>
                <a:spcPts val="1200"/>
              </a:spcAft>
            </a:pPr>
            <a:endParaRPr lang="de-DE" b="1">
              <a:cs typeface="Arial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E4F597D5-8DF0-CAFD-461E-060B703D5DD2}"/>
              </a:ext>
            </a:extLst>
          </p:cNvPr>
          <p:cNvSpPr txBox="1"/>
          <p:nvPr/>
        </p:nvSpPr>
        <p:spPr>
          <a:xfrm>
            <a:off x="3344960" y="5190306"/>
            <a:ext cx="4206336" cy="8351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Kontron</a:t>
            </a:r>
          </a:p>
          <a:p>
            <a:pPr algn="ctr"/>
            <a:r>
              <a:rPr lang="de-DE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50 </a:t>
            </a:r>
            <a:r>
              <a:rPr lang="de-DE" err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epochs</a:t>
            </a:r>
            <a:endParaRPr lang="de-DE">
              <a:solidFill>
                <a:schemeClr val="tx1">
                  <a:lumMod val="85000"/>
                  <a:lumOff val="15000"/>
                </a:schemeClr>
              </a:solidFill>
              <a:cs typeface="Arial"/>
            </a:endParaRPr>
          </a:p>
          <a:p>
            <a:pPr>
              <a:lnSpc>
                <a:spcPct val="110000"/>
              </a:lnSpc>
              <a:spcAft>
                <a:spcPts val="1200"/>
              </a:spcAft>
            </a:pPr>
            <a:endParaRPr lang="de-DE" b="1">
              <a:cs typeface="Arial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057EA7B-7ABC-F088-A4C8-C283BE36EA33}"/>
              </a:ext>
            </a:extLst>
          </p:cNvPr>
          <p:cNvSpPr txBox="1"/>
          <p:nvPr/>
        </p:nvSpPr>
        <p:spPr>
          <a:xfrm>
            <a:off x="1114308" y="3428079"/>
            <a:ext cx="5779104" cy="5581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SDG Optimizer; </a:t>
            </a:r>
            <a:r>
              <a:rPr lang="de-DE" err="1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ReLu</a:t>
            </a:r>
            <a:r>
              <a:rPr lang="de-DE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 </a:t>
            </a:r>
            <a:r>
              <a:rPr lang="de-DE" err="1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activation</a:t>
            </a:r>
            <a:r>
              <a:rPr lang="de-DE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; </a:t>
            </a:r>
            <a:r>
              <a:rPr lang="de-DE" err="1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learning</a:t>
            </a:r>
            <a:r>
              <a:rPr lang="de-DE">
                <a:solidFill>
                  <a:schemeClr val="tx1">
                    <a:lumMod val="85000"/>
                    <a:lumOff val="15000"/>
                  </a:schemeClr>
                </a:solidFill>
                <a:ea typeface="+mn-lt"/>
                <a:cs typeface="+mn-lt"/>
              </a:rPr>
              <a:t> rate: 0.001</a:t>
            </a:r>
            <a:endParaRPr lang="de-DE">
              <a:solidFill>
                <a:schemeClr val="tx1">
                  <a:lumMod val="85000"/>
                  <a:lumOff val="15000"/>
                </a:schemeClr>
              </a:solidFill>
              <a:cs typeface="Arial"/>
            </a:endParaRPr>
          </a:p>
          <a:p>
            <a:pPr>
              <a:lnSpc>
                <a:spcPct val="110000"/>
              </a:lnSpc>
              <a:spcAft>
                <a:spcPts val="1200"/>
              </a:spcAft>
            </a:pPr>
            <a:endParaRPr lang="de-DE" b="1">
              <a:cs typeface="Arial"/>
            </a:endParaRPr>
          </a:p>
        </p:txBody>
      </p:sp>
      <p:pic>
        <p:nvPicPr>
          <p:cNvPr id="6" name="Grafik 7">
            <a:extLst>
              <a:ext uri="{FF2B5EF4-FFF2-40B4-BE49-F238E27FC236}">
                <a16:creationId xmlns:a16="http://schemas.microsoft.com/office/drawing/2014/main" id="{8D9E526E-B73C-FF50-0655-794AE74BF2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89" t="-3113" r="-889" b="56615"/>
          <a:stretch/>
        </p:blipFill>
        <p:spPr>
          <a:xfrm>
            <a:off x="9747504" y="2032837"/>
            <a:ext cx="1658115" cy="8719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EE180FFC-22C3-39C5-158A-D8C59240CDF0}"/>
              </a:ext>
            </a:extLst>
          </p:cNvPr>
          <p:cNvSpPr txBox="1"/>
          <p:nvPr/>
        </p:nvSpPr>
        <p:spPr>
          <a:xfrm>
            <a:off x="7790688" y="2225040"/>
            <a:ext cx="2097023" cy="4555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>
                <a:latin typeface="Arial"/>
                <a:cs typeface="Arial"/>
              </a:rPr>
              <a:t>CNN Backbone</a:t>
            </a:r>
            <a:endParaRPr lang="de-DE" sz="1400">
              <a:cs typeface="Arial"/>
            </a:endParaRPr>
          </a:p>
          <a:p>
            <a:pPr>
              <a:lnSpc>
                <a:spcPct val="110000"/>
              </a:lnSpc>
            </a:pPr>
            <a:r>
              <a:rPr lang="de-DE" sz="1400">
                <a:latin typeface="Arial"/>
                <a:cs typeface="Arial"/>
              </a:rPr>
              <a:t>(ResNet-50 </a:t>
            </a:r>
            <a:r>
              <a:rPr lang="de-DE" sz="1400" err="1">
                <a:latin typeface="Arial"/>
                <a:cs typeface="Arial"/>
              </a:rPr>
              <a:t>fpn</a:t>
            </a:r>
            <a:r>
              <a:rPr lang="de-DE" sz="1400">
                <a:latin typeface="Arial"/>
                <a:cs typeface="Arial"/>
              </a:rPr>
              <a:t>)</a:t>
            </a:r>
            <a:endParaRPr lang="de-DE"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B967B7F-EA3A-10A9-0AAF-AAEAD6E5E112}"/>
              </a:ext>
            </a:extLst>
          </p:cNvPr>
          <p:cNvSpPr txBox="1"/>
          <p:nvPr/>
        </p:nvSpPr>
        <p:spPr>
          <a:xfrm>
            <a:off x="7906512" y="3645408"/>
            <a:ext cx="2097023" cy="2185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>
                <a:latin typeface="Arial"/>
                <a:cs typeface="Arial"/>
              </a:rPr>
              <a:t>Feature Maps </a:t>
            </a:r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321C14A-EB5A-8F13-B2E7-A9C88BB56F89}"/>
              </a:ext>
            </a:extLst>
          </p:cNvPr>
          <p:cNvSpPr txBox="1"/>
          <p:nvPr/>
        </p:nvSpPr>
        <p:spPr>
          <a:xfrm>
            <a:off x="7943088" y="4968239"/>
            <a:ext cx="2097023" cy="2185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err="1">
                <a:latin typeface="Arial"/>
                <a:cs typeface="Arial"/>
              </a:rPr>
              <a:t>Faster</a:t>
            </a:r>
            <a:r>
              <a:rPr lang="de-DE" sz="1400">
                <a:latin typeface="Arial"/>
                <a:cs typeface="Arial"/>
              </a:rPr>
              <a:t> RCNN</a:t>
            </a:r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23D945F-A9FC-B5C3-8177-C98B9DF15A13}"/>
              </a:ext>
            </a:extLst>
          </p:cNvPr>
          <p:cNvSpPr txBox="1"/>
          <p:nvPr/>
        </p:nvSpPr>
        <p:spPr>
          <a:xfrm>
            <a:off x="10460736" y="2852927"/>
            <a:ext cx="1353312" cy="12490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800">
                <a:latin typeface="Arial"/>
                <a:cs typeface="Arial"/>
              </a:rPr>
              <a:t>Ahmed Et al. 2020</a:t>
            </a:r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Grafik 13">
            <a:extLst>
              <a:ext uri="{FF2B5EF4-FFF2-40B4-BE49-F238E27FC236}">
                <a16:creationId xmlns:a16="http://schemas.microsoft.com/office/drawing/2014/main" id="{A6881213-B28A-36B7-5E4D-75D3A30A19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99904" y="4218546"/>
            <a:ext cx="1353312" cy="1432333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8E26F25B-7A53-DB6E-64C7-23C5619740E2}"/>
              </a:ext>
            </a:extLst>
          </p:cNvPr>
          <p:cNvSpPr txBox="1"/>
          <p:nvPr/>
        </p:nvSpPr>
        <p:spPr>
          <a:xfrm>
            <a:off x="10728960" y="5608319"/>
            <a:ext cx="1353312" cy="12490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800">
                <a:latin typeface="Arial"/>
                <a:cs typeface="Arial"/>
              </a:rPr>
              <a:t>Ren Et al. 2017</a:t>
            </a:r>
            <a:endParaRPr lang="de-DE">
              <a:ea typeface="+mn-ea"/>
              <a:cs typeface="+mn-cs"/>
            </a:endParaRPr>
          </a:p>
        </p:txBody>
      </p:sp>
      <p:sp>
        <p:nvSpPr>
          <p:cNvPr id="18" name="Pfeil: nach rechts 17">
            <a:extLst>
              <a:ext uri="{FF2B5EF4-FFF2-40B4-BE49-F238E27FC236}">
                <a16:creationId xmlns:a16="http://schemas.microsoft.com/office/drawing/2014/main" id="{334EAF19-5489-C25D-16B8-E9AA11F00DEE}"/>
              </a:ext>
            </a:extLst>
          </p:cNvPr>
          <p:cNvSpPr/>
          <p:nvPr/>
        </p:nvSpPr>
        <p:spPr>
          <a:xfrm rot="5400000">
            <a:off x="8133588" y="2982468"/>
            <a:ext cx="600456" cy="34442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Pfeil: nach rechts 21">
            <a:extLst>
              <a:ext uri="{FF2B5EF4-FFF2-40B4-BE49-F238E27FC236}">
                <a16:creationId xmlns:a16="http://schemas.microsoft.com/office/drawing/2014/main" id="{82E9FE5C-5BF8-5601-A242-B1BBDD169603}"/>
              </a:ext>
            </a:extLst>
          </p:cNvPr>
          <p:cNvSpPr/>
          <p:nvPr/>
        </p:nvSpPr>
        <p:spPr>
          <a:xfrm rot="5400000">
            <a:off x="8133588" y="4280915"/>
            <a:ext cx="600456" cy="34442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55138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C46B3-551E-EB4A-1B19-8431C04D3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ox </a:t>
            </a:r>
            <a:r>
              <a:rPr lang="de-DE" err="1"/>
              <a:t>Localization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7755B5F-5B92-9175-C19B-E27003856FAD}"/>
              </a:ext>
            </a:extLst>
          </p:cNvPr>
          <p:cNvSpPr txBox="1">
            <a:spLocks/>
          </p:cNvSpPr>
          <p:nvPr/>
        </p:nvSpPr>
        <p:spPr>
          <a:xfrm>
            <a:off x="434149" y="650095"/>
            <a:ext cx="6844385" cy="24981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rgbClr val="041E42"/>
                </a:solidFill>
              </a:rPr>
              <a:t>Evaluation</a:t>
            </a:r>
            <a:r>
              <a:rPr lang="de-DE"/>
              <a:t> </a:t>
            </a:r>
            <a:endParaRPr lang="de-DE">
              <a:cs typeface="Arial"/>
            </a:endParaRPr>
          </a:p>
        </p:txBody>
      </p:sp>
      <p:sp>
        <p:nvSpPr>
          <p:cNvPr id="9" name="矩形: 圆角 3">
            <a:extLst>
              <a:ext uri="{FF2B5EF4-FFF2-40B4-BE49-F238E27FC236}">
                <a16:creationId xmlns:a16="http://schemas.microsoft.com/office/drawing/2014/main" id="{5539DD1F-1C12-9436-6F52-48648B45A3FD}"/>
              </a:ext>
            </a:extLst>
          </p:cNvPr>
          <p:cNvSpPr/>
          <p:nvPr/>
        </p:nvSpPr>
        <p:spPr>
          <a:xfrm>
            <a:off x="618681" y="2049514"/>
            <a:ext cx="5222733" cy="1808238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11" name="文本框 5">
            <a:extLst>
              <a:ext uri="{FF2B5EF4-FFF2-40B4-BE49-F238E27FC236}">
                <a16:creationId xmlns:a16="http://schemas.microsoft.com/office/drawing/2014/main" id="{9E862F88-2B6B-9D31-F69F-99B17FF1F480}"/>
              </a:ext>
            </a:extLst>
          </p:cNvPr>
          <p:cNvSpPr txBox="1"/>
          <p:nvPr/>
        </p:nvSpPr>
        <p:spPr>
          <a:xfrm>
            <a:off x="759858" y="2449041"/>
            <a:ext cx="1229952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 b="1" err="1">
                <a:solidFill>
                  <a:srgbClr val="04316A"/>
                </a:solidFill>
                <a:latin typeface="+mj-lt"/>
              </a:rPr>
              <a:t>Avg.IoU</a:t>
            </a:r>
            <a:r>
              <a:rPr lang="en-US" sz="2000" b="1">
                <a:solidFill>
                  <a:srgbClr val="04316A"/>
                </a:solidFill>
                <a:latin typeface="+mj-lt"/>
              </a:rPr>
              <a:t>:</a:t>
            </a:r>
            <a:endParaRPr lang="de-DE" err="1"/>
          </a:p>
        </p:txBody>
      </p:sp>
      <p:sp>
        <p:nvSpPr>
          <p:cNvPr id="15" name="矩形: 圆角 3">
            <a:extLst>
              <a:ext uri="{FF2B5EF4-FFF2-40B4-BE49-F238E27FC236}">
                <a16:creationId xmlns:a16="http://schemas.microsoft.com/office/drawing/2014/main" id="{5C7155CA-E6CA-A72D-B376-8E480BCECD96}"/>
              </a:ext>
            </a:extLst>
          </p:cNvPr>
          <p:cNvSpPr/>
          <p:nvPr/>
        </p:nvSpPr>
        <p:spPr>
          <a:xfrm>
            <a:off x="618390" y="4184323"/>
            <a:ext cx="5222733" cy="1808238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16" name="文本框 5">
            <a:extLst>
              <a:ext uri="{FF2B5EF4-FFF2-40B4-BE49-F238E27FC236}">
                <a16:creationId xmlns:a16="http://schemas.microsoft.com/office/drawing/2014/main" id="{8777DEF9-FED8-CA10-59CE-5E1AC36B06DD}"/>
              </a:ext>
            </a:extLst>
          </p:cNvPr>
          <p:cNvSpPr txBox="1"/>
          <p:nvPr/>
        </p:nvSpPr>
        <p:spPr>
          <a:xfrm>
            <a:off x="713508" y="4244941"/>
            <a:ext cx="3744936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Recall at Various Thresholds </a:t>
            </a:r>
            <a:endParaRPr lang="de-DE"/>
          </a:p>
        </p:txBody>
      </p:sp>
      <p:sp>
        <p:nvSpPr>
          <p:cNvPr id="4" name="文本框 5">
            <a:extLst>
              <a:ext uri="{FF2B5EF4-FFF2-40B4-BE49-F238E27FC236}">
                <a16:creationId xmlns:a16="http://schemas.microsoft.com/office/drawing/2014/main" id="{E6B1F4AE-AE35-B46E-805A-E6D4E5C8BEF4}"/>
              </a:ext>
            </a:extLst>
          </p:cNvPr>
          <p:cNvSpPr txBox="1"/>
          <p:nvPr/>
        </p:nvSpPr>
        <p:spPr>
          <a:xfrm>
            <a:off x="617036" y="3150564"/>
            <a:ext cx="1667444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Confidence:</a:t>
            </a:r>
            <a:endParaRPr lang="de-DE"/>
          </a:p>
        </p:txBody>
      </p:sp>
      <p:sp>
        <p:nvSpPr>
          <p:cNvPr id="5" name="文本框 5">
            <a:extLst>
              <a:ext uri="{FF2B5EF4-FFF2-40B4-BE49-F238E27FC236}">
                <a16:creationId xmlns:a16="http://schemas.microsoft.com/office/drawing/2014/main" id="{AA8A3B1F-6523-AA95-AAE1-690F16264D94}"/>
              </a:ext>
            </a:extLst>
          </p:cNvPr>
          <p:cNvSpPr txBox="1"/>
          <p:nvPr/>
        </p:nvSpPr>
        <p:spPr>
          <a:xfrm>
            <a:off x="2181048" y="2449040"/>
            <a:ext cx="683200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0.92</a:t>
            </a:r>
            <a:endParaRPr lang="de-DE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4C3379F3-C152-22FC-5AE6-C3BE8968FC1F}"/>
              </a:ext>
            </a:extLst>
          </p:cNvPr>
          <p:cNvSpPr txBox="1"/>
          <p:nvPr/>
        </p:nvSpPr>
        <p:spPr>
          <a:xfrm>
            <a:off x="2181047" y="3150563"/>
            <a:ext cx="974947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&gt;0.999</a:t>
            </a:r>
            <a:endParaRPr lang="de-DE"/>
          </a:p>
        </p:txBody>
      </p:sp>
      <p:sp>
        <p:nvSpPr>
          <p:cNvPr id="8" name="文本框 5">
            <a:extLst>
              <a:ext uri="{FF2B5EF4-FFF2-40B4-BE49-F238E27FC236}">
                <a16:creationId xmlns:a16="http://schemas.microsoft.com/office/drawing/2014/main" id="{CF34AFA1-3E68-7E46-F214-9F4F88A3558C}"/>
              </a:ext>
            </a:extLst>
          </p:cNvPr>
          <p:cNvSpPr txBox="1"/>
          <p:nvPr/>
        </p:nvSpPr>
        <p:spPr>
          <a:xfrm>
            <a:off x="3153502" y="2901110"/>
            <a:ext cx="2765483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>
                <a:cs typeface="Arial"/>
              </a:rPr>
              <a:t>(in some cases more bounding boxes with a very low confidence where predicted)</a:t>
            </a:r>
            <a:endParaRPr lang="en-US" sz="1400" dirty="0">
              <a:solidFill>
                <a:srgbClr val="04316A"/>
              </a:solidFill>
              <a:cs typeface="Arial"/>
            </a:endParaRPr>
          </a:p>
        </p:txBody>
      </p:sp>
      <p:sp>
        <p:nvSpPr>
          <p:cNvPr id="14" name="文本框 5">
            <a:extLst>
              <a:ext uri="{FF2B5EF4-FFF2-40B4-BE49-F238E27FC236}">
                <a16:creationId xmlns:a16="http://schemas.microsoft.com/office/drawing/2014/main" id="{36524B13-3083-EE3D-7344-3BA9222A0038}"/>
              </a:ext>
            </a:extLst>
          </p:cNvPr>
          <p:cNvSpPr txBox="1"/>
          <p:nvPr/>
        </p:nvSpPr>
        <p:spPr>
          <a:xfrm>
            <a:off x="3165646" y="2164267"/>
            <a:ext cx="2673994" cy="7386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000000"/>
                </a:solidFill>
                <a:cs typeface="Arial"/>
              </a:rPr>
              <a:t>In the test data the maximum </a:t>
            </a:r>
            <a:r>
              <a:rPr lang="en-US" sz="1400" err="1">
                <a:solidFill>
                  <a:srgbClr val="000000"/>
                </a:solidFill>
                <a:cs typeface="Arial"/>
              </a:rPr>
              <a:t>IoU</a:t>
            </a:r>
            <a:r>
              <a:rPr lang="en-US" sz="1400">
                <a:solidFill>
                  <a:srgbClr val="000000"/>
                </a:solidFill>
                <a:cs typeface="Arial"/>
              </a:rPr>
              <a:t> is 0.96 and the minimum </a:t>
            </a:r>
            <a:r>
              <a:rPr lang="en-US" sz="1400" err="1">
                <a:solidFill>
                  <a:srgbClr val="000000"/>
                </a:solidFill>
                <a:cs typeface="Arial"/>
              </a:rPr>
              <a:t>IoU</a:t>
            </a:r>
            <a:r>
              <a:rPr lang="en-US" sz="1400">
                <a:solidFill>
                  <a:srgbClr val="000000"/>
                </a:solidFill>
                <a:cs typeface="Arial"/>
              </a:rPr>
              <a:t> is 0.86</a:t>
            </a:r>
            <a:endParaRPr lang="de-DE">
              <a:cs typeface="Arial"/>
            </a:endParaRPr>
          </a:p>
        </p:txBody>
      </p:sp>
      <p:sp>
        <p:nvSpPr>
          <p:cNvPr id="12" name="文本框 5">
            <a:extLst>
              <a:ext uri="{FF2B5EF4-FFF2-40B4-BE49-F238E27FC236}">
                <a16:creationId xmlns:a16="http://schemas.microsoft.com/office/drawing/2014/main" id="{8D357758-4FEB-B762-246C-27DCEC51BF63}"/>
              </a:ext>
            </a:extLst>
          </p:cNvPr>
          <p:cNvSpPr txBox="1"/>
          <p:nvPr/>
        </p:nvSpPr>
        <p:spPr>
          <a:xfrm>
            <a:off x="2162134" y="1498312"/>
            <a:ext cx="1837362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 u="sng">
                <a:solidFill>
                  <a:srgbClr val="04316A"/>
                </a:solidFill>
                <a:latin typeface="+mj-lt"/>
              </a:rPr>
              <a:t>Allen-Bradley</a:t>
            </a:r>
            <a:endParaRPr lang="de-DE" u="sng">
              <a:cs typeface="Arial"/>
            </a:endParaRPr>
          </a:p>
        </p:txBody>
      </p:sp>
      <p:sp>
        <p:nvSpPr>
          <p:cNvPr id="35" name="矩形: 圆角 3">
            <a:extLst>
              <a:ext uri="{FF2B5EF4-FFF2-40B4-BE49-F238E27FC236}">
                <a16:creationId xmlns:a16="http://schemas.microsoft.com/office/drawing/2014/main" id="{F7946DF9-B47B-2657-E73E-6A40968F73B3}"/>
              </a:ext>
            </a:extLst>
          </p:cNvPr>
          <p:cNvSpPr/>
          <p:nvPr/>
        </p:nvSpPr>
        <p:spPr>
          <a:xfrm>
            <a:off x="6409881" y="2049514"/>
            <a:ext cx="5222733" cy="1802142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37" name="文本框 5">
            <a:extLst>
              <a:ext uri="{FF2B5EF4-FFF2-40B4-BE49-F238E27FC236}">
                <a16:creationId xmlns:a16="http://schemas.microsoft.com/office/drawing/2014/main" id="{1BD8A7A6-FE50-B1C8-1AFF-271D3DA6DBE1}"/>
              </a:ext>
            </a:extLst>
          </p:cNvPr>
          <p:cNvSpPr txBox="1"/>
          <p:nvPr/>
        </p:nvSpPr>
        <p:spPr>
          <a:xfrm>
            <a:off x="6502290" y="2449041"/>
            <a:ext cx="1229952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 err="1">
                <a:solidFill>
                  <a:srgbClr val="04316A"/>
                </a:solidFill>
                <a:latin typeface="+mj-lt"/>
              </a:rPr>
              <a:t>Avg.IoU</a:t>
            </a:r>
            <a:r>
              <a:rPr lang="en-US" sz="2000" b="1">
                <a:solidFill>
                  <a:srgbClr val="04316A"/>
                </a:solidFill>
                <a:latin typeface="+mj-lt"/>
              </a:rPr>
              <a:t>:</a:t>
            </a:r>
            <a:endParaRPr lang="de-DE" err="1"/>
          </a:p>
        </p:txBody>
      </p:sp>
      <p:sp>
        <p:nvSpPr>
          <p:cNvPr id="39" name="矩形: 圆角 3">
            <a:extLst>
              <a:ext uri="{FF2B5EF4-FFF2-40B4-BE49-F238E27FC236}">
                <a16:creationId xmlns:a16="http://schemas.microsoft.com/office/drawing/2014/main" id="{BFC955CF-80FF-1280-73C3-22C5A2600C33}"/>
              </a:ext>
            </a:extLst>
          </p:cNvPr>
          <p:cNvSpPr/>
          <p:nvPr/>
        </p:nvSpPr>
        <p:spPr>
          <a:xfrm>
            <a:off x="6409590" y="4184323"/>
            <a:ext cx="5222733" cy="1808238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41" name="文本框 5">
            <a:extLst>
              <a:ext uri="{FF2B5EF4-FFF2-40B4-BE49-F238E27FC236}">
                <a16:creationId xmlns:a16="http://schemas.microsoft.com/office/drawing/2014/main" id="{DE7004E2-199E-6CE2-A51A-ED1911AC8214}"/>
              </a:ext>
            </a:extLst>
          </p:cNvPr>
          <p:cNvSpPr txBox="1"/>
          <p:nvPr/>
        </p:nvSpPr>
        <p:spPr>
          <a:xfrm>
            <a:off x="6504708" y="4251037"/>
            <a:ext cx="3744936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Recall at Various Thresholds </a:t>
            </a:r>
            <a:endParaRPr lang="de-DE"/>
          </a:p>
        </p:txBody>
      </p:sp>
      <p:sp>
        <p:nvSpPr>
          <p:cNvPr id="43" name="文本框 5">
            <a:extLst>
              <a:ext uri="{FF2B5EF4-FFF2-40B4-BE49-F238E27FC236}">
                <a16:creationId xmlns:a16="http://schemas.microsoft.com/office/drawing/2014/main" id="{8B8D3BC8-0FD2-485E-5DC0-6849420CAC42}"/>
              </a:ext>
            </a:extLst>
          </p:cNvPr>
          <p:cNvSpPr txBox="1"/>
          <p:nvPr/>
        </p:nvSpPr>
        <p:spPr>
          <a:xfrm>
            <a:off x="6444812" y="3126180"/>
            <a:ext cx="1667444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Confidence:</a:t>
            </a:r>
            <a:endParaRPr lang="de-DE"/>
          </a:p>
        </p:txBody>
      </p:sp>
      <p:sp>
        <p:nvSpPr>
          <p:cNvPr id="45" name="文本框 5">
            <a:extLst>
              <a:ext uri="{FF2B5EF4-FFF2-40B4-BE49-F238E27FC236}">
                <a16:creationId xmlns:a16="http://schemas.microsoft.com/office/drawing/2014/main" id="{3A1BAEA4-69FC-1257-4928-85E3900F16A3}"/>
              </a:ext>
            </a:extLst>
          </p:cNvPr>
          <p:cNvSpPr txBox="1"/>
          <p:nvPr/>
        </p:nvSpPr>
        <p:spPr>
          <a:xfrm>
            <a:off x="8112456" y="2449040"/>
            <a:ext cx="683200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0.88</a:t>
            </a:r>
            <a:endParaRPr lang="de-DE"/>
          </a:p>
        </p:txBody>
      </p:sp>
      <p:sp>
        <p:nvSpPr>
          <p:cNvPr id="47" name="文本框 5">
            <a:extLst>
              <a:ext uri="{FF2B5EF4-FFF2-40B4-BE49-F238E27FC236}">
                <a16:creationId xmlns:a16="http://schemas.microsoft.com/office/drawing/2014/main" id="{CD9EF60A-CE22-2478-F8E4-D0C97C47E573}"/>
              </a:ext>
            </a:extLst>
          </p:cNvPr>
          <p:cNvSpPr txBox="1"/>
          <p:nvPr/>
        </p:nvSpPr>
        <p:spPr>
          <a:xfrm>
            <a:off x="8112455" y="3126179"/>
            <a:ext cx="974947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&gt;0.999</a:t>
            </a:r>
            <a:endParaRPr lang="de-DE"/>
          </a:p>
        </p:txBody>
      </p:sp>
      <p:sp>
        <p:nvSpPr>
          <p:cNvPr id="49" name="文本框 5">
            <a:extLst>
              <a:ext uri="{FF2B5EF4-FFF2-40B4-BE49-F238E27FC236}">
                <a16:creationId xmlns:a16="http://schemas.microsoft.com/office/drawing/2014/main" id="{C2D251FA-5B20-E766-32CF-774E1A12EBC7}"/>
              </a:ext>
            </a:extLst>
          </p:cNvPr>
          <p:cNvSpPr txBox="1"/>
          <p:nvPr/>
        </p:nvSpPr>
        <p:spPr>
          <a:xfrm>
            <a:off x="9121486" y="2846246"/>
            <a:ext cx="2363147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>
                <a:cs typeface="Arial"/>
              </a:rPr>
              <a:t>(in some cases more bounding boxes with a very low confidence where predicted)</a:t>
            </a:r>
            <a:endParaRPr lang="en-US" sz="1400">
              <a:solidFill>
                <a:srgbClr val="04316A"/>
              </a:solidFill>
              <a:cs typeface="Arial"/>
            </a:endParaRPr>
          </a:p>
        </p:txBody>
      </p:sp>
      <p:sp>
        <p:nvSpPr>
          <p:cNvPr id="51" name="文本框 5">
            <a:extLst>
              <a:ext uri="{FF2B5EF4-FFF2-40B4-BE49-F238E27FC236}">
                <a16:creationId xmlns:a16="http://schemas.microsoft.com/office/drawing/2014/main" id="{18886323-BEEE-8EAE-F32E-209EFCAB56D6}"/>
              </a:ext>
            </a:extLst>
          </p:cNvPr>
          <p:cNvSpPr txBox="1"/>
          <p:nvPr/>
        </p:nvSpPr>
        <p:spPr>
          <a:xfrm>
            <a:off x="9121438" y="2103307"/>
            <a:ext cx="2613034" cy="74476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>
                <a:solidFill>
                  <a:srgbClr val="000000"/>
                </a:solidFill>
                <a:cs typeface="Arial"/>
              </a:rPr>
              <a:t>In the test data the maximum </a:t>
            </a:r>
            <a:r>
              <a:rPr lang="en-US" sz="1400" err="1">
                <a:solidFill>
                  <a:srgbClr val="000000"/>
                </a:solidFill>
                <a:cs typeface="Arial"/>
              </a:rPr>
              <a:t>IoU</a:t>
            </a:r>
            <a:r>
              <a:rPr lang="en-US" sz="1400">
                <a:solidFill>
                  <a:srgbClr val="000000"/>
                </a:solidFill>
                <a:cs typeface="Arial"/>
              </a:rPr>
              <a:t> is 0.96 and the minimum </a:t>
            </a:r>
            <a:r>
              <a:rPr lang="en-US" sz="1400" err="1">
                <a:solidFill>
                  <a:srgbClr val="000000"/>
                </a:solidFill>
                <a:cs typeface="Arial"/>
              </a:rPr>
              <a:t>IoU</a:t>
            </a:r>
            <a:r>
              <a:rPr lang="en-US" sz="1400">
                <a:solidFill>
                  <a:srgbClr val="000000"/>
                </a:solidFill>
                <a:cs typeface="Arial"/>
              </a:rPr>
              <a:t> is 0.77</a:t>
            </a:r>
            <a:endParaRPr lang="de-DE">
              <a:cs typeface="Arial"/>
            </a:endParaRPr>
          </a:p>
        </p:txBody>
      </p:sp>
      <p:sp>
        <p:nvSpPr>
          <p:cNvPr id="54" name="文本框 5">
            <a:extLst>
              <a:ext uri="{FF2B5EF4-FFF2-40B4-BE49-F238E27FC236}">
                <a16:creationId xmlns:a16="http://schemas.microsoft.com/office/drawing/2014/main" id="{2BD66993-A970-317F-9AE8-7315DE173F59}"/>
              </a:ext>
            </a:extLst>
          </p:cNvPr>
          <p:cNvSpPr txBox="1"/>
          <p:nvPr/>
        </p:nvSpPr>
        <p:spPr>
          <a:xfrm>
            <a:off x="8429287" y="1498312"/>
            <a:ext cx="1183337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 u="sng">
                <a:solidFill>
                  <a:srgbClr val="04316A"/>
                </a:solidFill>
                <a:latin typeface="+mj-lt"/>
              </a:rPr>
              <a:t>Kontron</a:t>
            </a:r>
            <a:endParaRPr lang="de-DE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9D2FE82C-A508-B4E7-6DC1-12C70F41D8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9578049"/>
              </p:ext>
            </p:extLst>
          </p:nvPr>
        </p:nvGraphicFramePr>
        <p:xfrm>
          <a:off x="1116711" y="4849612"/>
          <a:ext cx="4386831" cy="951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2277">
                  <a:extLst>
                    <a:ext uri="{9D8B030D-6E8A-4147-A177-3AD203B41FA5}">
                      <a16:colId xmlns:a16="http://schemas.microsoft.com/office/drawing/2014/main" val="995636340"/>
                    </a:ext>
                  </a:extLst>
                </a:gridCol>
                <a:gridCol w="1462277">
                  <a:extLst>
                    <a:ext uri="{9D8B030D-6E8A-4147-A177-3AD203B41FA5}">
                      <a16:colId xmlns:a16="http://schemas.microsoft.com/office/drawing/2014/main" val="3302027589"/>
                    </a:ext>
                  </a:extLst>
                </a:gridCol>
                <a:gridCol w="1462277">
                  <a:extLst>
                    <a:ext uri="{9D8B030D-6E8A-4147-A177-3AD203B41FA5}">
                      <a16:colId xmlns:a16="http://schemas.microsoft.com/office/drawing/2014/main" val="484002601"/>
                    </a:ext>
                  </a:extLst>
                </a:gridCol>
              </a:tblGrid>
              <a:tr h="23793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Threshold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Precision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Recall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516455805"/>
                  </a:ext>
                </a:extLst>
              </a:tr>
              <a:tr h="23793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85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1.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1.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1187067"/>
                  </a:ext>
                </a:extLst>
              </a:tr>
              <a:tr h="23793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9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1.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55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807189960"/>
                  </a:ext>
                </a:extLst>
              </a:tr>
              <a:tr h="23793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95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1.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11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558521005"/>
                  </a:ext>
                </a:extLst>
              </a:tr>
            </a:tbl>
          </a:graphicData>
        </a:graphic>
      </p:graphicFrame>
      <p:graphicFrame>
        <p:nvGraphicFramePr>
          <p:cNvPr id="17" name="Tabelle 16">
            <a:extLst>
              <a:ext uri="{FF2B5EF4-FFF2-40B4-BE49-F238E27FC236}">
                <a16:creationId xmlns:a16="http://schemas.microsoft.com/office/drawing/2014/main" id="{1A72981D-85A2-0BDE-D0D9-3C526F5FD5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538947"/>
              </p:ext>
            </p:extLst>
          </p:nvPr>
        </p:nvGraphicFramePr>
        <p:xfrm>
          <a:off x="7016496" y="4840224"/>
          <a:ext cx="4240536" cy="9611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3512">
                  <a:extLst>
                    <a:ext uri="{9D8B030D-6E8A-4147-A177-3AD203B41FA5}">
                      <a16:colId xmlns:a16="http://schemas.microsoft.com/office/drawing/2014/main" val="1351384357"/>
                    </a:ext>
                  </a:extLst>
                </a:gridCol>
                <a:gridCol w="1413512">
                  <a:extLst>
                    <a:ext uri="{9D8B030D-6E8A-4147-A177-3AD203B41FA5}">
                      <a16:colId xmlns:a16="http://schemas.microsoft.com/office/drawing/2014/main" val="1433162479"/>
                    </a:ext>
                  </a:extLst>
                </a:gridCol>
                <a:gridCol w="1413512">
                  <a:extLst>
                    <a:ext uri="{9D8B030D-6E8A-4147-A177-3AD203B41FA5}">
                      <a16:colId xmlns:a16="http://schemas.microsoft.com/office/drawing/2014/main" val="831331321"/>
                    </a:ext>
                  </a:extLst>
                </a:gridCol>
              </a:tblGrid>
              <a:tr h="240277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Threshold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Precision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Recall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6013880"/>
                  </a:ext>
                </a:extLst>
              </a:tr>
              <a:tr h="240277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85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1.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91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30806070"/>
                  </a:ext>
                </a:extLst>
              </a:tr>
              <a:tr h="240277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9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1.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45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541519334"/>
                  </a:ext>
                </a:extLst>
              </a:tr>
              <a:tr h="240277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95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1.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09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129043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64095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C724A-482F-2622-964F-44332F01CE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Box </a:t>
            </a:r>
            <a:r>
              <a:rPr lang="de-DE" err="1">
                <a:cs typeface="Arial"/>
              </a:rPr>
              <a:t>Localization</a:t>
            </a:r>
            <a:endParaRPr lang="de-DE" err="1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2E7AD0B-B54B-328C-1610-C97D4B07B6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FF844-4B9D-4766-888F-D21424B53EE9}" type="datetime1">
              <a:rPr lang="en-US"/>
              <a:t>3/13/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D9C95E-B8AE-3C62-D3F8-A735E1742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F5BE4C-C8E6-274F-D9F4-07F0213596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90396-6A52-8E43-BCE7-528C980B7A91}" type="slidenum">
              <a:rPr lang="de-DE" smtClean="0"/>
              <a:t>12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835BCA-B4EA-BE05-C4DA-A4FD2A5C6F25}"/>
              </a:ext>
            </a:extLst>
          </p:cNvPr>
          <p:cNvSpPr txBox="1">
            <a:spLocks/>
          </p:cNvSpPr>
          <p:nvPr/>
        </p:nvSpPr>
        <p:spPr>
          <a:xfrm>
            <a:off x="433941" y="639265"/>
            <a:ext cx="6844385" cy="24981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Evaluation </a:t>
            </a:r>
            <a:endParaRPr lang="de-DE">
              <a:cs typeface="Arial"/>
            </a:endParaRPr>
          </a:p>
        </p:txBody>
      </p:sp>
      <p:pic>
        <p:nvPicPr>
          <p:cNvPr id="11" name="Grafik 11" descr="Ein Bild, das Text enthält.&#10;&#10;Beschreibung automatisch generiert.">
            <a:extLst>
              <a:ext uri="{FF2B5EF4-FFF2-40B4-BE49-F238E27FC236}">
                <a16:creationId xmlns:a16="http://schemas.microsoft.com/office/drawing/2014/main" id="{3D83DBF4-FA1C-E08D-39D9-334340A4CA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94320" y="2022089"/>
            <a:ext cx="2743200" cy="1728734"/>
          </a:xfrm>
          <a:prstGeom prst="rect">
            <a:avLst/>
          </a:prstGeom>
        </p:spPr>
      </p:pic>
      <p:pic>
        <p:nvPicPr>
          <p:cNvPr id="12" name="Grafik 12" descr="Ein Bild, das drinnen, Elektronik enthält.&#10;&#10;Beschreibung automatisch generiert.">
            <a:extLst>
              <a:ext uri="{FF2B5EF4-FFF2-40B4-BE49-F238E27FC236}">
                <a16:creationId xmlns:a16="http://schemas.microsoft.com/office/drawing/2014/main" id="{706BF049-0BDD-A0D3-5AAA-7BF43667FB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4320" y="4374831"/>
            <a:ext cx="2743200" cy="1683327"/>
          </a:xfrm>
          <a:prstGeom prst="rect">
            <a:avLst/>
          </a:prstGeom>
        </p:spPr>
      </p:pic>
      <p:pic>
        <p:nvPicPr>
          <p:cNvPr id="13" name="Grafik 13" descr="Ein Bild, das drinnen enthält.&#10;&#10;Beschreibung automatisch generiert.">
            <a:extLst>
              <a:ext uri="{FF2B5EF4-FFF2-40B4-BE49-F238E27FC236}">
                <a16:creationId xmlns:a16="http://schemas.microsoft.com/office/drawing/2014/main" id="{79C463A9-7D6F-21B5-4D15-B8DD559375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3248" y="2021309"/>
            <a:ext cx="2743200" cy="1693718"/>
          </a:xfrm>
          <a:prstGeom prst="rect">
            <a:avLst/>
          </a:prstGeom>
        </p:spPr>
      </p:pic>
      <p:pic>
        <p:nvPicPr>
          <p:cNvPr id="14" name="Grafik 14" descr="Ein Bild, das Text, Elektronik enthält.&#10;&#10;Beschreibung automatisch generiert.">
            <a:extLst>
              <a:ext uri="{FF2B5EF4-FFF2-40B4-BE49-F238E27FC236}">
                <a16:creationId xmlns:a16="http://schemas.microsoft.com/office/drawing/2014/main" id="{028A1DD6-58A4-AFF9-DC86-289EBD7E58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49168" y="4374086"/>
            <a:ext cx="2627376" cy="1170019"/>
          </a:xfrm>
          <a:prstGeom prst="rect">
            <a:avLst/>
          </a:prstGeom>
        </p:spPr>
      </p:pic>
      <p:pic>
        <p:nvPicPr>
          <p:cNvPr id="15" name="Grafik 15">
            <a:extLst>
              <a:ext uri="{FF2B5EF4-FFF2-40B4-BE49-F238E27FC236}">
                <a16:creationId xmlns:a16="http://schemas.microsoft.com/office/drawing/2014/main" id="{7480244B-E8DD-64DE-467D-BBC7714CF8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4800" y="4374993"/>
            <a:ext cx="2743200" cy="1168207"/>
          </a:xfrm>
          <a:prstGeom prst="rect">
            <a:avLst/>
          </a:prstGeom>
        </p:spPr>
      </p:pic>
      <p:sp>
        <p:nvSpPr>
          <p:cNvPr id="17" name="文本框 5">
            <a:extLst>
              <a:ext uri="{FF2B5EF4-FFF2-40B4-BE49-F238E27FC236}">
                <a16:creationId xmlns:a16="http://schemas.microsoft.com/office/drawing/2014/main" id="{FD8FCB0B-8F6B-1197-143A-77F500887F29}"/>
              </a:ext>
            </a:extLst>
          </p:cNvPr>
          <p:cNvSpPr txBox="1"/>
          <p:nvPr/>
        </p:nvSpPr>
        <p:spPr>
          <a:xfrm>
            <a:off x="2054628" y="1355437"/>
            <a:ext cx="1837362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 u="sng">
                <a:solidFill>
                  <a:srgbClr val="04316A"/>
                </a:solidFill>
                <a:latin typeface="+mj-lt"/>
              </a:rPr>
              <a:t>Allen-Bradley</a:t>
            </a:r>
            <a:endParaRPr lang="de-DE" u="sng">
              <a:cs typeface="Arial"/>
            </a:endParaRPr>
          </a:p>
        </p:txBody>
      </p:sp>
      <p:sp>
        <p:nvSpPr>
          <p:cNvPr id="19" name="文本框 5">
            <a:extLst>
              <a:ext uri="{FF2B5EF4-FFF2-40B4-BE49-F238E27FC236}">
                <a16:creationId xmlns:a16="http://schemas.microsoft.com/office/drawing/2014/main" id="{0FDF5EDB-A23F-3743-69BE-8D8027AC259C}"/>
              </a:ext>
            </a:extLst>
          </p:cNvPr>
          <p:cNvSpPr txBox="1"/>
          <p:nvPr/>
        </p:nvSpPr>
        <p:spPr>
          <a:xfrm>
            <a:off x="8674884" y="1355437"/>
            <a:ext cx="1183337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 u="sng">
                <a:solidFill>
                  <a:srgbClr val="04316A"/>
                </a:solidFill>
                <a:latin typeface="+mj-lt"/>
              </a:rPr>
              <a:t>Kontron</a:t>
            </a:r>
            <a:endParaRPr 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D59EEA6-6D0B-3DB0-6732-138CB2147178}"/>
              </a:ext>
            </a:extLst>
          </p:cNvPr>
          <p:cNvSpPr txBox="1"/>
          <p:nvPr/>
        </p:nvSpPr>
        <p:spPr>
          <a:xfrm>
            <a:off x="306224" y="5982057"/>
            <a:ext cx="3297252" cy="4719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800"/>
              </a:spcAft>
            </a:pPr>
            <a:r>
              <a:rPr lang="de-DE" sz="1200" err="1">
                <a:solidFill>
                  <a:srgbClr val="FF0000"/>
                </a:solidFill>
                <a:latin typeface="Arial"/>
                <a:cs typeface="Arial"/>
              </a:rPr>
              <a:t>Red</a:t>
            </a:r>
            <a:r>
              <a:rPr lang="de-DE" sz="1200">
                <a:solidFill>
                  <a:srgbClr val="FF0000"/>
                </a:solidFill>
                <a:latin typeface="Arial"/>
                <a:cs typeface="Arial"/>
              </a:rPr>
              <a:t> </a:t>
            </a:r>
            <a:r>
              <a:rPr lang="de-DE" sz="1200" err="1">
                <a:latin typeface="Arial"/>
                <a:cs typeface="Arial"/>
              </a:rPr>
              <a:t>bounding</a:t>
            </a:r>
            <a:r>
              <a:rPr lang="de-DE" sz="1200">
                <a:latin typeface="Arial"/>
                <a:cs typeface="Arial"/>
              </a:rPr>
              <a:t> box: Ground Truth</a:t>
            </a:r>
          </a:p>
          <a:p>
            <a:pPr>
              <a:spcAft>
                <a:spcPts val="800"/>
              </a:spcAft>
            </a:pPr>
            <a:r>
              <a:rPr lang="de-DE" sz="1200">
                <a:solidFill>
                  <a:srgbClr val="00B050"/>
                </a:solidFill>
                <a:latin typeface="Arial"/>
                <a:cs typeface="Arial"/>
              </a:rPr>
              <a:t>Green </a:t>
            </a:r>
            <a:r>
              <a:rPr lang="de-DE" sz="1200" err="1">
                <a:latin typeface="Arial"/>
                <a:cs typeface="Arial"/>
              </a:rPr>
              <a:t>bounding</a:t>
            </a:r>
            <a:r>
              <a:rPr lang="de-DE" sz="1200">
                <a:latin typeface="Arial"/>
                <a:cs typeface="Arial"/>
              </a:rPr>
              <a:t> box: </a:t>
            </a:r>
            <a:r>
              <a:rPr lang="de-DE" sz="1200" err="1">
                <a:latin typeface="Arial"/>
                <a:cs typeface="Arial"/>
              </a:rPr>
              <a:t>Prediction</a:t>
            </a:r>
            <a:endParaRPr lang="de-DE" sz="1200">
              <a:solidFill>
                <a:prstClr val="black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43652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C46B3-551E-EB4A-1B19-8431C04D3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ox Alignmen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7755B5F-5B92-9175-C19B-E27003856FAD}"/>
              </a:ext>
            </a:extLst>
          </p:cNvPr>
          <p:cNvSpPr txBox="1">
            <a:spLocks/>
          </p:cNvSpPr>
          <p:nvPr/>
        </p:nvSpPr>
        <p:spPr>
          <a:xfrm>
            <a:off x="439408" y="639265"/>
            <a:ext cx="6844385" cy="24981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Evaluation Kontron</a:t>
            </a:r>
            <a:endParaRPr lang="de-DE">
              <a:cs typeface="Arial"/>
            </a:endParaRPr>
          </a:p>
        </p:txBody>
      </p:sp>
      <p:sp>
        <p:nvSpPr>
          <p:cNvPr id="9" name="矩形: 圆角 3">
            <a:extLst>
              <a:ext uri="{FF2B5EF4-FFF2-40B4-BE49-F238E27FC236}">
                <a16:creationId xmlns:a16="http://schemas.microsoft.com/office/drawing/2014/main" id="{5539DD1F-1C12-9436-6F52-48648B45A3FD}"/>
              </a:ext>
            </a:extLst>
          </p:cNvPr>
          <p:cNvSpPr/>
          <p:nvPr/>
        </p:nvSpPr>
        <p:spPr>
          <a:xfrm>
            <a:off x="874713" y="1945882"/>
            <a:ext cx="5978637" cy="1808238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15" name="矩形: 圆角 3">
            <a:extLst>
              <a:ext uri="{FF2B5EF4-FFF2-40B4-BE49-F238E27FC236}">
                <a16:creationId xmlns:a16="http://schemas.microsoft.com/office/drawing/2014/main" id="{5C7155CA-E6CA-A72D-B376-8E480BCECD96}"/>
              </a:ext>
            </a:extLst>
          </p:cNvPr>
          <p:cNvSpPr/>
          <p:nvPr/>
        </p:nvSpPr>
        <p:spPr>
          <a:xfrm>
            <a:off x="910998" y="4080691"/>
            <a:ext cx="5978637" cy="1808238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pic>
        <p:nvPicPr>
          <p:cNvPr id="4" name="Grafik 4" descr="Ein Bild, das Text, Elektronik, Screenshot enthält.&#10;&#10;Beschreibung automatisch generiert.">
            <a:extLst>
              <a:ext uri="{FF2B5EF4-FFF2-40B4-BE49-F238E27FC236}">
                <a16:creationId xmlns:a16="http://schemas.microsoft.com/office/drawing/2014/main" id="{6DC72998-D0BF-EB22-7D3C-442490F25D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4784" y="1968200"/>
            <a:ext cx="5053584" cy="1019648"/>
          </a:xfrm>
          <a:prstGeom prst="rect">
            <a:avLst/>
          </a:prstGeom>
        </p:spPr>
      </p:pic>
      <p:pic>
        <p:nvPicPr>
          <p:cNvPr id="5" name="Grafik 5" descr="Ein Bild, das Text, Elektronik, verschieden enthält.&#10;&#10;Beschreibung automatisch generiert.">
            <a:extLst>
              <a:ext uri="{FF2B5EF4-FFF2-40B4-BE49-F238E27FC236}">
                <a16:creationId xmlns:a16="http://schemas.microsoft.com/office/drawing/2014/main" id="{D42BDF2D-E3E0-C2F2-DA0C-E701488467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4784" y="4824509"/>
            <a:ext cx="5053584" cy="1061654"/>
          </a:xfrm>
          <a:prstGeom prst="rect">
            <a:avLst/>
          </a:prstGeom>
        </p:spPr>
      </p:pic>
      <p:sp>
        <p:nvSpPr>
          <p:cNvPr id="8" name="文本框 5">
            <a:extLst>
              <a:ext uri="{FF2B5EF4-FFF2-40B4-BE49-F238E27FC236}">
                <a16:creationId xmlns:a16="http://schemas.microsoft.com/office/drawing/2014/main" id="{8B82F416-85EC-89D0-4DA8-E8DF89A8B5F7}"/>
              </a:ext>
            </a:extLst>
          </p:cNvPr>
          <p:cNvSpPr txBox="1"/>
          <p:nvPr/>
        </p:nvSpPr>
        <p:spPr>
          <a:xfrm>
            <a:off x="1015890" y="2016225"/>
            <a:ext cx="1559136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cs typeface="Arial"/>
              </a:rPr>
              <a:t>Approach</a:t>
            </a:r>
          </a:p>
        </p:txBody>
      </p:sp>
      <p:sp>
        <p:nvSpPr>
          <p:cNvPr id="11" name="文本框 5">
            <a:extLst>
              <a:ext uri="{FF2B5EF4-FFF2-40B4-BE49-F238E27FC236}">
                <a16:creationId xmlns:a16="http://schemas.microsoft.com/office/drawing/2014/main" id="{A0A93DC1-0775-F42A-84E8-46D46BCEB8E3}"/>
              </a:ext>
            </a:extLst>
          </p:cNvPr>
          <p:cNvSpPr txBox="1"/>
          <p:nvPr/>
        </p:nvSpPr>
        <p:spPr>
          <a:xfrm>
            <a:off x="1015890" y="4143729"/>
            <a:ext cx="2827104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 b="1">
                <a:solidFill>
                  <a:schemeClr val="accent1"/>
                </a:solidFill>
                <a:ea typeface="+mn-lt"/>
                <a:cs typeface="+mn-lt"/>
              </a:rPr>
              <a:t>Open CV library </a:t>
            </a:r>
            <a:endParaRPr lang="en-US" sz="2000">
              <a:solidFill>
                <a:schemeClr val="accent1"/>
              </a:solidFill>
              <a:ea typeface="+mn-lt"/>
              <a:cs typeface="+mn-lt"/>
            </a:endParaRPr>
          </a:p>
        </p:txBody>
      </p:sp>
      <p:sp>
        <p:nvSpPr>
          <p:cNvPr id="13" name="文本框 5">
            <a:extLst>
              <a:ext uri="{FF2B5EF4-FFF2-40B4-BE49-F238E27FC236}">
                <a16:creationId xmlns:a16="http://schemas.microsoft.com/office/drawing/2014/main" id="{72E3A46A-7F70-7A06-F7ED-EC2EE4FFF64E}"/>
              </a:ext>
            </a:extLst>
          </p:cNvPr>
          <p:cNvSpPr txBox="1"/>
          <p:nvPr/>
        </p:nvSpPr>
        <p:spPr>
          <a:xfrm>
            <a:off x="1349038" y="2475163"/>
            <a:ext cx="2673994" cy="102188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400" dirty="0">
                <a:cs typeface="Arial"/>
              </a:rPr>
              <a:t>Define a template </a:t>
            </a:r>
            <a:endParaRPr lang="de-DE" dirty="0">
              <a:cs typeface="Arial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400" dirty="0">
                <a:cs typeface="Arial"/>
              </a:rPr>
              <a:t>Find </a:t>
            </a:r>
            <a:r>
              <a:rPr lang="en-US" sz="1400" dirty="0" err="1">
                <a:cs typeface="Arial"/>
              </a:rPr>
              <a:t>keypoints</a:t>
            </a:r>
            <a:endParaRPr lang="en-US" sz="1400" dirty="0">
              <a:cs typeface="Arial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400" dirty="0">
                <a:cs typeface="Arial"/>
              </a:rPr>
              <a:t>Match the </a:t>
            </a:r>
            <a:r>
              <a:rPr lang="en-US" sz="1400" dirty="0" err="1">
                <a:cs typeface="Arial"/>
              </a:rPr>
              <a:t>keypoints</a:t>
            </a:r>
            <a:endParaRPr lang="en-US" sz="1400" dirty="0">
              <a:cs typeface="Arial"/>
            </a:endParaRPr>
          </a:p>
        </p:txBody>
      </p:sp>
      <p:sp>
        <p:nvSpPr>
          <p:cNvPr id="16" name="文本框 5">
            <a:extLst>
              <a:ext uri="{FF2B5EF4-FFF2-40B4-BE49-F238E27FC236}">
                <a16:creationId xmlns:a16="http://schemas.microsoft.com/office/drawing/2014/main" id="{8DA56F8F-900A-C97D-06EF-891F22FCBA9A}"/>
              </a:ext>
            </a:extLst>
          </p:cNvPr>
          <p:cNvSpPr txBox="1"/>
          <p:nvPr/>
        </p:nvSpPr>
        <p:spPr>
          <a:xfrm>
            <a:off x="3836205" y="2511739"/>
            <a:ext cx="2673994" cy="37555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50000"/>
              </a:lnSpc>
            </a:pPr>
            <a:endParaRPr lang="en-US" sz="1400">
              <a:cs typeface="Arial"/>
            </a:endParaRPr>
          </a:p>
        </p:txBody>
      </p:sp>
      <p:sp>
        <p:nvSpPr>
          <p:cNvPr id="17" name="文本框 5">
            <a:extLst>
              <a:ext uri="{FF2B5EF4-FFF2-40B4-BE49-F238E27FC236}">
                <a16:creationId xmlns:a16="http://schemas.microsoft.com/office/drawing/2014/main" id="{CD83D319-F12A-1AA2-D827-2FF291AFC538}"/>
              </a:ext>
            </a:extLst>
          </p:cNvPr>
          <p:cNvSpPr txBox="1"/>
          <p:nvPr/>
        </p:nvSpPr>
        <p:spPr>
          <a:xfrm>
            <a:off x="3836205" y="2469067"/>
            <a:ext cx="2673994" cy="69871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400">
                <a:cs typeface="Arial"/>
              </a:rPr>
              <a:t>Calculate </a:t>
            </a:r>
            <a:r>
              <a:rPr lang="en-US" sz="1400" err="1">
                <a:cs typeface="Arial"/>
              </a:rPr>
              <a:t>homography</a:t>
            </a:r>
            <a:endParaRPr lang="en-US" sz="1400">
              <a:cs typeface="Arial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400">
                <a:cs typeface="Arial"/>
              </a:rPr>
              <a:t>Warp image</a:t>
            </a:r>
          </a:p>
        </p:txBody>
      </p:sp>
      <p:pic>
        <p:nvPicPr>
          <p:cNvPr id="18" name="Grafik 18">
            <a:extLst>
              <a:ext uri="{FF2B5EF4-FFF2-40B4-BE49-F238E27FC236}">
                <a16:creationId xmlns:a16="http://schemas.microsoft.com/office/drawing/2014/main" id="{50CCC360-5856-10C9-1630-CD34877798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23376" y="3292024"/>
            <a:ext cx="1682496" cy="1432193"/>
          </a:xfrm>
          <a:prstGeom prst="rect">
            <a:avLst/>
          </a:prstGeom>
        </p:spPr>
      </p:pic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0E697923-2C6B-7E5D-5EAB-9A3A48A2CF79}"/>
              </a:ext>
            </a:extLst>
          </p:cNvPr>
          <p:cNvSpPr/>
          <p:nvPr/>
        </p:nvSpPr>
        <p:spPr>
          <a:xfrm rot="5400000">
            <a:off x="9425940" y="3086100"/>
            <a:ext cx="271272" cy="16154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Pfeil: nach rechts 19">
            <a:extLst>
              <a:ext uri="{FF2B5EF4-FFF2-40B4-BE49-F238E27FC236}">
                <a16:creationId xmlns:a16="http://schemas.microsoft.com/office/drawing/2014/main" id="{2D020922-9790-FA06-69E6-D95B9E5DBBE5}"/>
              </a:ext>
            </a:extLst>
          </p:cNvPr>
          <p:cNvSpPr/>
          <p:nvPr/>
        </p:nvSpPr>
        <p:spPr>
          <a:xfrm rot="5400000">
            <a:off x="9425940" y="4591812"/>
            <a:ext cx="271272" cy="16154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文本框 5">
            <a:extLst>
              <a:ext uri="{FF2B5EF4-FFF2-40B4-BE49-F238E27FC236}">
                <a16:creationId xmlns:a16="http://schemas.microsoft.com/office/drawing/2014/main" id="{45C4492B-81F3-C8F9-C8C4-B07E84CAB7F4}"/>
              </a:ext>
            </a:extLst>
          </p:cNvPr>
          <p:cNvSpPr txBox="1"/>
          <p:nvPr/>
        </p:nvSpPr>
        <p:spPr>
          <a:xfrm>
            <a:off x="1035093" y="4608763"/>
            <a:ext cx="3783466" cy="37555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>
                <a:cs typeface="Arial"/>
              </a:rPr>
              <a:t>ORB (</a:t>
            </a:r>
            <a:r>
              <a:rPr lang="en-US" sz="1400">
                <a:ea typeface="+mn-lt"/>
                <a:cs typeface="+mn-lt"/>
              </a:rPr>
              <a:t>Oriented FAST and Rotated BRIEF)</a:t>
            </a:r>
            <a:endParaRPr lang="en-US" sz="1400">
              <a:cs typeface="Arial"/>
            </a:endParaRPr>
          </a:p>
        </p:txBody>
      </p:sp>
      <p:sp>
        <p:nvSpPr>
          <p:cNvPr id="23" name="文本框 5">
            <a:extLst>
              <a:ext uri="{FF2B5EF4-FFF2-40B4-BE49-F238E27FC236}">
                <a16:creationId xmlns:a16="http://schemas.microsoft.com/office/drawing/2014/main" id="{05DDE25B-51F1-D0E1-6C59-34A73D2B892B}"/>
              </a:ext>
            </a:extLst>
          </p:cNvPr>
          <p:cNvSpPr txBox="1"/>
          <p:nvPr/>
        </p:nvSpPr>
        <p:spPr>
          <a:xfrm>
            <a:off x="1035092" y="5029387"/>
            <a:ext cx="3783466" cy="37555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>
                <a:cs typeface="Arial"/>
              </a:rPr>
              <a:t>Hamming method</a:t>
            </a:r>
            <a:endParaRPr lang="de-DE"/>
          </a:p>
        </p:txBody>
      </p:sp>
      <p:sp>
        <p:nvSpPr>
          <p:cNvPr id="24" name="文本框 5">
            <a:extLst>
              <a:ext uri="{FF2B5EF4-FFF2-40B4-BE49-F238E27FC236}">
                <a16:creationId xmlns:a16="http://schemas.microsoft.com/office/drawing/2014/main" id="{9B54641F-D5E5-CF13-ED20-525296D1786B}"/>
              </a:ext>
            </a:extLst>
          </p:cNvPr>
          <p:cNvSpPr txBox="1"/>
          <p:nvPr/>
        </p:nvSpPr>
        <p:spPr>
          <a:xfrm>
            <a:off x="1035092" y="5559739"/>
            <a:ext cx="3783466" cy="91416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400">
                <a:ea typeface="+mn-lt"/>
                <a:cs typeface="+mn-lt"/>
              </a:rPr>
              <a:t>RANSAC (Random Sample Consensus) </a:t>
            </a:r>
            <a:endParaRPr lang="de-DE"/>
          </a:p>
          <a:p>
            <a:pPr>
              <a:lnSpc>
                <a:spcPct val="150000"/>
              </a:lnSpc>
            </a:pPr>
            <a:endParaRPr lang="en-US" sz="1400">
              <a:cs typeface="Arial"/>
            </a:endParaRPr>
          </a:p>
          <a:p>
            <a:pPr>
              <a:lnSpc>
                <a:spcPct val="150000"/>
              </a:lnSpc>
            </a:pPr>
            <a:endParaRPr lang="en-US" sz="1400">
              <a:cs typeface="Arial"/>
            </a:endParaRPr>
          </a:p>
        </p:txBody>
      </p:sp>
      <p:sp>
        <p:nvSpPr>
          <p:cNvPr id="26" name="Pfeil: nach rechts 25">
            <a:extLst>
              <a:ext uri="{FF2B5EF4-FFF2-40B4-BE49-F238E27FC236}">
                <a16:creationId xmlns:a16="http://schemas.microsoft.com/office/drawing/2014/main" id="{70020BB5-B308-A2E2-F4C8-90579362E27E}"/>
              </a:ext>
            </a:extLst>
          </p:cNvPr>
          <p:cNvSpPr/>
          <p:nvPr/>
        </p:nvSpPr>
        <p:spPr>
          <a:xfrm>
            <a:off x="4668774" y="4756404"/>
            <a:ext cx="344424" cy="13716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文本框 5">
            <a:extLst>
              <a:ext uri="{FF2B5EF4-FFF2-40B4-BE49-F238E27FC236}">
                <a16:creationId xmlns:a16="http://schemas.microsoft.com/office/drawing/2014/main" id="{68A0F021-536D-3056-8100-39E0842AFEE7}"/>
              </a:ext>
            </a:extLst>
          </p:cNvPr>
          <p:cNvSpPr txBox="1"/>
          <p:nvPr/>
        </p:nvSpPr>
        <p:spPr>
          <a:xfrm>
            <a:off x="5177324" y="4608763"/>
            <a:ext cx="1783978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400" err="1">
                <a:cs typeface="Arial"/>
              </a:rPr>
              <a:t>Keypoint</a:t>
            </a:r>
            <a:r>
              <a:rPr lang="en-US" sz="1400">
                <a:cs typeface="Arial"/>
              </a:rPr>
              <a:t> detection </a:t>
            </a:r>
            <a:endParaRPr lang="de-DE">
              <a:cs typeface="Arial"/>
            </a:endParaRPr>
          </a:p>
          <a:p>
            <a:r>
              <a:rPr lang="en-US" sz="1400">
                <a:cs typeface="Arial"/>
              </a:rPr>
              <a:t>and mapping</a:t>
            </a:r>
            <a:endParaRPr lang="de-DE">
              <a:cs typeface="Arial"/>
            </a:endParaRPr>
          </a:p>
        </p:txBody>
      </p:sp>
      <p:sp>
        <p:nvSpPr>
          <p:cNvPr id="28" name="Pfeil: nach rechts 27">
            <a:extLst>
              <a:ext uri="{FF2B5EF4-FFF2-40B4-BE49-F238E27FC236}">
                <a16:creationId xmlns:a16="http://schemas.microsoft.com/office/drawing/2014/main" id="{021F9344-DF2C-5C22-6319-F615685D7A06}"/>
              </a:ext>
            </a:extLst>
          </p:cNvPr>
          <p:cNvSpPr/>
          <p:nvPr/>
        </p:nvSpPr>
        <p:spPr>
          <a:xfrm>
            <a:off x="4668773" y="5170931"/>
            <a:ext cx="344424" cy="13716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文本框 5">
            <a:extLst>
              <a:ext uri="{FF2B5EF4-FFF2-40B4-BE49-F238E27FC236}">
                <a16:creationId xmlns:a16="http://schemas.microsoft.com/office/drawing/2014/main" id="{4748B73F-241C-BAB3-5D60-76AFFB1D4EC7}"/>
              </a:ext>
            </a:extLst>
          </p:cNvPr>
          <p:cNvSpPr txBox="1"/>
          <p:nvPr/>
        </p:nvSpPr>
        <p:spPr>
          <a:xfrm>
            <a:off x="5177324" y="5065963"/>
            <a:ext cx="1783978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400" err="1">
                <a:cs typeface="Arial"/>
              </a:rPr>
              <a:t>Keypoint</a:t>
            </a:r>
            <a:r>
              <a:rPr lang="en-US" sz="1400">
                <a:cs typeface="Arial"/>
              </a:rPr>
              <a:t> matching</a:t>
            </a:r>
            <a:endParaRPr lang="de-DE">
              <a:cs typeface="Arial"/>
            </a:endParaRPr>
          </a:p>
        </p:txBody>
      </p:sp>
      <p:sp>
        <p:nvSpPr>
          <p:cNvPr id="30" name="Pfeil: nach rechts 29">
            <a:extLst>
              <a:ext uri="{FF2B5EF4-FFF2-40B4-BE49-F238E27FC236}">
                <a16:creationId xmlns:a16="http://schemas.microsoft.com/office/drawing/2014/main" id="{09670C48-1A79-65FA-36CD-F7D15F34C862}"/>
              </a:ext>
            </a:extLst>
          </p:cNvPr>
          <p:cNvSpPr/>
          <p:nvPr/>
        </p:nvSpPr>
        <p:spPr>
          <a:xfrm>
            <a:off x="4668773" y="5603747"/>
            <a:ext cx="344424" cy="13716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文本框 5">
            <a:extLst>
              <a:ext uri="{FF2B5EF4-FFF2-40B4-BE49-F238E27FC236}">
                <a16:creationId xmlns:a16="http://schemas.microsoft.com/office/drawing/2014/main" id="{0F9FA094-390E-C960-7F9B-1C384516A0D0}"/>
              </a:ext>
            </a:extLst>
          </p:cNvPr>
          <p:cNvSpPr txBox="1"/>
          <p:nvPr/>
        </p:nvSpPr>
        <p:spPr>
          <a:xfrm>
            <a:off x="5177324" y="5413435"/>
            <a:ext cx="1790074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400" err="1">
                <a:cs typeface="Arial"/>
              </a:rPr>
              <a:t>Homography</a:t>
            </a:r>
            <a:r>
              <a:rPr lang="en-US" sz="1400">
                <a:cs typeface="Arial"/>
              </a:rPr>
              <a:t> estimatio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04305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C46B3-551E-EB4A-1B19-8431C04D3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ata </a:t>
            </a:r>
            <a:r>
              <a:rPr lang="de-DE" err="1"/>
              <a:t>Preparation</a:t>
            </a:r>
            <a:r>
              <a:rPr lang="de-DE"/>
              <a:t>: Components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7755B5F-5B92-9175-C19B-E27003856FAD}"/>
              </a:ext>
            </a:extLst>
          </p:cNvPr>
          <p:cNvSpPr txBox="1">
            <a:spLocks/>
          </p:cNvSpPr>
          <p:nvPr/>
        </p:nvSpPr>
        <p:spPr>
          <a:xfrm>
            <a:off x="439408" y="639265"/>
            <a:ext cx="6844385" cy="24981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err="1">
                <a:cs typeface="Arial"/>
              </a:rPr>
              <a:t>For</a:t>
            </a:r>
            <a:r>
              <a:rPr lang="de-DE">
                <a:cs typeface="Arial"/>
              </a:rPr>
              <a:t> Classification Training and </a:t>
            </a:r>
            <a:r>
              <a:rPr lang="de-DE" err="1">
                <a:cs typeface="Arial"/>
              </a:rPr>
              <a:t>Inference</a:t>
            </a:r>
            <a:endParaRPr lang="de-DE">
              <a:cs typeface="Arial"/>
            </a:endParaRPr>
          </a:p>
        </p:txBody>
      </p:sp>
      <p:sp>
        <p:nvSpPr>
          <p:cNvPr id="33" name="矩形: 圆角 20">
            <a:extLst>
              <a:ext uri="{FF2B5EF4-FFF2-40B4-BE49-F238E27FC236}">
                <a16:creationId xmlns:a16="http://schemas.microsoft.com/office/drawing/2014/main" id="{E1C32902-56B4-FC3B-DCC3-FA70A650CA2F}"/>
              </a:ext>
            </a:extLst>
          </p:cNvPr>
          <p:cNvSpPr/>
          <p:nvPr/>
        </p:nvSpPr>
        <p:spPr>
          <a:xfrm>
            <a:off x="874713" y="3973714"/>
            <a:ext cx="5221287" cy="2229575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34" name="矩形: 圆角 3">
            <a:extLst>
              <a:ext uri="{FF2B5EF4-FFF2-40B4-BE49-F238E27FC236}">
                <a16:creationId xmlns:a16="http://schemas.microsoft.com/office/drawing/2014/main" id="{CCCF110F-BEB9-5772-ED4F-BADD73C739E7}"/>
              </a:ext>
            </a:extLst>
          </p:cNvPr>
          <p:cNvSpPr/>
          <p:nvPr/>
        </p:nvSpPr>
        <p:spPr>
          <a:xfrm>
            <a:off x="874713" y="1945882"/>
            <a:ext cx="5221287" cy="1808238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35" name="文本框 5">
            <a:extLst>
              <a:ext uri="{FF2B5EF4-FFF2-40B4-BE49-F238E27FC236}">
                <a16:creationId xmlns:a16="http://schemas.microsoft.com/office/drawing/2014/main" id="{0181BBE8-1E9E-3B15-82D1-D631491C95F8}"/>
              </a:ext>
            </a:extLst>
          </p:cNvPr>
          <p:cNvSpPr txBox="1"/>
          <p:nvPr/>
        </p:nvSpPr>
        <p:spPr>
          <a:xfrm>
            <a:off x="1006117" y="2085216"/>
            <a:ext cx="1326004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Cropping</a:t>
            </a:r>
          </a:p>
        </p:txBody>
      </p:sp>
      <p:sp>
        <p:nvSpPr>
          <p:cNvPr id="36" name="文本框 18">
            <a:extLst>
              <a:ext uri="{FF2B5EF4-FFF2-40B4-BE49-F238E27FC236}">
                <a16:creationId xmlns:a16="http://schemas.microsoft.com/office/drawing/2014/main" id="{475EB1E1-6A7A-B523-52FB-10355111A273}"/>
              </a:ext>
            </a:extLst>
          </p:cNvPr>
          <p:cNvSpPr txBox="1"/>
          <p:nvPr/>
        </p:nvSpPr>
        <p:spPr>
          <a:xfrm>
            <a:off x="1035016" y="4114924"/>
            <a:ext cx="1824538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zh-CN" sz="2000" b="1">
                <a:solidFill>
                  <a:srgbClr val="04316A"/>
                </a:solidFill>
                <a:latin typeface="+mj-lt"/>
              </a:rPr>
              <a:t>Components </a:t>
            </a:r>
            <a:endParaRPr lang="zh-CN" altLang="en-US" sz="2000" b="1">
              <a:solidFill>
                <a:srgbClr val="04316A"/>
              </a:solidFill>
              <a:latin typeface="+mj-lt"/>
            </a:endParaRPr>
          </a:p>
        </p:txBody>
      </p:sp>
      <p:sp>
        <p:nvSpPr>
          <p:cNvPr id="37" name="文本框 19">
            <a:extLst>
              <a:ext uri="{FF2B5EF4-FFF2-40B4-BE49-F238E27FC236}">
                <a16:creationId xmlns:a16="http://schemas.microsoft.com/office/drawing/2014/main" id="{2058006C-9154-CF10-AF3C-5916AFC4730D}"/>
              </a:ext>
            </a:extLst>
          </p:cNvPr>
          <p:cNvSpPr txBox="1"/>
          <p:nvPr/>
        </p:nvSpPr>
        <p:spPr>
          <a:xfrm>
            <a:off x="1042331" y="4514446"/>
            <a:ext cx="5658029" cy="15240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/>
              <a:t>4,762 imag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/>
              <a:t>24 distinct compon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/>
              <a:t>Binary classification: 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Split into ‘component’ and ‘other’ class</a:t>
            </a:r>
          </a:p>
        </p:txBody>
      </p:sp>
      <p:sp>
        <p:nvSpPr>
          <p:cNvPr id="38" name="TextBox 13">
            <a:extLst>
              <a:ext uri="{FF2B5EF4-FFF2-40B4-BE49-F238E27FC236}">
                <a16:creationId xmlns:a16="http://schemas.microsoft.com/office/drawing/2014/main" id="{1660053A-4462-14DB-B427-BFCC12812152}"/>
              </a:ext>
            </a:extLst>
          </p:cNvPr>
          <p:cNvSpPr txBox="1"/>
          <p:nvPr/>
        </p:nvSpPr>
        <p:spPr>
          <a:xfrm>
            <a:off x="905928" y="1460155"/>
            <a:ext cx="8864373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C50F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op components using labelled XML file</a:t>
            </a:r>
            <a:endParaRPr lang="en-GB" sz="2000" b="1" dirty="0">
              <a:solidFill>
                <a:srgbClr val="971B2F"/>
              </a:solidFill>
              <a:latin typeface="+mj-lt"/>
            </a:endParaRPr>
          </a:p>
        </p:txBody>
      </p:sp>
      <p:graphicFrame>
        <p:nvGraphicFramePr>
          <p:cNvPr id="39" name="Diagramm 38">
            <a:extLst>
              <a:ext uri="{FF2B5EF4-FFF2-40B4-BE49-F238E27FC236}">
                <a16:creationId xmlns:a16="http://schemas.microsoft.com/office/drawing/2014/main" id="{DC303085-8EE0-C173-6D98-0A4523A30F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0765832"/>
              </p:ext>
            </p:extLst>
          </p:nvPr>
        </p:nvGraphicFramePr>
        <p:xfrm>
          <a:off x="6428959" y="1460155"/>
          <a:ext cx="548640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0" name="文本框 19">
            <a:extLst>
              <a:ext uri="{FF2B5EF4-FFF2-40B4-BE49-F238E27FC236}">
                <a16:creationId xmlns:a16="http://schemas.microsoft.com/office/drawing/2014/main" id="{5C37B42F-A0F3-0066-7F31-7B04BFAC105B}"/>
              </a:ext>
            </a:extLst>
          </p:cNvPr>
          <p:cNvSpPr txBox="1"/>
          <p:nvPr/>
        </p:nvSpPr>
        <p:spPr>
          <a:xfrm>
            <a:off x="1035016" y="2399412"/>
            <a:ext cx="5658029" cy="15240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/>
              <a:t>199 front-view imag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/>
              <a:t>Extract label and coordinates from XML fi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/>
              <a:t>Crop each compon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zh-CN" altLang="en-US" sz="1600" dirty="0"/>
          </a:p>
        </p:txBody>
      </p:sp>
      <p:pic>
        <p:nvPicPr>
          <p:cNvPr id="42" name="Grafik 4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05DD2FBB-55B7-9474-0CF5-304BC8634FB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8959" y="5838197"/>
            <a:ext cx="2250187" cy="358538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0ED2658-CC4A-D17F-7A68-491C999693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28959" y="4782308"/>
            <a:ext cx="1818748" cy="748707"/>
          </a:xfrm>
          <a:prstGeom prst="rect">
            <a:avLst/>
          </a:prstGeom>
        </p:spPr>
      </p:pic>
      <p:cxnSp>
        <p:nvCxnSpPr>
          <p:cNvPr id="5" name="Straight Arrow Connector 14">
            <a:extLst>
              <a:ext uri="{FF2B5EF4-FFF2-40B4-BE49-F238E27FC236}">
                <a16:creationId xmlns:a16="http://schemas.microsoft.com/office/drawing/2014/main" id="{767EEA14-5415-02B5-D0F8-AF157C5D2DF5}"/>
              </a:ext>
            </a:extLst>
          </p:cNvPr>
          <p:cNvCxnSpPr>
            <a:cxnSpLocks/>
          </p:cNvCxnSpPr>
          <p:nvPr/>
        </p:nvCxnSpPr>
        <p:spPr>
          <a:xfrm>
            <a:off x="8471355" y="5121902"/>
            <a:ext cx="94512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05A6675F-2DE3-51FD-CB06-0366C205BA5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5133" y="4779002"/>
            <a:ext cx="812800" cy="3429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4A367D47-3503-B877-E629-E34A51F92BE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15117" y="4779002"/>
            <a:ext cx="641554" cy="342900"/>
          </a:xfrm>
          <a:prstGeom prst="rect">
            <a:avLst/>
          </a:prstGeom>
        </p:spPr>
      </p:pic>
      <p:pic>
        <p:nvPicPr>
          <p:cNvPr id="12" name="Grafik 11" descr="Ein Bild, das Rad, Zahnrad enthält.&#10;&#10;Automatisch generierte Beschreibung">
            <a:extLst>
              <a:ext uri="{FF2B5EF4-FFF2-40B4-BE49-F238E27FC236}">
                <a16:creationId xmlns:a16="http://schemas.microsoft.com/office/drawing/2014/main" id="{3B632815-F60F-6085-EBF1-ED4B0656DF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170433" y="5245826"/>
            <a:ext cx="317500" cy="482600"/>
          </a:xfrm>
          <a:prstGeom prst="rect">
            <a:avLst/>
          </a:prstGeom>
        </p:spPr>
      </p:pic>
      <p:pic>
        <p:nvPicPr>
          <p:cNvPr id="14" name="Grafik 13" descr="Ein Bild, das Messanzeige, Zahnrad enthält.&#10;&#10;Automatisch generierte Beschreibung">
            <a:extLst>
              <a:ext uri="{FF2B5EF4-FFF2-40B4-BE49-F238E27FC236}">
                <a16:creationId xmlns:a16="http://schemas.microsoft.com/office/drawing/2014/main" id="{356A5F78-1AD4-0C7B-5490-27F6F3EB5E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8217" y="5231633"/>
            <a:ext cx="317500" cy="3175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7D61BF44-7E4E-22FD-57B0-FA53B13E246A}"/>
              </a:ext>
            </a:extLst>
          </p:cNvPr>
          <p:cNvSpPr txBox="1"/>
          <p:nvPr/>
        </p:nvSpPr>
        <p:spPr>
          <a:xfrm>
            <a:off x="10240283" y="5876914"/>
            <a:ext cx="955869" cy="2811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5172470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C46B3-551E-EB4A-1B19-8431C04D3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mponent</a:t>
            </a:r>
            <a:r>
              <a:rPr lang="de-DE" dirty="0"/>
              <a:t> Classification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7755B5F-5B92-9175-C19B-E27003856FAD}"/>
              </a:ext>
            </a:extLst>
          </p:cNvPr>
          <p:cNvSpPr txBox="1">
            <a:spLocks/>
          </p:cNvSpPr>
          <p:nvPr/>
        </p:nvSpPr>
        <p:spPr>
          <a:xfrm>
            <a:off x="397365" y="633169"/>
            <a:ext cx="6844385" cy="24981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ulti-Class Classification</a:t>
            </a:r>
          </a:p>
        </p:txBody>
      </p:sp>
      <p:graphicFrame>
        <p:nvGraphicFramePr>
          <p:cNvPr id="15" name="Diagramm 14">
            <a:extLst>
              <a:ext uri="{FF2B5EF4-FFF2-40B4-BE49-F238E27FC236}">
                <a16:creationId xmlns:a16="http://schemas.microsoft.com/office/drawing/2014/main" id="{9128C4FB-C486-1231-5758-6AD5F56FD1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8277424"/>
              </p:ext>
            </p:extLst>
          </p:nvPr>
        </p:nvGraphicFramePr>
        <p:xfrm>
          <a:off x="6314303" y="1498557"/>
          <a:ext cx="548640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AE3B97E5-B56D-49E2-1878-A75396ABD6A6}"/>
              </a:ext>
            </a:extLst>
          </p:cNvPr>
          <p:cNvGrpSpPr/>
          <p:nvPr/>
        </p:nvGrpSpPr>
        <p:grpSpPr>
          <a:xfrm>
            <a:off x="1290269" y="2022744"/>
            <a:ext cx="3776002" cy="1744628"/>
            <a:chOff x="783642" y="1480486"/>
            <a:chExt cx="3776002" cy="1744628"/>
          </a:xfrm>
        </p:grpSpPr>
        <p:grpSp>
          <p:nvGrpSpPr>
            <p:cNvPr id="4" name="组合 1">
              <a:extLst>
                <a:ext uri="{FF2B5EF4-FFF2-40B4-BE49-F238E27FC236}">
                  <a16:creationId xmlns:a16="http://schemas.microsoft.com/office/drawing/2014/main" id="{FB75A69D-DC13-6B28-99FB-EFAA562C05AE}"/>
                </a:ext>
              </a:extLst>
            </p:cNvPr>
            <p:cNvGrpSpPr/>
            <p:nvPr/>
          </p:nvGrpSpPr>
          <p:grpSpPr>
            <a:xfrm>
              <a:off x="783642" y="1480486"/>
              <a:ext cx="3776002" cy="1744628"/>
              <a:chOff x="874713" y="1777365"/>
              <a:chExt cx="2388842" cy="4194762"/>
            </a:xfrm>
            <a:solidFill>
              <a:srgbClr val="F2F2F2">
                <a:alpha val="69804"/>
              </a:srgbClr>
            </a:solidFill>
          </p:grpSpPr>
          <p:sp>
            <p:nvSpPr>
              <p:cNvPr id="6" name="矩形: 圆角 10" hidden="1">
                <a:extLst>
                  <a:ext uri="{FF2B5EF4-FFF2-40B4-BE49-F238E27FC236}">
                    <a16:creationId xmlns:a16="http://schemas.microsoft.com/office/drawing/2014/main" id="{341CB3F3-4FEF-18EC-93E6-AAB1D3503C39}"/>
                  </a:ext>
                </a:extLst>
              </p:cNvPr>
              <p:cNvSpPr/>
              <p:nvPr/>
            </p:nvSpPr>
            <p:spPr>
              <a:xfrm>
                <a:off x="874713" y="1777365"/>
                <a:ext cx="2388842" cy="4151313"/>
              </a:xfrm>
              <a:prstGeom prst="roundRect">
                <a:avLst>
                  <a:gd name="adj" fmla="val 4162"/>
                </a:avLst>
              </a:prstGeom>
              <a:grp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/>
                  <a:cs typeface="+mn-cs"/>
                </a:endParaRPr>
              </a:p>
            </p:txBody>
          </p:sp>
          <p:sp>
            <p:nvSpPr>
              <p:cNvPr id="8" name="矩形: 圆角 15">
                <a:extLst>
                  <a:ext uri="{FF2B5EF4-FFF2-40B4-BE49-F238E27FC236}">
                    <a16:creationId xmlns:a16="http://schemas.microsoft.com/office/drawing/2014/main" id="{0CD63008-C548-9FB1-2297-2318C7A3741F}"/>
                  </a:ext>
                </a:extLst>
              </p:cNvPr>
              <p:cNvSpPr/>
              <p:nvPr/>
            </p:nvSpPr>
            <p:spPr>
              <a:xfrm>
                <a:off x="874713" y="1820814"/>
                <a:ext cx="2388842" cy="4151313"/>
              </a:xfrm>
              <a:prstGeom prst="roundRect">
                <a:avLst>
                  <a:gd name="adj" fmla="val 4162"/>
                </a:avLst>
              </a:prstGeom>
              <a:grpFill/>
              <a:ln>
                <a:noFill/>
              </a:ln>
              <a:effectLst>
                <a:reflection blurRad="25400" stA="41000" endPos="11000" dist="127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/>
                  <a:cs typeface="+mn-cs"/>
                </a:endParaRPr>
              </a:p>
            </p:txBody>
          </p:sp>
        </p:grpSp>
        <p:sp>
          <p:nvSpPr>
            <p:cNvPr id="17" name="文本框 19">
              <a:extLst>
                <a:ext uri="{FF2B5EF4-FFF2-40B4-BE49-F238E27FC236}">
                  <a16:creationId xmlns:a16="http://schemas.microsoft.com/office/drawing/2014/main" id="{210E038B-B719-BD94-363B-2FA4F701C44E}"/>
                </a:ext>
              </a:extLst>
            </p:cNvPr>
            <p:cNvSpPr txBox="1"/>
            <p:nvPr/>
          </p:nvSpPr>
          <p:spPr>
            <a:xfrm>
              <a:off x="971113" y="2140749"/>
              <a:ext cx="3401060" cy="7853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1600" dirty="0"/>
                <a:t>Classify component into one of </a:t>
              </a:r>
              <a:r>
                <a:rPr lang="en-US" sz="1600" b="1" dirty="0"/>
                <a:t>24</a:t>
              </a:r>
              <a:r>
                <a:rPr lang="en-US" sz="1600" dirty="0"/>
                <a:t> classes</a:t>
              </a:r>
            </a:p>
          </p:txBody>
        </p:sp>
        <p:sp>
          <p:nvSpPr>
            <p:cNvPr id="19" name="文本框 5">
              <a:extLst>
                <a:ext uri="{FF2B5EF4-FFF2-40B4-BE49-F238E27FC236}">
                  <a16:creationId xmlns:a16="http://schemas.microsoft.com/office/drawing/2014/main" id="{3C370EBF-4567-1B5E-DB6C-E754BE4ABF93}"/>
                </a:ext>
              </a:extLst>
            </p:cNvPr>
            <p:cNvSpPr txBox="1"/>
            <p:nvPr/>
          </p:nvSpPr>
          <p:spPr>
            <a:xfrm>
              <a:off x="931976" y="1740639"/>
              <a:ext cx="3286477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sz="2000" b="1" dirty="0">
                  <a:solidFill>
                    <a:srgbClr val="04316A"/>
                  </a:solidFill>
                  <a:latin typeface="+mj-lt"/>
                </a:rPr>
                <a:t>Multi-Class Classification</a:t>
              </a: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C330122E-5570-28F8-42F6-9F37B10B6929}"/>
              </a:ext>
            </a:extLst>
          </p:cNvPr>
          <p:cNvGrpSpPr/>
          <p:nvPr/>
        </p:nvGrpSpPr>
        <p:grpSpPr>
          <a:xfrm>
            <a:off x="1290269" y="4167482"/>
            <a:ext cx="9038746" cy="2277049"/>
            <a:chOff x="783642" y="3632887"/>
            <a:chExt cx="9038746" cy="2277049"/>
          </a:xfrm>
        </p:grpSpPr>
        <p:grpSp>
          <p:nvGrpSpPr>
            <p:cNvPr id="20" name="组合 1">
              <a:extLst>
                <a:ext uri="{FF2B5EF4-FFF2-40B4-BE49-F238E27FC236}">
                  <a16:creationId xmlns:a16="http://schemas.microsoft.com/office/drawing/2014/main" id="{679C392C-EE8D-F65A-22F0-3ACF6BC7A24E}"/>
                </a:ext>
              </a:extLst>
            </p:cNvPr>
            <p:cNvGrpSpPr/>
            <p:nvPr/>
          </p:nvGrpSpPr>
          <p:grpSpPr>
            <a:xfrm>
              <a:off x="783642" y="3632887"/>
              <a:ext cx="9038746" cy="2277049"/>
              <a:chOff x="874713" y="1777365"/>
              <a:chExt cx="5718253" cy="5474909"/>
            </a:xfrm>
            <a:solidFill>
              <a:srgbClr val="F2F2F2">
                <a:alpha val="69804"/>
              </a:srgbClr>
            </a:solidFill>
          </p:grpSpPr>
          <p:sp>
            <p:nvSpPr>
              <p:cNvPr id="21" name="矩形: 圆角 10" hidden="1">
                <a:extLst>
                  <a:ext uri="{FF2B5EF4-FFF2-40B4-BE49-F238E27FC236}">
                    <a16:creationId xmlns:a16="http://schemas.microsoft.com/office/drawing/2014/main" id="{D8DC41EF-D39B-21B9-45B4-63892ACCDA97}"/>
                  </a:ext>
                </a:extLst>
              </p:cNvPr>
              <p:cNvSpPr/>
              <p:nvPr/>
            </p:nvSpPr>
            <p:spPr>
              <a:xfrm>
                <a:off x="874713" y="1777365"/>
                <a:ext cx="2388842" cy="4151313"/>
              </a:xfrm>
              <a:prstGeom prst="roundRect">
                <a:avLst>
                  <a:gd name="adj" fmla="val 4162"/>
                </a:avLst>
              </a:prstGeom>
              <a:grp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/>
                  <a:cs typeface="+mn-cs"/>
                </a:endParaRPr>
              </a:p>
            </p:txBody>
          </p:sp>
          <p:sp>
            <p:nvSpPr>
              <p:cNvPr id="28" name="矩形: 圆角 15">
                <a:extLst>
                  <a:ext uri="{FF2B5EF4-FFF2-40B4-BE49-F238E27FC236}">
                    <a16:creationId xmlns:a16="http://schemas.microsoft.com/office/drawing/2014/main" id="{2D26849A-3585-F765-F508-97C7759C34E2}"/>
                  </a:ext>
                </a:extLst>
              </p:cNvPr>
              <p:cNvSpPr/>
              <p:nvPr/>
            </p:nvSpPr>
            <p:spPr>
              <a:xfrm>
                <a:off x="874713" y="1820814"/>
                <a:ext cx="2388842" cy="4151313"/>
              </a:xfrm>
              <a:prstGeom prst="roundRect">
                <a:avLst>
                  <a:gd name="adj" fmla="val 4162"/>
                </a:avLst>
              </a:prstGeom>
              <a:grpFill/>
              <a:ln>
                <a:noFill/>
              </a:ln>
              <a:effectLst>
                <a:reflection blurRad="25400" stA="41000" endPos="11000" dist="127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/>
                  <a:cs typeface="+mn-cs"/>
                </a:endParaRPr>
              </a:p>
            </p:txBody>
          </p:sp>
          <p:sp>
            <p:nvSpPr>
              <p:cNvPr id="44" name="矩形: 圆角 15">
                <a:extLst>
                  <a:ext uri="{FF2B5EF4-FFF2-40B4-BE49-F238E27FC236}">
                    <a16:creationId xmlns:a16="http://schemas.microsoft.com/office/drawing/2014/main" id="{C126EDCA-53D6-AA79-90AD-6ED51A3469FD}"/>
                  </a:ext>
                </a:extLst>
              </p:cNvPr>
              <p:cNvSpPr/>
              <p:nvPr/>
            </p:nvSpPr>
            <p:spPr>
              <a:xfrm>
                <a:off x="5782405" y="3239072"/>
                <a:ext cx="804407" cy="734060"/>
              </a:xfrm>
              <a:prstGeom prst="roundRect">
                <a:avLst>
                  <a:gd name="adj" fmla="val 4162"/>
                </a:avLst>
              </a:prstGeom>
              <a:grpFill/>
              <a:ln>
                <a:noFill/>
              </a:ln>
              <a:effectLst>
                <a:reflection blurRad="25400" stA="41000" endPos="11000" dist="127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altLang="zh-CN" sz="15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Roboto"/>
                    <a:ea typeface="思源黑体 CN Regular"/>
                    <a:cs typeface="+mn-cs"/>
                  </a:rPr>
                  <a:t>USB_3</a:t>
                </a:r>
                <a:endParaRPr kumimoji="0" lang="zh-CN" altLang="en-US" sz="15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Roboto"/>
                  <a:ea typeface="思源黑体 CN Regular"/>
                  <a:cs typeface="+mn-cs"/>
                </a:endParaRPr>
              </a:p>
            </p:txBody>
          </p:sp>
          <p:sp>
            <p:nvSpPr>
              <p:cNvPr id="45" name="矩形: 圆角 15">
                <a:extLst>
                  <a:ext uri="{FF2B5EF4-FFF2-40B4-BE49-F238E27FC236}">
                    <a16:creationId xmlns:a16="http://schemas.microsoft.com/office/drawing/2014/main" id="{BD0BC325-0F15-9651-744C-DADC3CE498C0}"/>
                  </a:ext>
                </a:extLst>
              </p:cNvPr>
              <p:cNvSpPr/>
              <p:nvPr/>
            </p:nvSpPr>
            <p:spPr>
              <a:xfrm>
                <a:off x="5788559" y="4342479"/>
                <a:ext cx="804407" cy="734060"/>
              </a:xfrm>
              <a:prstGeom prst="roundRect">
                <a:avLst>
                  <a:gd name="adj" fmla="val 4162"/>
                </a:avLst>
              </a:prstGeom>
              <a:grpFill/>
              <a:ln>
                <a:noFill/>
              </a:ln>
              <a:effectLst>
                <a:reflection blurRad="25400" stA="41000" endPos="11000" dist="127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altLang="zh-CN" sz="1500" b="0" i="0" u="none" strike="noStrike" kern="1200" cap="none" spc="0" normalizeH="0" baseline="0" noProof="0" err="1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Roboto"/>
                    <a:ea typeface="思源黑体 CN Regular"/>
                    <a:cs typeface="+mn-cs"/>
                  </a:rPr>
                  <a:t>Display</a:t>
                </a:r>
                <a:r>
                  <a:rPr kumimoji="0" lang="de-DE" altLang="zh-CN" sz="15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Roboto"/>
                    <a:ea typeface="思源黑体 CN Regular"/>
                    <a:cs typeface="+mn-cs"/>
                  </a:rPr>
                  <a:t>_Port</a:t>
                </a:r>
                <a:endParaRPr kumimoji="0" lang="zh-CN" altLang="en-US" sz="15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Roboto"/>
                  <a:ea typeface="思源黑体 CN Regular"/>
                  <a:cs typeface="+mn-cs"/>
                </a:endParaRPr>
              </a:p>
            </p:txBody>
          </p:sp>
          <p:sp>
            <p:nvSpPr>
              <p:cNvPr id="46" name="矩形: 圆角 15">
                <a:extLst>
                  <a:ext uri="{FF2B5EF4-FFF2-40B4-BE49-F238E27FC236}">
                    <a16:creationId xmlns:a16="http://schemas.microsoft.com/office/drawing/2014/main" id="{584F357A-F5C7-A313-DE8A-338E3A49FE17}"/>
                  </a:ext>
                </a:extLst>
              </p:cNvPr>
              <p:cNvSpPr/>
              <p:nvPr/>
            </p:nvSpPr>
            <p:spPr>
              <a:xfrm>
                <a:off x="5788558" y="5414804"/>
                <a:ext cx="804407" cy="734060"/>
              </a:xfrm>
              <a:prstGeom prst="roundRect">
                <a:avLst>
                  <a:gd name="adj" fmla="val 4162"/>
                </a:avLst>
              </a:prstGeom>
              <a:grpFill/>
              <a:ln>
                <a:noFill/>
              </a:ln>
              <a:effectLst>
                <a:reflection blurRad="25400" stA="41000" endPos="11000" dist="127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altLang="zh-CN" sz="15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Roboto"/>
                    <a:ea typeface="思源黑体 CN Regular"/>
                    <a:cs typeface="+mn-cs"/>
                  </a:rPr>
                  <a:t>Ethernet</a:t>
                </a:r>
                <a:endParaRPr kumimoji="0" lang="zh-CN" altLang="en-US" sz="15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Roboto"/>
                  <a:ea typeface="思源黑体 CN Regular"/>
                  <a:cs typeface="+mn-cs"/>
                </a:endParaRPr>
              </a:p>
            </p:txBody>
          </p:sp>
          <p:sp>
            <p:nvSpPr>
              <p:cNvPr id="47" name="矩形: 圆角 15">
                <a:extLst>
                  <a:ext uri="{FF2B5EF4-FFF2-40B4-BE49-F238E27FC236}">
                    <a16:creationId xmlns:a16="http://schemas.microsoft.com/office/drawing/2014/main" id="{80F98AF1-67BD-7238-F559-5066F9A2B11B}"/>
                  </a:ext>
                </a:extLst>
              </p:cNvPr>
              <p:cNvSpPr/>
              <p:nvPr/>
            </p:nvSpPr>
            <p:spPr>
              <a:xfrm>
                <a:off x="5782405" y="6518212"/>
                <a:ext cx="804407" cy="734062"/>
              </a:xfrm>
              <a:prstGeom prst="roundRect">
                <a:avLst>
                  <a:gd name="adj" fmla="val 4162"/>
                </a:avLst>
              </a:prstGeom>
              <a:grpFill/>
              <a:ln>
                <a:noFill/>
              </a:ln>
              <a:effectLst>
                <a:reflection blurRad="25400" stA="41000" endPos="11000" dist="127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altLang="zh-CN" sz="15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Roboto"/>
                    <a:ea typeface="思源黑体 CN Regular"/>
                    <a:cs typeface="+mn-cs"/>
                  </a:rPr>
                  <a:t>…</a:t>
                </a:r>
                <a:endParaRPr kumimoji="0" lang="zh-CN" altLang="en-US" sz="15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Roboto"/>
                  <a:ea typeface="思源黑体 CN Regular"/>
                  <a:cs typeface="+mn-cs"/>
                </a:endParaRPr>
              </a:p>
            </p:txBody>
          </p:sp>
        </p:grpSp>
        <p:sp>
          <p:nvSpPr>
            <p:cNvPr id="29" name="文本框 5">
              <a:extLst>
                <a:ext uri="{FF2B5EF4-FFF2-40B4-BE49-F238E27FC236}">
                  <a16:creationId xmlns:a16="http://schemas.microsoft.com/office/drawing/2014/main" id="{CBFABB11-596F-E210-E122-C5F0A6A62A26}"/>
                </a:ext>
              </a:extLst>
            </p:cNvPr>
            <p:cNvSpPr txBox="1"/>
            <p:nvPr/>
          </p:nvSpPr>
          <p:spPr>
            <a:xfrm>
              <a:off x="931976" y="3727077"/>
              <a:ext cx="1481496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sz="2000" b="1">
                  <a:solidFill>
                    <a:srgbClr val="04316A"/>
                  </a:solidFill>
                  <a:latin typeface="+mj-lt"/>
                </a:rPr>
                <a:t>Evaluation</a:t>
              </a:r>
            </a:p>
          </p:txBody>
        </p:sp>
        <p:sp>
          <p:nvSpPr>
            <p:cNvPr id="30" name="文本框 19">
              <a:extLst>
                <a:ext uri="{FF2B5EF4-FFF2-40B4-BE49-F238E27FC236}">
                  <a16:creationId xmlns:a16="http://schemas.microsoft.com/office/drawing/2014/main" id="{D22AD690-2D08-DF30-0B0C-061E331D5BCB}"/>
                </a:ext>
              </a:extLst>
            </p:cNvPr>
            <p:cNvSpPr txBox="1"/>
            <p:nvPr/>
          </p:nvSpPr>
          <p:spPr>
            <a:xfrm>
              <a:off x="931976" y="4020887"/>
              <a:ext cx="3401060" cy="3350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1200"/>
                <a:t>Weighted Average F1-Score</a:t>
              </a:r>
            </a:p>
          </p:txBody>
        </p:sp>
        <p:sp>
          <p:nvSpPr>
            <p:cNvPr id="31" name="文本框 19">
              <a:extLst>
                <a:ext uri="{FF2B5EF4-FFF2-40B4-BE49-F238E27FC236}">
                  <a16:creationId xmlns:a16="http://schemas.microsoft.com/office/drawing/2014/main" id="{AF8FB2E4-44F4-A2A4-1A59-D391A727F293}"/>
                </a:ext>
              </a:extLst>
            </p:cNvPr>
            <p:cNvSpPr txBox="1"/>
            <p:nvPr/>
          </p:nvSpPr>
          <p:spPr>
            <a:xfrm>
              <a:off x="971112" y="4467882"/>
              <a:ext cx="3725947" cy="7853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1600" b="1"/>
                <a:t>Hand-Crafted</a:t>
              </a:r>
              <a:r>
                <a:rPr lang="en-US" sz="1600"/>
                <a:t>: 90%</a:t>
              </a:r>
            </a:p>
            <a:p>
              <a:pPr marR="0" lvl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1600" b="1"/>
                <a:t>Transfer Learning (ResNet18)</a:t>
              </a:r>
              <a:r>
                <a:rPr lang="en-US" sz="1600"/>
                <a:t>: 96%</a:t>
              </a:r>
            </a:p>
          </p:txBody>
        </p:sp>
      </p:grpSp>
      <p:pic>
        <p:nvPicPr>
          <p:cNvPr id="5" name="Grafik 4" descr="Ein Bild, das Text, Küchengerät enthält.&#10;&#10;Automatisch generierte Beschreibung">
            <a:extLst>
              <a:ext uri="{FF2B5EF4-FFF2-40B4-BE49-F238E27FC236}">
                <a16:creationId xmlns:a16="http://schemas.microsoft.com/office/drawing/2014/main" id="{C0CF8022-38E0-A56B-1B9E-C8C8078FE7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864" y="5190627"/>
            <a:ext cx="864519" cy="462070"/>
          </a:xfrm>
          <a:prstGeom prst="rect">
            <a:avLst/>
          </a:prstGeom>
        </p:spPr>
      </p:pic>
      <p:cxnSp>
        <p:nvCxnSpPr>
          <p:cNvPr id="14" name="Straight Arrow Connector 14">
            <a:extLst>
              <a:ext uri="{FF2B5EF4-FFF2-40B4-BE49-F238E27FC236}">
                <a16:creationId xmlns:a16="http://schemas.microsoft.com/office/drawing/2014/main" id="{1E1A2225-801A-D8E0-5943-9E9C17A9FC12}"/>
              </a:ext>
            </a:extLst>
          </p:cNvPr>
          <p:cNvCxnSpPr>
            <a:cxnSpLocks/>
          </p:cNvCxnSpPr>
          <p:nvPr/>
        </p:nvCxnSpPr>
        <p:spPr>
          <a:xfrm flipV="1">
            <a:off x="7711501" y="4951927"/>
            <a:ext cx="1271513" cy="4661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4">
            <a:extLst>
              <a:ext uri="{FF2B5EF4-FFF2-40B4-BE49-F238E27FC236}">
                <a16:creationId xmlns:a16="http://schemas.microsoft.com/office/drawing/2014/main" id="{5F715B8C-2A2D-5D58-264D-684962757A72}"/>
              </a:ext>
            </a:extLst>
          </p:cNvPr>
          <p:cNvCxnSpPr>
            <a:cxnSpLocks/>
          </p:cNvCxnSpPr>
          <p:nvPr/>
        </p:nvCxnSpPr>
        <p:spPr>
          <a:xfrm flipV="1">
            <a:off x="7711501" y="5418116"/>
            <a:ext cx="1271513" cy="90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14">
            <a:extLst>
              <a:ext uri="{FF2B5EF4-FFF2-40B4-BE49-F238E27FC236}">
                <a16:creationId xmlns:a16="http://schemas.microsoft.com/office/drawing/2014/main" id="{40202885-C45E-2981-979D-A9AE4A4FF20E}"/>
              </a:ext>
            </a:extLst>
          </p:cNvPr>
          <p:cNvCxnSpPr>
            <a:cxnSpLocks/>
          </p:cNvCxnSpPr>
          <p:nvPr/>
        </p:nvCxnSpPr>
        <p:spPr>
          <a:xfrm>
            <a:off x="7711501" y="5427136"/>
            <a:ext cx="1271513" cy="418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14">
            <a:extLst>
              <a:ext uri="{FF2B5EF4-FFF2-40B4-BE49-F238E27FC236}">
                <a16:creationId xmlns:a16="http://schemas.microsoft.com/office/drawing/2014/main" id="{120E2C0B-EEF3-1F3B-7874-D50DA4172F8B}"/>
              </a:ext>
            </a:extLst>
          </p:cNvPr>
          <p:cNvCxnSpPr>
            <a:cxnSpLocks/>
          </p:cNvCxnSpPr>
          <p:nvPr/>
        </p:nvCxnSpPr>
        <p:spPr>
          <a:xfrm>
            <a:off x="7711501" y="5436156"/>
            <a:ext cx="1271513" cy="9066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041952C1-3F9B-8DFE-C4D7-45773CD13EF8}"/>
              </a:ext>
            </a:extLst>
          </p:cNvPr>
          <p:cNvSpPr txBox="1"/>
          <p:nvPr/>
        </p:nvSpPr>
        <p:spPr>
          <a:xfrm>
            <a:off x="7045238" y="4890574"/>
            <a:ext cx="16098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7153797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C46B3-551E-EB4A-1B19-8431C04D3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mponent</a:t>
            </a:r>
            <a:r>
              <a:rPr lang="de-DE" dirty="0"/>
              <a:t> Classification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7755B5F-5B92-9175-C19B-E27003856FAD}"/>
              </a:ext>
            </a:extLst>
          </p:cNvPr>
          <p:cNvSpPr txBox="1">
            <a:spLocks/>
          </p:cNvSpPr>
          <p:nvPr/>
        </p:nvSpPr>
        <p:spPr>
          <a:xfrm>
            <a:off x="397365" y="633169"/>
            <a:ext cx="6844385" cy="24981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inary Classification</a:t>
            </a:r>
          </a:p>
        </p:txBody>
      </p:sp>
      <p:graphicFrame>
        <p:nvGraphicFramePr>
          <p:cNvPr id="15" name="Diagramm 14">
            <a:extLst>
              <a:ext uri="{FF2B5EF4-FFF2-40B4-BE49-F238E27FC236}">
                <a16:creationId xmlns:a16="http://schemas.microsoft.com/office/drawing/2014/main" id="{9128C4FB-C486-1231-5758-6AD5F56FD1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28372820"/>
              </p:ext>
            </p:extLst>
          </p:nvPr>
        </p:nvGraphicFramePr>
        <p:xfrm>
          <a:off x="6314303" y="1498557"/>
          <a:ext cx="548640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AE3B97E5-B56D-49E2-1878-A75396ABD6A6}"/>
              </a:ext>
            </a:extLst>
          </p:cNvPr>
          <p:cNvGrpSpPr/>
          <p:nvPr/>
        </p:nvGrpSpPr>
        <p:grpSpPr>
          <a:xfrm>
            <a:off x="1290269" y="2022744"/>
            <a:ext cx="3776002" cy="1744628"/>
            <a:chOff x="783642" y="1480486"/>
            <a:chExt cx="3776002" cy="1744628"/>
          </a:xfrm>
        </p:grpSpPr>
        <p:grpSp>
          <p:nvGrpSpPr>
            <p:cNvPr id="4" name="组合 1">
              <a:extLst>
                <a:ext uri="{FF2B5EF4-FFF2-40B4-BE49-F238E27FC236}">
                  <a16:creationId xmlns:a16="http://schemas.microsoft.com/office/drawing/2014/main" id="{FB75A69D-DC13-6B28-99FB-EFAA562C05AE}"/>
                </a:ext>
              </a:extLst>
            </p:cNvPr>
            <p:cNvGrpSpPr/>
            <p:nvPr/>
          </p:nvGrpSpPr>
          <p:grpSpPr>
            <a:xfrm>
              <a:off x="783642" y="1480486"/>
              <a:ext cx="3776002" cy="1744628"/>
              <a:chOff x="874713" y="1777365"/>
              <a:chExt cx="2388842" cy="4194762"/>
            </a:xfrm>
            <a:solidFill>
              <a:srgbClr val="F2F2F2">
                <a:alpha val="69804"/>
              </a:srgbClr>
            </a:solidFill>
          </p:grpSpPr>
          <p:sp>
            <p:nvSpPr>
              <p:cNvPr id="6" name="矩形: 圆角 10" hidden="1">
                <a:extLst>
                  <a:ext uri="{FF2B5EF4-FFF2-40B4-BE49-F238E27FC236}">
                    <a16:creationId xmlns:a16="http://schemas.microsoft.com/office/drawing/2014/main" id="{341CB3F3-4FEF-18EC-93E6-AAB1D3503C39}"/>
                  </a:ext>
                </a:extLst>
              </p:cNvPr>
              <p:cNvSpPr/>
              <p:nvPr/>
            </p:nvSpPr>
            <p:spPr>
              <a:xfrm>
                <a:off x="874713" y="1777365"/>
                <a:ext cx="2388842" cy="4151313"/>
              </a:xfrm>
              <a:prstGeom prst="roundRect">
                <a:avLst>
                  <a:gd name="adj" fmla="val 4162"/>
                </a:avLst>
              </a:prstGeom>
              <a:grp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/>
                  <a:cs typeface="+mn-cs"/>
                </a:endParaRPr>
              </a:p>
            </p:txBody>
          </p:sp>
          <p:sp>
            <p:nvSpPr>
              <p:cNvPr id="8" name="矩形: 圆角 15">
                <a:extLst>
                  <a:ext uri="{FF2B5EF4-FFF2-40B4-BE49-F238E27FC236}">
                    <a16:creationId xmlns:a16="http://schemas.microsoft.com/office/drawing/2014/main" id="{0CD63008-C548-9FB1-2297-2318C7A3741F}"/>
                  </a:ext>
                </a:extLst>
              </p:cNvPr>
              <p:cNvSpPr/>
              <p:nvPr/>
            </p:nvSpPr>
            <p:spPr>
              <a:xfrm>
                <a:off x="874713" y="1820814"/>
                <a:ext cx="2388842" cy="4151313"/>
              </a:xfrm>
              <a:prstGeom prst="roundRect">
                <a:avLst>
                  <a:gd name="adj" fmla="val 4162"/>
                </a:avLst>
              </a:prstGeom>
              <a:grpFill/>
              <a:ln>
                <a:noFill/>
              </a:ln>
              <a:effectLst>
                <a:reflection blurRad="25400" stA="41000" endPos="11000" dist="127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/>
                  <a:cs typeface="+mn-cs"/>
                </a:endParaRPr>
              </a:p>
            </p:txBody>
          </p:sp>
        </p:grpSp>
        <p:sp>
          <p:nvSpPr>
            <p:cNvPr id="17" name="文本框 19">
              <a:extLst>
                <a:ext uri="{FF2B5EF4-FFF2-40B4-BE49-F238E27FC236}">
                  <a16:creationId xmlns:a16="http://schemas.microsoft.com/office/drawing/2014/main" id="{210E038B-B719-BD94-363B-2FA4F701C44E}"/>
                </a:ext>
              </a:extLst>
            </p:cNvPr>
            <p:cNvSpPr txBox="1"/>
            <p:nvPr/>
          </p:nvSpPr>
          <p:spPr>
            <a:xfrm>
              <a:off x="971113" y="2140749"/>
              <a:ext cx="3401060" cy="7853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1600" dirty="0"/>
                <a:t>Classify component into one of </a:t>
              </a:r>
              <a:r>
                <a:rPr lang="en-US" sz="1600" b="1" dirty="0"/>
                <a:t>two</a:t>
              </a:r>
              <a:r>
                <a:rPr lang="en-US" sz="1600" dirty="0"/>
                <a:t> classes</a:t>
              </a:r>
            </a:p>
          </p:txBody>
        </p:sp>
        <p:sp>
          <p:nvSpPr>
            <p:cNvPr id="19" name="文本框 5">
              <a:extLst>
                <a:ext uri="{FF2B5EF4-FFF2-40B4-BE49-F238E27FC236}">
                  <a16:creationId xmlns:a16="http://schemas.microsoft.com/office/drawing/2014/main" id="{3C370EBF-4567-1B5E-DB6C-E754BE4ABF93}"/>
                </a:ext>
              </a:extLst>
            </p:cNvPr>
            <p:cNvSpPr txBox="1"/>
            <p:nvPr/>
          </p:nvSpPr>
          <p:spPr>
            <a:xfrm>
              <a:off x="931976" y="1740639"/>
              <a:ext cx="2719014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sz="2000" b="1" dirty="0">
                  <a:solidFill>
                    <a:srgbClr val="04316A"/>
                  </a:solidFill>
                  <a:latin typeface="+mj-lt"/>
                </a:rPr>
                <a:t>Binary Classification</a:t>
              </a: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C330122E-5570-28F8-42F6-9F37B10B6929}"/>
              </a:ext>
            </a:extLst>
          </p:cNvPr>
          <p:cNvGrpSpPr/>
          <p:nvPr/>
        </p:nvGrpSpPr>
        <p:grpSpPr>
          <a:xfrm>
            <a:off x="1290269" y="4167482"/>
            <a:ext cx="3776002" cy="1744628"/>
            <a:chOff x="783642" y="3632887"/>
            <a:chExt cx="3776002" cy="1744628"/>
          </a:xfrm>
        </p:grpSpPr>
        <p:grpSp>
          <p:nvGrpSpPr>
            <p:cNvPr id="20" name="组合 1">
              <a:extLst>
                <a:ext uri="{FF2B5EF4-FFF2-40B4-BE49-F238E27FC236}">
                  <a16:creationId xmlns:a16="http://schemas.microsoft.com/office/drawing/2014/main" id="{679C392C-EE8D-F65A-22F0-3ACF6BC7A24E}"/>
                </a:ext>
              </a:extLst>
            </p:cNvPr>
            <p:cNvGrpSpPr/>
            <p:nvPr/>
          </p:nvGrpSpPr>
          <p:grpSpPr>
            <a:xfrm>
              <a:off x="783642" y="3632887"/>
              <a:ext cx="3776002" cy="1744628"/>
              <a:chOff x="874713" y="1777365"/>
              <a:chExt cx="2388842" cy="4194762"/>
            </a:xfrm>
            <a:solidFill>
              <a:srgbClr val="F2F2F2">
                <a:alpha val="69804"/>
              </a:srgbClr>
            </a:solidFill>
          </p:grpSpPr>
          <p:sp>
            <p:nvSpPr>
              <p:cNvPr id="21" name="矩形: 圆角 10" hidden="1">
                <a:extLst>
                  <a:ext uri="{FF2B5EF4-FFF2-40B4-BE49-F238E27FC236}">
                    <a16:creationId xmlns:a16="http://schemas.microsoft.com/office/drawing/2014/main" id="{D8DC41EF-D39B-21B9-45B4-63892ACCDA97}"/>
                  </a:ext>
                </a:extLst>
              </p:cNvPr>
              <p:cNvSpPr/>
              <p:nvPr/>
            </p:nvSpPr>
            <p:spPr>
              <a:xfrm>
                <a:off x="874713" y="1777365"/>
                <a:ext cx="2388842" cy="4151313"/>
              </a:xfrm>
              <a:prstGeom prst="roundRect">
                <a:avLst>
                  <a:gd name="adj" fmla="val 4162"/>
                </a:avLst>
              </a:prstGeom>
              <a:grp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/>
                  <a:cs typeface="+mn-cs"/>
                </a:endParaRPr>
              </a:p>
            </p:txBody>
          </p:sp>
          <p:sp>
            <p:nvSpPr>
              <p:cNvPr id="28" name="矩形: 圆角 15">
                <a:extLst>
                  <a:ext uri="{FF2B5EF4-FFF2-40B4-BE49-F238E27FC236}">
                    <a16:creationId xmlns:a16="http://schemas.microsoft.com/office/drawing/2014/main" id="{2D26849A-3585-F765-F508-97C7759C34E2}"/>
                  </a:ext>
                </a:extLst>
              </p:cNvPr>
              <p:cNvSpPr/>
              <p:nvPr/>
            </p:nvSpPr>
            <p:spPr>
              <a:xfrm>
                <a:off x="874713" y="1820814"/>
                <a:ext cx="2388842" cy="4151313"/>
              </a:xfrm>
              <a:prstGeom prst="roundRect">
                <a:avLst>
                  <a:gd name="adj" fmla="val 4162"/>
                </a:avLst>
              </a:prstGeom>
              <a:grpFill/>
              <a:ln>
                <a:noFill/>
              </a:ln>
              <a:effectLst>
                <a:reflection blurRad="25400" stA="41000" endPos="11000" dist="127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"/>
                  <a:ea typeface="思源黑体 CN Regular"/>
                  <a:cs typeface="+mn-cs"/>
                </a:endParaRPr>
              </a:p>
            </p:txBody>
          </p:sp>
        </p:grpSp>
        <p:sp>
          <p:nvSpPr>
            <p:cNvPr id="29" name="文本框 5">
              <a:extLst>
                <a:ext uri="{FF2B5EF4-FFF2-40B4-BE49-F238E27FC236}">
                  <a16:creationId xmlns:a16="http://schemas.microsoft.com/office/drawing/2014/main" id="{CBFABB11-596F-E210-E122-C5F0A6A62A26}"/>
                </a:ext>
              </a:extLst>
            </p:cNvPr>
            <p:cNvSpPr txBox="1"/>
            <p:nvPr/>
          </p:nvSpPr>
          <p:spPr>
            <a:xfrm>
              <a:off x="931976" y="3727077"/>
              <a:ext cx="1481496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sz="2000" b="1">
                  <a:solidFill>
                    <a:srgbClr val="04316A"/>
                  </a:solidFill>
                  <a:latin typeface="+mj-lt"/>
                </a:rPr>
                <a:t>Evaluation</a:t>
              </a:r>
            </a:p>
          </p:txBody>
        </p:sp>
        <p:sp>
          <p:nvSpPr>
            <p:cNvPr id="30" name="文本框 19">
              <a:extLst>
                <a:ext uri="{FF2B5EF4-FFF2-40B4-BE49-F238E27FC236}">
                  <a16:creationId xmlns:a16="http://schemas.microsoft.com/office/drawing/2014/main" id="{D22AD690-2D08-DF30-0B0C-061E331D5BCB}"/>
                </a:ext>
              </a:extLst>
            </p:cNvPr>
            <p:cNvSpPr txBox="1"/>
            <p:nvPr/>
          </p:nvSpPr>
          <p:spPr>
            <a:xfrm>
              <a:off x="931976" y="4020887"/>
              <a:ext cx="3401060" cy="3350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1200"/>
                <a:t>Mean of Weighted Average F1-Scores</a:t>
              </a:r>
            </a:p>
          </p:txBody>
        </p:sp>
        <p:sp>
          <p:nvSpPr>
            <p:cNvPr id="31" name="文本框 19">
              <a:extLst>
                <a:ext uri="{FF2B5EF4-FFF2-40B4-BE49-F238E27FC236}">
                  <a16:creationId xmlns:a16="http://schemas.microsoft.com/office/drawing/2014/main" id="{AF8FB2E4-44F4-A2A4-1A59-D391A727F293}"/>
                </a:ext>
              </a:extLst>
            </p:cNvPr>
            <p:cNvSpPr txBox="1"/>
            <p:nvPr/>
          </p:nvSpPr>
          <p:spPr>
            <a:xfrm>
              <a:off x="971112" y="4467882"/>
              <a:ext cx="3588531" cy="7853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1600" b="1"/>
                <a:t>Hand-Crafted</a:t>
              </a:r>
              <a:r>
                <a:rPr lang="en-US" sz="1600"/>
                <a:t>: 86%</a:t>
              </a:r>
            </a:p>
            <a:p>
              <a:pPr marR="0" lvl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1600" b="1"/>
                <a:t>Transfer Learning (ResNet18)</a:t>
              </a:r>
              <a:r>
                <a:rPr lang="en-US" sz="1600"/>
                <a:t>: 96%</a:t>
              </a:r>
            </a:p>
          </p:txBody>
        </p:sp>
      </p:grpSp>
      <p:pic>
        <p:nvPicPr>
          <p:cNvPr id="3" name="Grafik 2" descr="Ein Bild, das Text, Küchengerät enthält.&#10;&#10;Automatisch generierte Beschreibung">
            <a:extLst>
              <a:ext uri="{FF2B5EF4-FFF2-40B4-BE49-F238E27FC236}">
                <a16:creationId xmlns:a16="http://schemas.microsoft.com/office/drawing/2014/main" id="{9C181B3B-C937-EF50-6A37-7CC7AF722F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864" y="5190627"/>
            <a:ext cx="864519" cy="462070"/>
          </a:xfrm>
          <a:prstGeom prst="rect">
            <a:avLst/>
          </a:prstGeom>
        </p:spPr>
      </p:pic>
      <p:cxnSp>
        <p:nvCxnSpPr>
          <p:cNvPr id="9" name="Straight Arrow Connector 14">
            <a:extLst>
              <a:ext uri="{FF2B5EF4-FFF2-40B4-BE49-F238E27FC236}">
                <a16:creationId xmlns:a16="http://schemas.microsoft.com/office/drawing/2014/main" id="{85E7DB60-F5CA-C376-B11A-D8A49285E163}"/>
              </a:ext>
            </a:extLst>
          </p:cNvPr>
          <p:cNvCxnSpPr>
            <a:cxnSpLocks/>
          </p:cNvCxnSpPr>
          <p:nvPr/>
        </p:nvCxnSpPr>
        <p:spPr>
          <a:xfrm flipV="1">
            <a:off x="7711501" y="5161093"/>
            <a:ext cx="1271513" cy="2660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14">
            <a:extLst>
              <a:ext uri="{FF2B5EF4-FFF2-40B4-BE49-F238E27FC236}">
                <a16:creationId xmlns:a16="http://schemas.microsoft.com/office/drawing/2014/main" id="{28A7B624-ADF0-F8A9-938D-39B6923732B5}"/>
              </a:ext>
            </a:extLst>
          </p:cNvPr>
          <p:cNvCxnSpPr>
            <a:cxnSpLocks/>
          </p:cNvCxnSpPr>
          <p:nvPr/>
        </p:nvCxnSpPr>
        <p:spPr>
          <a:xfrm>
            <a:off x="7711501" y="5427136"/>
            <a:ext cx="1271513" cy="3577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03C8B744-680E-8558-37D4-74E705765197}"/>
              </a:ext>
            </a:extLst>
          </p:cNvPr>
          <p:cNvSpPr txBox="1"/>
          <p:nvPr/>
        </p:nvSpPr>
        <p:spPr>
          <a:xfrm>
            <a:off x="7045238" y="4890574"/>
            <a:ext cx="16098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13" name="矩形: 圆角 15">
            <a:extLst>
              <a:ext uri="{FF2B5EF4-FFF2-40B4-BE49-F238E27FC236}">
                <a16:creationId xmlns:a16="http://schemas.microsoft.com/office/drawing/2014/main" id="{A11A55F0-F0EC-17FE-6D9B-DF52C3423A85}"/>
              </a:ext>
            </a:extLst>
          </p:cNvPr>
          <p:cNvSpPr/>
          <p:nvPr/>
        </p:nvSpPr>
        <p:spPr>
          <a:xfrm>
            <a:off x="9057503" y="4987736"/>
            <a:ext cx="1271513" cy="305300"/>
          </a:xfrm>
          <a:prstGeom prst="roundRect">
            <a:avLst>
              <a:gd name="adj" fmla="val 4162"/>
            </a:avLst>
          </a:prstGeom>
          <a:solidFill>
            <a:srgbClr val="F2F2F2">
              <a:alpha val="69804"/>
            </a:srgbClr>
          </a:solidFill>
          <a:ln>
            <a:noFill/>
          </a:ln>
          <a:effectLst>
            <a:reflection blurRad="25400" stA="41000" endPos="11000" dist="127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zh-CN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"/>
                <a:ea typeface="思源黑体 CN Regular"/>
                <a:cs typeface="+mn-cs"/>
              </a:rPr>
              <a:t>USB_3</a:t>
            </a:r>
            <a:endParaRPr kumimoji="0" lang="zh-CN" altLang="en-US" sz="15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14" name="矩形: 圆角 15">
            <a:extLst>
              <a:ext uri="{FF2B5EF4-FFF2-40B4-BE49-F238E27FC236}">
                <a16:creationId xmlns:a16="http://schemas.microsoft.com/office/drawing/2014/main" id="{59327480-B66B-A178-7603-79EC8C4D3FEB}"/>
              </a:ext>
            </a:extLst>
          </p:cNvPr>
          <p:cNvSpPr/>
          <p:nvPr/>
        </p:nvSpPr>
        <p:spPr>
          <a:xfrm>
            <a:off x="9057502" y="5632250"/>
            <a:ext cx="1271513" cy="305300"/>
          </a:xfrm>
          <a:prstGeom prst="roundRect">
            <a:avLst>
              <a:gd name="adj" fmla="val 4162"/>
            </a:avLst>
          </a:prstGeom>
          <a:solidFill>
            <a:srgbClr val="F2F2F2">
              <a:alpha val="69804"/>
            </a:srgbClr>
          </a:solidFill>
          <a:ln>
            <a:noFill/>
          </a:ln>
          <a:effectLst>
            <a:reflection blurRad="25400" stA="41000" endPos="11000" dist="127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zh-CN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"/>
                <a:ea typeface="思源黑体 CN Regular"/>
                <a:cs typeface="+mn-cs"/>
              </a:rPr>
              <a:t>Other</a:t>
            </a:r>
            <a:endParaRPr kumimoji="0" lang="zh-CN" altLang="en-US" sz="15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66740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442EEE-323D-C34F-EA46-014BD37E94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4DF13-B584-46A2-9B1A-67BAA69B128F}" type="datetime4">
              <a:rPr lang="de-DE" smtClean="0"/>
              <a:t>13. März 2023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B5E5B30-DF68-CE2C-4E40-603987FC2F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22A5C0-234F-7AC6-0D2D-AEF16B540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22AF11-089F-1B76-87CB-E74D513782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Component</a:t>
            </a:r>
            <a:r>
              <a:rPr lang="de-DE"/>
              <a:t> </a:t>
            </a:r>
            <a:r>
              <a:rPr lang="de-DE" err="1"/>
              <a:t>Anomaly</a:t>
            </a:r>
            <a:r>
              <a:rPr lang="de-DE"/>
              <a:t> </a:t>
            </a:r>
            <a:r>
              <a:rPr lang="de-DE" err="1"/>
              <a:t>Detectio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C1FD2F2-2229-95FB-0C8E-C60B1A52A5A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F1D470B-4179-CD41-B7A3-741BABFCC2A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674544"/>
          </a:xfrm>
        </p:spPr>
        <p:txBody>
          <a:bodyPr/>
          <a:lstStyle/>
          <a:p>
            <a:r>
              <a:rPr lang="de-DE" dirty="0"/>
              <a:t>Theory </a:t>
            </a:r>
            <a:r>
              <a:rPr lang="de-DE" dirty="0" err="1"/>
              <a:t>of</a:t>
            </a:r>
            <a:r>
              <a:rPr lang="de-DE" dirty="0"/>
              <a:t> Autoencoder Models</a:t>
            </a:r>
            <a:endParaRPr lang="en-GB" dirty="0"/>
          </a:p>
          <a:p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39B6BED-6A76-B7CE-41F9-5B7C1809C0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4506" y="1812702"/>
            <a:ext cx="4695694" cy="268860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41AA52E-8F8A-1A51-6D79-088F7EA4F04E}"/>
              </a:ext>
            </a:extLst>
          </p:cNvPr>
          <p:cNvSpPr txBox="1"/>
          <p:nvPr/>
        </p:nvSpPr>
        <p:spPr>
          <a:xfrm>
            <a:off x="720038" y="4550289"/>
            <a:ext cx="4959886" cy="19575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en-GB" sz="1400" dirty="0"/>
              <a:t>An autoencoder is comprised of two networks. </a:t>
            </a:r>
            <a:endParaRPr lang="de-DE" sz="1400" dirty="0"/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b="1" dirty="0"/>
              <a:t>Encoder</a:t>
            </a:r>
            <a:r>
              <a:rPr lang="de-DE" sz="1400" dirty="0"/>
              <a:t>: </a:t>
            </a:r>
            <a:r>
              <a:rPr lang="de-DE" sz="1400" dirty="0" err="1"/>
              <a:t>Converts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input</a:t>
            </a:r>
            <a:r>
              <a:rPr lang="de-DE" sz="1400" dirty="0"/>
              <a:t> </a:t>
            </a:r>
            <a:r>
              <a:rPr lang="de-DE" sz="1400" dirty="0" err="1"/>
              <a:t>images</a:t>
            </a:r>
            <a:r>
              <a:rPr lang="de-DE" sz="1400" dirty="0"/>
              <a:t> </a:t>
            </a:r>
            <a:r>
              <a:rPr lang="de-DE" sz="1400" dirty="0" err="1"/>
              <a:t>into</a:t>
            </a:r>
            <a:r>
              <a:rPr lang="de-DE" sz="1400" dirty="0"/>
              <a:t> </a:t>
            </a:r>
            <a:r>
              <a:rPr lang="en-US" sz="1400" dirty="0"/>
              <a:t>latent low-dimensional cod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b="1" dirty="0"/>
              <a:t>Decoder</a:t>
            </a:r>
            <a:r>
              <a:rPr lang="en-US" sz="1400" dirty="0"/>
              <a:t>: Recovers the data from the cod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dirty="0"/>
              <a:t>Ideally, the reconstructed images are </a:t>
            </a:r>
            <a:r>
              <a:rPr lang="en-US" sz="1400" b="1" dirty="0"/>
              <a:t>identical</a:t>
            </a:r>
            <a:r>
              <a:rPr lang="en-US" sz="1400" dirty="0"/>
              <a:t> to the input images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70E028D-BF8B-B9E8-35FB-894B8366E8BF}"/>
              </a:ext>
            </a:extLst>
          </p:cNvPr>
          <p:cNvSpPr txBox="1"/>
          <p:nvPr/>
        </p:nvSpPr>
        <p:spPr>
          <a:xfrm>
            <a:off x="6365724" y="1962380"/>
            <a:ext cx="5402220" cy="17461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b="1" dirty="0">
                <a:solidFill>
                  <a:prstClr val="black"/>
                </a:solidFill>
                <a:latin typeface="+mj-lt"/>
                <a:ea typeface="SimSun" panose="02010600030101010101" pitchFamily="2" charset="-122"/>
              </a:rPr>
              <a:t>How can it be used in our case? </a:t>
            </a:r>
          </a:p>
          <a:p>
            <a:pPr marL="0" marR="0" indent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>
                <a:solidFill>
                  <a:prstClr val="black"/>
                </a:solidFill>
                <a:latin typeface="+mj-lt"/>
                <a:ea typeface="SimSun" panose="02010600030101010101" pitchFamily="2" charset="-122"/>
              </a:rPr>
              <a:t>If an autoencoder model has learned patterns from one component, it can </a:t>
            </a:r>
            <a:r>
              <a:rPr lang="en-US" sz="1800" dirty="0">
                <a:effectLst/>
                <a:latin typeface="+mj-lt"/>
                <a:ea typeface="SimSun" panose="02010600030101010101" pitchFamily="2" charset="-122"/>
              </a:rPr>
              <a:t>reconstruct this component well</a:t>
            </a:r>
            <a:r>
              <a:rPr lang="en-US" sz="1800" dirty="0">
                <a:solidFill>
                  <a:prstClr val="black"/>
                </a:solidFill>
                <a:effectLst/>
                <a:latin typeface="+mj-lt"/>
                <a:ea typeface="SimSun" panose="02010600030101010101" pitchFamily="2" charset="-122"/>
              </a:rPr>
              <a:t>. However, this model can rec</a:t>
            </a:r>
            <a:r>
              <a:rPr lang="en-US" dirty="0">
                <a:solidFill>
                  <a:prstClr val="black"/>
                </a:solidFill>
                <a:latin typeface="+mj-lt"/>
                <a:ea typeface="SimSun" panose="02010600030101010101" pitchFamily="2" charset="-122"/>
              </a:rPr>
              <a:t>onstruct other components badly. 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uLnTx/>
              <a:uFillTx/>
              <a:latin typeface="+mj-lt"/>
              <a:ea typeface="SimSun" panose="02010600030101010101" pitchFamily="2" charset="-122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97EE3D2-4BA4-EC4F-AFDD-EC0059C31476}"/>
              </a:ext>
            </a:extLst>
          </p:cNvPr>
          <p:cNvSpPr txBox="1"/>
          <p:nvPr/>
        </p:nvSpPr>
        <p:spPr>
          <a:xfrm>
            <a:off x="863194" y="1499616"/>
            <a:ext cx="414771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b="1">
                <a:solidFill>
                  <a:srgbClr val="971B2F"/>
                </a:solidFill>
                <a:latin typeface="Arial"/>
              </a:rPr>
              <a:t>Theory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971B2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E50CA2F-D16A-CC40-5745-DD594987D289}"/>
              </a:ext>
            </a:extLst>
          </p:cNvPr>
          <p:cNvCxnSpPr>
            <a:cxnSpLocks/>
          </p:cNvCxnSpPr>
          <p:nvPr/>
        </p:nvCxnSpPr>
        <p:spPr>
          <a:xfrm>
            <a:off x="5876543" y="1629865"/>
            <a:ext cx="0" cy="4656357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843DB1E4-F853-176E-5545-40B09076E9AE}"/>
              </a:ext>
            </a:extLst>
          </p:cNvPr>
          <p:cNvSpPr txBox="1"/>
          <p:nvPr/>
        </p:nvSpPr>
        <p:spPr>
          <a:xfrm>
            <a:off x="6455380" y="1499616"/>
            <a:ext cx="414771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b="1" err="1">
                <a:solidFill>
                  <a:srgbClr val="971B2F"/>
                </a:solidFill>
                <a:latin typeface="Arial"/>
              </a:rPr>
              <a:t>Application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971B2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179A3E78-D92C-5AE0-543D-7BD4F44953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00" t="11734" r="62200" b="63749"/>
          <a:stretch/>
        </p:blipFill>
        <p:spPr bwMode="auto">
          <a:xfrm>
            <a:off x="8881622" y="4813547"/>
            <a:ext cx="640610" cy="623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01D396C2-5053-CEB6-3C9D-1D95618C0A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00" t="38421" r="62200" b="35599"/>
          <a:stretch/>
        </p:blipFill>
        <p:spPr bwMode="auto">
          <a:xfrm>
            <a:off x="10259049" y="4813547"/>
            <a:ext cx="640610" cy="660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28FDF82-8D90-4106-BFF5-6727B30DD56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51631"/>
          <a:stretch/>
        </p:blipFill>
        <p:spPr>
          <a:xfrm>
            <a:off x="8841409" y="5562812"/>
            <a:ext cx="746617" cy="68905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16E84D6-AF3F-4A5A-046B-B45C1565D94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50006"/>
          <a:stretch/>
        </p:blipFill>
        <p:spPr>
          <a:xfrm>
            <a:off x="10229789" y="5574017"/>
            <a:ext cx="746616" cy="712205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06A1BB5F-E009-E074-3A1C-6BB31727F4A0}"/>
              </a:ext>
            </a:extLst>
          </p:cNvPr>
          <p:cNvSpPr txBox="1"/>
          <p:nvPr/>
        </p:nvSpPr>
        <p:spPr>
          <a:xfrm>
            <a:off x="6463012" y="4784591"/>
            <a:ext cx="1983145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nstructing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rmal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ages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3D74D26-80D9-C2D1-B5CA-21BD5DF0554D}"/>
              </a:ext>
            </a:extLst>
          </p:cNvPr>
          <p:cNvSpPr txBox="1"/>
          <p:nvPr/>
        </p:nvSpPr>
        <p:spPr>
          <a:xfrm>
            <a:off x="6463012" y="5647010"/>
            <a:ext cx="1646641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nstructing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omal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ages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EF49D93-0B02-AEF5-A672-9FF033A7C0C0}"/>
              </a:ext>
            </a:extLst>
          </p:cNvPr>
          <p:cNvSpPr txBox="1"/>
          <p:nvPr/>
        </p:nvSpPr>
        <p:spPr>
          <a:xfrm>
            <a:off x="6451742" y="4256403"/>
            <a:ext cx="4147718" cy="2811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b="1" err="1">
                <a:latin typeface="Arial"/>
              </a:rPr>
              <a:t>Example</a:t>
            </a:r>
            <a:endParaRPr kumimoji="0" lang="en-GB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E19870DF-9EFC-65FB-C8EA-1C808B647CAC}"/>
              </a:ext>
            </a:extLst>
          </p:cNvPr>
          <p:cNvCxnSpPr>
            <a:cxnSpLocks/>
          </p:cNvCxnSpPr>
          <p:nvPr/>
        </p:nvCxnSpPr>
        <p:spPr>
          <a:xfrm>
            <a:off x="9661179" y="5120551"/>
            <a:ext cx="50474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3586B2E8-CC0A-914E-6E12-1539A3674BB9}"/>
              </a:ext>
            </a:extLst>
          </p:cNvPr>
          <p:cNvCxnSpPr>
            <a:cxnSpLocks/>
          </p:cNvCxnSpPr>
          <p:nvPr/>
        </p:nvCxnSpPr>
        <p:spPr>
          <a:xfrm>
            <a:off x="9661179" y="5916688"/>
            <a:ext cx="50474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2BC8E2E1-81E9-D098-E5C9-0835DB763A91}"/>
              </a:ext>
            </a:extLst>
          </p:cNvPr>
          <p:cNvSpPr txBox="1"/>
          <p:nvPr/>
        </p:nvSpPr>
        <p:spPr>
          <a:xfrm>
            <a:off x="8928416" y="4534779"/>
            <a:ext cx="680823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F52A3D6-5182-FDE7-5694-B3E17F33B17B}"/>
              </a:ext>
            </a:extLst>
          </p:cNvPr>
          <p:cNvSpPr txBox="1"/>
          <p:nvPr/>
        </p:nvSpPr>
        <p:spPr>
          <a:xfrm>
            <a:off x="10259049" y="4534779"/>
            <a:ext cx="680823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2C87278-17F5-32C5-9001-06679EF11B57}"/>
              </a:ext>
            </a:extLst>
          </p:cNvPr>
          <p:cNvCxnSpPr>
            <a:cxnSpLocks/>
          </p:cNvCxnSpPr>
          <p:nvPr/>
        </p:nvCxnSpPr>
        <p:spPr>
          <a:xfrm>
            <a:off x="6455379" y="5529051"/>
            <a:ext cx="5312567" cy="0"/>
          </a:xfrm>
          <a:prstGeom prst="line">
            <a:avLst/>
          </a:prstGeom>
          <a:ln w="12700">
            <a:solidFill>
              <a:schemeClr val="accent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304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34F6F8-03CD-183F-A1FA-26CF5834F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4DF13-B584-46A2-9B1A-67BAA69B128F}" type="datetime4">
              <a:rPr lang="de-DE" smtClean="0"/>
              <a:t>13. März 2023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BB80CF-D83C-F76A-71DC-932768CB5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EA4A3A-C37C-E1FD-718D-F3C863F10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D19910-7CD4-4FD1-8C9A-46E8CBE1D0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1711925"/>
            <a:ext cx="11157745" cy="431018"/>
          </a:xfrm>
        </p:spPr>
        <p:txBody>
          <a:bodyPr>
            <a:normAutofit/>
          </a:bodyPr>
          <a:lstStyle/>
          <a:p>
            <a:r>
              <a:rPr lang="de-DE" sz="2000" b="1">
                <a:solidFill>
                  <a:srgbClr val="04316A"/>
                </a:solidFill>
              </a:rPr>
              <a:t>1. Use </a:t>
            </a:r>
            <a:r>
              <a:rPr lang="de-DE" sz="2000" b="1" err="1">
                <a:solidFill>
                  <a:srgbClr val="04316A"/>
                </a:solidFill>
              </a:rPr>
              <a:t>similar</a:t>
            </a:r>
            <a:r>
              <a:rPr lang="de-DE" sz="2000" b="1">
                <a:solidFill>
                  <a:srgbClr val="04316A"/>
                </a:solidFill>
              </a:rPr>
              <a:t> </a:t>
            </a:r>
            <a:r>
              <a:rPr lang="de-DE" sz="2000" b="1" err="1">
                <a:solidFill>
                  <a:srgbClr val="04316A"/>
                </a:solidFill>
              </a:rPr>
              <a:t>data</a:t>
            </a:r>
            <a:r>
              <a:rPr lang="de-DE" sz="2000" b="1">
                <a:solidFill>
                  <a:srgbClr val="04316A"/>
                </a:solidFill>
              </a:rPr>
              <a:t> </a:t>
            </a:r>
            <a:r>
              <a:rPr lang="de-DE" sz="2000" b="1" err="1">
                <a:solidFill>
                  <a:srgbClr val="04316A"/>
                </a:solidFill>
              </a:rPr>
              <a:t>as</a:t>
            </a:r>
            <a:r>
              <a:rPr lang="de-DE" sz="2000" b="1">
                <a:solidFill>
                  <a:srgbClr val="04316A"/>
                </a:solidFill>
              </a:rPr>
              <a:t> </a:t>
            </a:r>
            <a:r>
              <a:rPr lang="de-DE" sz="2000" b="1" err="1">
                <a:solidFill>
                  <a:srgbClr val="04316A"/>
                </a:solidFill>
              </a:rPr>
              <a:t>for</a:t>
            </a:r>
            <a:r>
              <a:rPr lang="de-DE" sz="2000" b="1">
                <a:solidFill>
                  <a:srgbClr val="04316A"/>
                </a:solidFill>
              </a:rPr>
              <a:t> </a:t>
            </a:r>
            <a:r>
              <a:rPr lang="de-DE" sz="2000" b="1" err="1">
                <a:solidFill>
                  <a:srgbClr val="04316A"/>
                </a:solidFill>
              </a:rPr>
              <a:t>binary</a:t>
            </a:r>
            <a:r>
              <a:rPr lang="de-DE" sz="2000" b="1">
                <a:solidFill>
                  <a:srgbClr val="04316A"/>
                </a:solidFill>
              </a:rPr>
              <a:t> </a:t>
            </a:r>
            <a:r>
              <a:rPr lang="de-DE" sz="2000" b="1" err="1">
                <a:solidFill>
                  <a:srgbClr val="04316A"/>
                </a:solidFill>
              </a:rPr>
              <a:t>image</a:t>
            </a:r>
            <a:r>
              <a:rPr lang="de-DE" sz="2000" b="1">
                <a:solidFill>
                  <a:srgbClr val="04316A"/>
                </a:solidFill>
              </a:rPr>
              <a:t> </a:t>
            </a:r>
            <a:r>
              <a:rPr lang="de-DE" sz="2000" b="1" err="1">
                <a:solidFill>
                  <a:srgbClr val="04316A"/>
                </a:solidFill>
              </a:rPr>
              <a:t>classification</a:t>
            </a:r>
            <a:r>
              <a:rPr lang="de-DE" sz="2000" b="1">
                <a:solidFill>
                  <a:srgbClr val="04316A"/>
                </a:solidFill>
              </a:rPr>
              <a:t> </a:t>
            </a:r>
            <a:r>
              <a:rPr lang="de-DE" sz="2000" b="1" err="1">
                <a:solidFill>
                  <a:srgbClr val="04316A"/>
                </a:solidFill>
              </a:rPr>
              <a:t>model</a:t>
            </a:r>
            <a:r>
              <a:rPr lang="de-DE" sz="2000" b="1">
                <a:solidFill>
                  <a:srgbClr val="04316A"/>
                </a:solidFill>
              </a:rPr>
              <a:t> </a:t>
            </a:r>
            <a:endParaRPr lang="en-GB" sz="2000" b="1">
              <a:solidFill>
                <a:srgbClr val="04316A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499249C-A25C-3F4E-1193-38220FF630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Component</a:t>
            </a:r>
            <a:r>
              <a:rPr lang="de-DE"/>
              <a:t> </a:t>
            </a:r>
            <a:r>
              <a:rPr lang="de-DE" err="1"/>
              <a:t>Anomaly</a:t>
            </a:r>
            <a:r>
              <a:rPr lang="de-DE"/>
              <a:t> </a:t>
            </a:r>
            <a:r>
              <a:rPr lang="de-DE" err="1"/>
              <a:t>Detectio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5A62A79-AFF4-6F51-EC61-2C85E0EAD27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Data </a:t>
            </a:r>
            <a:r>
              <a:rPr lang="de-DE" dirty="0" err="1"/>
              <a:t>Preprocessing</a:t>
            </a:r>
            <a:endParaRPr lang="en-GB" dirty="0"/>
          </a:p>
        </p:txBody>
      </p:sp>
      <p:pic>
        <p:nvPicPr>
          <p:cNvPr id="12" name="Graphic 11" descr="Open folder with solid fill">
            <a:extLst>
              <a:ext uri="{FF2B5EF4-FFF2-40B4-BE49-F238E27FC236}">
                <a16:creationId xmlns:a16="http://schemas.microsoft.com/office/drawing/2014/main" id="{38AA30FB-33FE-120B-D595-BF2B0ED2F5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5418" y="2660942"/>
            <a:ext cx="914400" cy="914400"/>
          </a:xfrm>
          <a:prstGeom prst="rect">
            <a:avLst/>
          </a:prstGeom>
        </p:spPr>
      </p:pic>
      <p:pic>
        <p:nvPicPr>
          <p:cNvPr id="27" name="Graphic 26" descr="Open folder outline">
            <a:extLst>
              <a:ext uri="{FF2B5EF4-FFF2-40B4-BE49-F238E27FC236}">
                <a16:creationId xmlns:a16="http://schemas.microsoft.com/office/drawing/2014/main" id="{1223969F-B910-1723-5023-D6CE1C5CEA6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69818" y="2655494"/>
            <a:ext cx="914400" cy="914400"/>
          </a:xfrm>
          <a:prstGeom prst="rect">
            <a:avLst/>
          </a:prstGeom>
        </p:spPr>
      </p:pic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D7B624C5-2612-038D-5989-A58444AB9853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</p:sp>
      <p:pic>
        <p:nvPicPr>
          <p:cNvPr id="30" name="Graphic 29" descr="Open folder with solid fill">
            <a:extLst>
              <a:ext uri="{FF2B5EF4-FFF2-40B4-BE49-F238E27FC236}">
                <a16:creationId xmlns:a16="http://schemas.microsoft.com/office/drawing/2014/main" id="{ED897868-8C40-F034-2AC2-34570BD1C9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00548" y="2681352"/>
            <a:ext cx="914400" cy="914400"/>
          </a:xfrm>
          <a:prstGeom prst="rect">
            <a:avLst/>
          </a:prstGeom>
        </p:spPr>
      </p:pic>
      <p:pic>
        <p:nvPicPr>
          <p:cNvPr id="31" name="Graphic 30" descr="Open folder outline">
            <a:extLst>
              <a:ext uri="{FF2B5EF4-FFF2-40B4-BE49-F238E27FC236}">
                <a16:creationId xmlns:a16="http://schemas.microsoft.com/office/drawing/2014/main" id="{4BE4719A-51C2-F218-E958-DB618A6CDFB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14948" y="2675904"/>
            <a:ext cx="914400" cy="914400"/>
          </a:xfrm>
          <a:prstGeom prst="rect">
            <a:avLst/>
          </a:prstGeom>
        </p:spPr>
      </p:pic>
      <p:pic>
        <p:nvPicPr>
          <p:cNvPr id="32" name="Graphic 31" descr="Open folder with solid fill">
            <a:extLst>
              <a:ext uri="{FF2B5EF4-FFF2-40B4-BE49-F238E27FC236}">
                <a16:creationId xmlns:a16="http://schemas.microsoft.com/office/drawing/2014/main" id="{A873258F-7D59-F7DD-3624-FBDCB3C06E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26126" y="2664661"/>
            <a:ext cx="914400" cy="914400"/>
          </a:xfrm>
          <a:prstGeom prst="rect">
            <a:avLst/>
          </a:prstGeom>
        </p:spPr>
      </p:pic>
      <p:pic>
        <p:nvPicPr>
          <p:cNvPr id="33" name="Graphic 32" descr="Open folder outline">
            <a:extLst>
              <a:ext uri="{FF2B5EF4-FFF2-40B4-BE49-F238E27FC236}">
                <a16:creationId xmlns:a16="http://schemas.microsoft.com/office/drawing/2014/main" id="{21F13660-3335-62B6-2405-D409C51C112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40526" y="2659213"/>
            <a:ext cx="914400" cy="9144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8A19CDC0-D95E-ECAF-D15B-D574CB2BE916}"/>
              </a:ext>
            </a:extLst>
          </p:cNvPr>
          <p:cNvSpPr txBox="1"/>
          <p:nvPr/>
        </p:nvSpPr>
        <p:spPr>
          <a:xfrm>
            <a:off x="743201" y="2286462"/>
            <a:ext cx="1828800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0% Train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EBF1313-F9C4-59C7-BF98-EA793C1BA791}"/>
              </a:ext>
            </a:extLst>
          </p:cNvPr>
          <p:cNvSpPr txBox="1"/>
          <p:nvPr/>
        </p:nvSpPr>
        <p:spPr>
          <a:xfrm>
            <a:off x="3800548" y="2306872"/>
            <a:ext cx="1828800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% Validation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1A7F9F2-B83D-1422-F7B4-8301D6F0A0F6}"/>
              </a:ext>
            </a:extLst>
          </p:cNvPr>
          <p:cNvSpPr txBox="1"/>
          <p:nvPr/>
        </p:nvSpPr>
        <p:spPr>
          <a:xfrm>
            <a:off x="7284161" y="2306090"/>
            <a:ext cx="1828800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% Test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1FD8F4A-0E43-3E93-A69A-CE05223DFD27}"/>
              </a:ext>
            </a:extLst>
          </p:cNvPr>
          <p:cNvSpPr txBox="1"/>
          <p:nvPr/>
        </p:nvSpPr>
        <p:spPr>
          <a:xfrm>
            <a:off x="743201" y="3590304"/>
            <a:ext cx="914400" cy="390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200" err="1">
                <a:solidFill>
                  <a:prstClr val="black"/>
                </a:solidFill>
                <a:latin typeface="Arial"/>
              </a:rPr>
              <a:t>Component</a:t>
            </a:r>
            <a:r>
              <a:rPr lang="de-DE" sz="1200">
                <a:solidFill>
                  <a:prstClr val="black"/>
                </a:solidFill>
                <a:latin typeface="Arial"/>
              </a:rPr>
              <a:t> </a:t>
            </a:r>
            <a:r>
              <a:rPr lang="de-DE" sz="1200" err="1">
                <a:solidFill>
                  <a:prstClr val="black"/>
                </a:solidFill>
                <a:latin typeface="Arial"/>
              </a:rPr>
              <a:t>to</a:t>
            </a:r>
            <a:r>
              <a:rPr lang="de-DE" sz="1200">
                <a:solidFill>
                  <a:prstClr val="black"/>
                </a:solidFill>
                <a:latin typeface="Arial"/>
              </a:rPr>
              <a:t> </a:t>
            </a:r>
            <a:r>
              <a:rPr lang="de-DE" sz="1200" err="1">
                <a:solidFill>
                  <a:prstClr val="black"/>
                </a:solidFill>
                <a:latin typeface="Arial"/>
              </a:rPr>
              <a:t>classify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90463EB-1FED-EDAD-8C9E-1D5D7AF69C39}"/>
              </a:ext>
            </a:extLst>
          </p:cNvPr>
          <p:cNvSpPr txBox="1"/>
          <p:nvPr/>
        </p:nvSpPr>
        <p:spPr>
          <a:xfrm>
            <a:off x="1706919" y="3581039"/>
            <a:ext cx="914400" cy="390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200">
                <a:solidFill>
                  <a:prstClr val="black"/>
                </a:solidFill>
                <a:latin typeface="Arial"/>
              </a:rPr>
              <a:t>Other </a:t>
            </a:r>
            <a:r>
              <a:rPr lang="de-DE" sz="1200" err="1">
                <a:solidFill>
                  <a:prstClr val="black"/>
                </a:solidFill>
                <a:latin typeface="Arial"/>
              </a:rPr>
              <a:t>components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9" name="Graphic 38" descr="Open folder with solid fill">
            <a:extLst>
              <a:ext uri="{FF2B5EF4-FFF2-40B4-BE49-F238E27FC236}">
                <a16:creationId xmlns:a16="http://schemas.microsoft.com/office/drawing/2014/main" id="{2E8F7ADB-70D0-D221-F8AF-E7CA315C96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6401" y="2660942"/>
            <a:ext cx="914400" cy="914400"/>
          </a:xfrm>
          <a:prstGeom prst="rect">
            <a:avLst/>
          </a:prstGeom>
        </p:spPr>
      </p:pic>
      <p:pic>
        <p:nvPicPr>
          <p:cNvPr id="41" name="Graphic 40" descr="Open folder with solid fill">
            <a:extLst>
              <a:ext uri="{FF2B5EF4-FFF2-40B4-BE49-F238E27FC236}">
                <a16:creationId xmlns:a16="http://schemas.microsoft.com/office/drawing/2014/main" id="{BCDA6029-3444-9BA6-E247-7466126C49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21531" y="2681352"/>
            <a:ext cx="914400" cy="914400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98AB9494-2535-FD82-D129-6F817D8CF292}"/>
              </a:ext>
            </a:extLst>
          </p:cNvPr>
          <p:cNvSpPr txBox="1"/>
          <p:nvPr/>
        </p:nvSpPr>
        <p:spPr>
          <a:xfrm>
            <a:off x="3889883" y="3591216"/>
            <a:ext cx="914400" cy="390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200" err="1">
                <a:solidFill>
                  <a:prstClr val="black"/>
                </a:solidFill>
                <a:latin typeface="Arial"/>
              </a:rPr>
              <a:t>Component</a:t>
            </a:r>
            <a:r>
              <a:rPr lang="de-DE" sz="1200">
                <a:solidFill>
                  <a:prstClr val="black"/>
                </a:solidFill>
                <a:latin typeface="Arial"/>
              </a:rPr>
              <a:t> </a:t>
            </a:r>
            <a:r>
              <a:rPr lang="de-DE" sz="1200" err="1">
                <a:solidFill>
                  <a:prstClr val="black"/>
                </a:solidFill>
                <a:latin typeface="Arial"/>
              </a:rPr>
              <a:t>to</a:t>
            </a:r>
            <a:r>
              <a:rPr lang="de-DE" sz="1200">
                <a:solidFill>
                  <a:prstClr val="black"/>
                </a:solidFill>
                <a:latin typeface="Arial"/>
              </a:rPr>
              <a:t> </a:t>
            </a:r>
            <a:r>
              <a:rPr lang="de-DE" sz="1200" err="1">
                <a:solidFill>
                  <a:prstClr val="black"/>
                </a:solidFill>
                <a:latin typeface="Arial"/>
              </a:rPr>
              <a:t>classify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D0E973C-FD1C-5A5F-3952-E42A80A12BC5}"/>
              </a:ext>
            </a:extLst>
          </p:cNvPr>
          <p:cNvSpPr txBox="1"/>
          <p:nvPr/>
        </p:nvSpPr>
        <p:spPr>
          <a:xfrm>
            <a:off x="4853601" y="3581951"/>
            <a:ext cx="914400" cy="390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200">
                <a:solidFill>
                  <a:prstClr val="black"/>
                </a:solidFill>
                <a:latin typeface="Arial"/>
              </a:rPr>
              <a:t>Other </a:t>
            </a:r>
            <a:r>
              <a:rPr lang="de-DE" sz="1200" err="1">
                <a:solidFill>
                  <a:prstClr val="black"/>
                </a:solidFill>
                <a:latin typeface="Arial"/>
              </a:rPr>
              <a:t>components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41D002A-E0A8-0558-54A7-7FFDE62379D8}"/>
              </a:ext>
            </a:extLst>
          </p:cNvPr>
          <p:cNvSpPr txBox="1"/>
          <p:nvPr/>
        </p:nvSpPr>
        <p:spPr>
          <a:xfrm>
            <a:off x="7403066" y="3572417"/>
            <a:ext cx="914400" cy="390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200" err="1">
                <a:solidFill>
                  <a:prstClr val="black"/>
                </a:solidFill>
                <a:latin typeface="Arial"/>
              </a:rPr>
              <a:t>Component</a:t>
            </a:r>
            <a:r>
              <a:rPr lang="de-DE" sz="1200">
                <a:solidFill>
                  <a:prstClr val="black"/>
                </a:solidFill>
                <a:latin typeface="Arial"/>
              </a:rPr>
              <a:t> </a:t>
            </a:r>
            <a:r>
              <a:rPr lang="de-DE" sz="1200" err="1">
                <a:solidFill>
                  <a:prstClr val="black"/>
                </a:solidFill>
                <a:latin typeface="Arial"/>
              </a:rPr>
              <a:t>to</a:t>
            </a:r>
            <a:r>
              <a:rPr lang="de-DE" sz="1200">
                <a:solidFill>
                  <a:prstClr val="black"/>
                </a:solidFill>
                <a:latin typeface="Arial"/>
              </a:rPr>
              <a:t> </a:t>
            </a:r>
            <a:r>
              <a:rPr lang="de-DE" sz="1200" err="1">
                <a:solidFill>
                  <a:prstClr val="black"/>
                </a:solidFill>
                <a:latin typeface="Arial"/>
              </a:rPr>
              <a:t>classify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ED3B0F3-178E-B2DD-CB8C-2DF1813BF033}"/>
              </a:ext>
            </a:extLst>
          </p:cNvPr>
          <p:cNvSpPr txBox="1"/>
          <p:nvPr/>
        </p:nvSpPr>
        <p:spPr>
          <a:xfrm>
            <a:off x="8366784" y="3563152"/>
            <a:ext cx="914400" cy="390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200">
                <a:solidFill>
                  <a:prstClr val="black"/>
                </a:solidFill>
                <a:latin typeface="Arial"/>
              </a:rPr>
              <a:t>Other </a:t>
            </a:r>
            <a:r>
              <a:rPr lang="de-DE" sz="1200" err="1">
                <a:solidFill>
                  <a:prstClr val="black"/>
                </a:solidFill>
                <a:latin typeface="Arial"/>
              </a:rPr>
              <a:t>components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Multiplication Sign 46">
            <a:extLst>
              <a:ext uri="{FF2B5EF4-FFF2-40B4-BE49-F238E27FC236}">
                <a16:creationId xmlns:a16="http://schemas.microsoft.com/office/drawing/2014/main" id="{D5277FE9-99EC-772C-B8A3-BBD0A3E1E423}"/>
              </a:ext>
            </a:extLst>
          </p:cNvPr>
          <p:cNvSpPr/>
          <p:nvPr/>
        </p:nvSpPr>
        <p:spPr>
          <a:xfrm>
            <a:off x="1342720" y="2591855"/>
            <a:ext cx="1368595" cy="1368595"/>
          </a:xfrm>
          <a:prstGeom prst="mathMultiply">
            <a:avLst/>
          </a:prstGeom>
          <a:solidFill>
            <a:srgbClr val="971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Multiplication Sign 47">
            <a:extLst>
              <a:ext uri="{FF2B5EF4-FFF2-40B4-BE49-F238E27FC236}">
                <a16:creationId xmlns:a16="http://schemas.microsoft.com/office/drawing/2014/main" id="{E2B45DD3-1722-E335-2B55-F9C4A9B7F05A}"/>
              </a:ext>
            </a:extLst>
          </p:cNvPr>
          <p:cNvSpPr/>
          <p:nvPr/>
        </p:nvSpPr>
        <p:spPr>
          <a:xfrm>
            <a:off x="4554578" y="2563029"/>
            <a:ext cx="1368595" cy="1368595"/>
          </a:xfrm>
          <a:prstGeom prst="mathMultiply">
            <a:avLst/>
          </a:prstGeom>
          <a:solidFill>
            <a:srgbClr val="971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7AE2DE62-A5E9-C4E5-56EF-4D9FCE14EFC0}"/>
              </a:ext>
            </a:extLst>
          </p:cNvPr>
          <p:cNvSpPr txBox="1">
            <a:spLocks/>
          </p:cNvSpPr>
          <p:nvPr/>
        </p:nvSpPr>
        <p:spPr>
          <a:xfrm>
            <a:off x="518317" y="4311265"/>
            <a:ext cx="11157745" cy="1948754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2000" b="1">
                <a:solidFill>
                  <a:srgbClr val="04316A"/>
                </a:solidFill>
              </a:rPr>
              <a:t>2. Resize </a:t>
            </a:r>
            <a:r>
              <a:rPr lang="de-DE" sz="2000" b="1" err="1">
                <a:solidFill>
                  <a:srgbClr val="04316A"/>
                </a:solidFill>
              </a:rPr>
              <a:t>the</a:t>
            </a:r>
            <a:r>
              <a:rPr lang="de-DE" sz="2000" b="1">
                <a:solidFill>
                  <a:srgbClr val="04316A"/>
                </a:solidFill>
              </a:rPr>
              <a:t> </a:t>
            </a:r>
            <a:r>
              <a:rPr lang="de-DE" sz="2000" b="1" err="1">
                <a:solidFill>
                  <a:srgbClr val="04316A"/>
                </a:solidFill>
              </a:rPr>
              <a:t>images</a:t>
            </a:r>
            <a:r>
              <a:rPr lang="de-DE" sz="2000" b="1">
                <a:solidFill>
                  <a:srgbClr val="04316A"/>
                </a:solidFill>
              </a:rPr>
              <a:t> </a:t>
            </a:r>
            <a:r>
              <a:rPr lang="de-DE" sz="2000" b="1" err="1">
                <a:solidFill>
                  <a:srgbClr val="04316A"/>
                </a:solidFill>
              </a:rPr>
              <a:t>to</a:t>
            </a:r>
            <a:r>
              <a:rPr lang="de-DE" sz="2000" b="1">
                <a:solidFill>
                  <a:srgbClr val="04316A"/>
                </a:solidFill>
              </a:rPr>
              <a:t> 28 x 28 </a:t>
            </a:r>
            <a:r>
              <a:rPr lang="de-DE" sz="2000" b="1" err="1">
                <a:solidFill>
                  <a:srgbClr val="04316A"/>
                </a:solidFill>
              </a:rPr>
              <a:t>pixels</a:t>
            </a:r>
            <a:r>
              <a:rPr lang="de-DE" sz="2000" b="1">
                <a:solidFill>
                  <a:srgbClr val="04316A"/>
                </a:solidFill>
              </a:rPr>
              <a:t> </a:t>
            </a:r>
            <a:endParaRPr lang="en-GB" sz="2000" b="1">
              <a:solidFill>
                <a:srgbClr val="04316A"/>
              </a:solidFill>
            </a:endParaRPr>
          </a:p>
          <a:p>
            <a:pPr>
              <a:lnSpc>
                <a:spcPct val="150000"/>
              </a:lnSpc>
            </a:pPr>
            <a:r>
              <a:rPr lang="en-GB" sz="2000" b="1">
                <a:solidFill>
                  <a:srgbClr val="04316A"/>
                </a:solidFill>
              </a:rPr>
              <a:t>3. Turn the images into greyscale</a:t>
            </a:r>
          </a:p>
          <a:p>
            <a:pPr>
              <a:lnSpc>
                <a:spcPct val="150000"/>
              </a:lnSpc>
            </a:pPr>
            <a:r>
              <a:rPr lang="en-GB" sz="2000" b="1">
                <a:solidFill>
                  <a:srgbClr val="04316A"/>
                </a:solidFill>
              </a:rPr>
              <a:t>4. Normalize their </a:t>
            </a:r>
            <a:r>
              <a:rPr lang="en-GB" sz="2000" b="1" err="1">
                <a:solidFill>
                  <a:srgbClr val="04316A"/>
                </a:solidFill>
              </a:rPr>
              <a:t>colors</a:t>
            </a:r>
            <a:endParaRPr lang="en-GB" sz="2000" b="1">
              <a:solidFill>
                <a:srgbClr val="0431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275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10B9E03-8337-6EA5-7E0F-D1E70C5690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4DF13-B584-46A2-9B1A-67BAA69B128F}" type="datetime4">
              <a:rPr lang="de-DE" smtClean="0"/>
              <a:t>13. März 2023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4444566-79CA-FEDF-FF6E-02784DA4F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91438E-97D6-3323-5DB7-25C77D5D8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706F4AE-01B9-DF5E-87DC-4AC21641F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Component</a:t>
            </a:r>
            <a:r>
              <a:rPr lang="de-DE"/>
              <a:t> </a:t>
            </a:r>
            <a:r>
              <a:rPr lang="de-DE" err="1"/>
              <a:t>Anomaly</a:t>
            </a:r>
            <a:r>
              <a:rPr lang="de-DE"/>
              <a:t> </a:t>
            </a:r>
            <a:r>
              <a:rPr lang="de-DE" err="1"/>
              <a:t>Detectio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981B218-CD10-12FC-2265-53707A19CD81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DDA62FC-F4CB-CCDE-85B0-48276F7D2A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Train </a:t>
            </a:r>
            <a:r>
              <a:rPr lang="de-DE" dirty="0" err="1"/>
              <a:t>the</a:t>
            </a:r>
            <a:r>
              <a:rPr lang="de-DE" dirty="0"/>
              <a:t> Autoencoder Model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Tasks </a:t>
            </a:r>
            <a:endParaRPr lang="en-GB" dirty="0"/>
          </a:p>
        </p:txBody>
      </p:sp>
      <p:grpSp>
        <p:nvGrpSpPr>
          <p:cNvPr id="9" name="组合 1">
            <a:extLst>
              <a:ext uri="{FF2B5EF4-FFF2-40B4-BE49-F238E27FC236}">
                <a16:creationId xmlns:a16="http://schemas.microsoft.com/office/drawing/2014/main" id="{7567BC75-5FA2-F38D-4B03-A7A221D923D8}"/>
              </a:ext>
            </a:extLst>
          </p:cNvPr>
          <p:cNvGrpSpPr/>
          <p:nvPr/>
        </p:nvGrpSpPr>
        <p:grpSpPr>
          <a:xfrm>
            <a:off x="783641" y="1480486"/>
            <a:ext cx="3836277" cy="4850110"/>
            <a:chOff x="874713" y="1777365"/>
            <a:chExt cx="2388842" cy="4194762"/>
          </a:xfrm>
          <a:solidFill>
            <a:srgbClr val="F2F2F2">
              <a:alpha val="69804"/>
            </a:srgbClr>
          </a:solidFill>
        </p:grpSpPr>
        <p:sp>
          <p:nvSpPr>
            <p:cNvPr id="10" name="矩形: 圆角 10" hidden="1">
              <a:extLst>
                <a:ext uri="{FF2B5EF4-FFF2-40B4-BE49-F238E27FC236}">
                  <a16:creationId xmlns:a16="http://schemas.microsoft.com/office/drawing/2014/main" id="{39470D48-EA68-D314-584B-54967BABA689}"/>
                </a:ext>
              </a:extLst>
            </p:cNvPr>
            <p:cNvSpPr/>
            <p:nvPr/>
          </p:nvSpPr>
          <p:spPr>
            <a:xfrm>
              <a:off x="874713" y="1777365"/>
              <a:ext cx="2388842" cy="4151313"/>
            </a:xfrm>
            <a:prstGeom prst="roundRect">
              <a:avLst>
                <a:gd name="adj" fmla="val 4162"/>
              </a:avLst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思源黑体 CN Regular"/>
                <a:cs typeface="+mn-cs"/>
              </a:endParaRPr>
            </a:p>
          </p:txBody>
        </p:sp>
        <p:sp>
          <p:nvSpPr>
            <p:cNvPr id="11" name="矩形: 圆角 15">
              <a:extLst>
                <a:ext uri="{FF2B5EF4-FFF2-40B4-BE49-F238E27FC236}">
                  <a16:creationId xmlns:a16="http://schemas.microsoft.com/office/drawing/2014/main" id="{AFEDB69A-A586-DE26-5A39-F565FC2DDDBD}"/>
                </a:ext>
              </a:extLst>
            </p:cNvPr>
            <p:cNvSpPr/>
            <p:nvPr/>
          </p:nvSpPr>
          <p:spPr>
            <a:xfrm>
              <a:off x="874713" y="1820814"/>
              <a:ext cx="2388842" cy="4151313"/>
            </a:xfrm>
            <a:prstGeom prst="roundRect">
              <a:avLst>
                <a:gd name="adj" fmla="val 4162"/>
              </a:avLst>
            </a:prstGeom>
            <a:grpFill/>
            <a:ln>
              <a:noFill/>
            </a:ln>
            <a:effectLst>
              <a:reflection blurRad="25400" stA="41000" endPos="11000" dist="127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思源黑体 CN Regular"/>
                <a:cs typeface="+mn-cs"/>
              </a:endParaRPr>
            </a:p>
          </p:txBody>
        </p:sp>
      </p:grpSp>
      <p:sp>
        <p:nvSpPr>
          <p:cNvPr id="12" name="矩形: 圆角 15">
            <a:extLst>
              <a:ext uri="{FF2B5EF4-FFF2-40B4-BE49-F238E27FC236}">
                <a16:creationId xmlns:a16="http://schemas.microsoft.com/office/drawing/2014/main" id="{55D82EE5-C6B2-D3EA-D21E-B7BDD22CFBC5}"/>
              </a:ext>
            </a:extLst>
          </p:cNvPr>
          <p:cNvSpPr/>
          <p:nvPr/>
        </p:nvSpPr>
        <p:spPr>
          <a:xfrm>
            <a:off x="4831679" y="1525099"/>
            <a:ext cx="6749593" cy="4805497"/>
          </a:xfrm>
          <a:prstGeom prst="roundRect">
            <a:avLst>
              <a:gd name="adj" fmla="val 4162"/>
            </a:avLst>
          </a:prstGeom>
          <a:solidFill>
            <a:srgbClr val="F2F2F2">
              <a:alpha val="69804"/>
            </a:srgbClr>
          </a:solidFill>
          <a:ln>
            <a:noFill/>
          </a:ln>
          <a:effectLst>
            <a:reflection blurRad="25400" stA="41000" endPos="11000" dist="127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DA16E5-9B14-5100-8F1F-9B595BB0D97D}"/>
              </a:ext>
            </a:extLst>
          </p:cNvPr>
          <p:cNvSpPr txBox="1"/>
          <p:nvPr/>
        </p:nvSpPr>
        <p:spPr>
          <a:xfrm>
            <a:off x="995401" y="1746513"/>
            <a:ext cx="307969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rgbClr val="971B2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 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971B2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0CFBF5-EB37-CFC1-A862-5184F166EEDF}"/>
              </a:ext>
            </a:extLst>
          </p:cNvPr>
          <p:cNvSpPr txBox="1"/>
          <p:nvPr/>
        </p:nvSpPr>
        <p:spPr>
          <a:xfrm>
            <a:off x="994147" y="2165973"/>
            <a:ext cx="2988094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encoder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ss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Picture 15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637AD4DB-9860-A8BA-F829-FCED69B3CA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931" y="2591187"/>
            <a:ext cx="2522909" cy="257274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18A37E1-842D-9ED0-AE23-E78144B0C5C2}"/>
              </a:ext>
            </a:extLst>
          </p:cNvPr>
          <p:cNvSpPr txBox="1"/>
          <p:nvPr/>
        </p:nvSpPr>
        <p:spPr>
          <a:xfrm>
            <a:off x="5083173" y="1746513"/>
            <a:ext cx="307969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b="1">
                <a:solidFill>
                  <a:srgbClr val="971B2F"/>
                </a:solidFill>
                <a:latin typeface="Arial"/>
              </a:rPr>
              <a:t>T</a:t>
            </a:r>
            <a:r>
              <a:rPr kumimoji="0" lang="de-DE" sz="2000" b="1" i="0" u="none" strike="noStrike" kern="1200" cap="none" spc="0" normalizeH="0" baseline="0" noProof="0" err="1">
                <a:ln>
                  <a:noFill/>
                </a:ln>
                <a:solidFill>
                  <a:srgbClr val="971B2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reshold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rgbClr val="971B2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termination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971B2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94862ED-0B16-F8DF-E1D8-BEBC04550A30}"/>
              </a:ext>
            </a:extLst>
          </p:cNvPr>
          <p:cNvSpPr/>
          <p:nvPr/>
        </p:nvSpPr>
        <p:spPr>
          <a:xfrm>
            <a:off x="5127063" y="2541324"/>
            <a:ext cx="981129" cy="3084376"/>
          </a:xfrm>
          <a:prstGeom prst="rect">
            <a:avLst/>
          </a:prstGeom>
          <a:noFill/>
          <a:ln w="19050">
            <a:solidFill>
              <a:srgbClr val="0431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7161190-6ED3-4ADC-61F0-1DE7D5460DB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92" t="-8861" r="-17733" b="-1803"/>
          <a:stretch/>
        </p:blipFill>
        <p:spPr bwMode="auto">
          <a:xfrm>
            <a:off x="5203432" y="2310162"/>
            <a:ext cx="5692281" cy="3387440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910E40C9-FCDE-8335-4020-7B56564DA527}"/>
              </a:ext>
            </a:extLst>
          </p:cNvPr>
          <p:cNvSpPr/>
          <p:nvPr/>
        </p:nvSpPr>
        <p:spPr>
          <a:xfrm>
            <a:off x="6137453" y="2541325"/>
            <a:ext cx="3764038" cy="3084376"/>
          </a:xfrm>
          <a:prstGeom prst="rect">
            <a:avLst/>
          </a:prstGeom>
          <a:noFill/>
          <a:ln w="19050">
            <a:solidFill>
              <a:srgbClr val="97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B9923DD-FFE1-35F1-836D-51717CFCA14F}"/>
              </a:ext>
            </a:extLst>
          </p:cNvPr>
          <p:cNvSpPr txBox="1"/>
          <p:nvPr/>
        </p:nvSpPr>
        <p:spPr>
          <a:xfrm>
            <a:off x="5127063" y="2212140"/>
            <a:ext cx="994907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4316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rmal 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431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A8C5F34-1AA1-8BE9-1DCC-A982DC444D0C}"/>
              </a:ext>
            </a:extLst>
          </p:cNvPr>
          <p:cNvSpPr txBox="1"/>
          <p:nvPr/>
        </p:nvSpPr>
        <p:spPr>
          <a:xfrm>
            <a:off x="6096000" y="2165973"/>
            <a:ext cx="1260647" cy="3421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971B2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normal 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971B2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520BD8D-91D2-E709-6C3E-6A15A4DAF9E4}"/>
              </a:ext>
            </a:extLst>
          </p:cNvPr>
          <p:cNvSpPr txBox="1"/>
          <p:nvPr/>
        </p:nvSpPr>
        <p:spPr>
          <a:xfrm>
            <a:off x="5127062" y="5697602"/>
            <a:ext cx="6333723" cy="5870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sz="1800">
                <a:effectLst/>
                <a:latin typeface="+mj-lt"/>
                <a:ea typeface="Times New Roman" panose="02020603050405020304" pitchFamily="18" charset="0"/>
              </a:rPr>
              <a:t>The </a:t>
            </a:r>
            <a:r>
              <a:rPr lang="en-US" sz="1800" b="1" i="1">
                <a:effectLst/>
                <a:latin typeface="+mj-lt"/>
                <a:ea typeface="Times New Roman" panose="02020603050405020304" pitchFamily="18" charset="0"/>
              </a:rPr>
              <a:t>average</a:t>
            </a:r>
            <a:r>
              <a:rPr lang="en-US" sz="1800" b="1">
                <a:effectLst/>
                <a:latin typeface="+mj-lt"/>
                <a:ea typeface="Times New Roman" panose="02020603050405020304" pitchFamily="18" charset="0"/>
              </a:rPr>
              <a:t> </a:t>
            </a:r>
            <a:r>
              <a:rPr lang="en-US" sz="1800" b="1" i="1">
                <a:effectLst/>
                <a:latin typeface="+mj-lt"/>
                <a:ea typeface="Times New Roman" panose="02020603050405020304" pitchFamily="18" charset="0"/>
              </a:rPr>
              <a:t>sum of difference in pixels in normal images </a:t>
            </a:r>
            <a:r>
              <a:rPr lang="en-US" sz="1800">
                <a:effectLst/>
                <a:latin typeface="+mj-lt"/>
                <a:ea typeface="Times New Roman" panose="02020603050405020304" pitchFamily="18" charset="0"/>
              </a:rPr>
              <a:t>is used as a </a:t>
            </a:r>
            <a:r>
              <a:rPr lang="en-US" sz="1800" b="1" i="1">
                <a:effectLst/>
                <a:latin typeface="+mj-lt"/>
                <a:ea typeface="Times New Roman" panose="02020603050405020304" pitchFamily="18" charset="0"/>
              </a:rPr>
              <a:t>threshold</a:t>
            </a:r>
            <a:r>
              <a:rPr lang="en-US" sz="1800">
                <a:effectLst/>
                <a:latin typeface="+mj-lt"/>
                <a:ea typeface="Times New Roman" panose="02020603050405020304" pitchFamily="18" charset="0"/>
              </a:rPr>
              <a:t> to identify anomalies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6410780-BA15-42BC-1D8E-58971B7FD5C2}"/>
              </a:ext>
            </a:extLst>
          </p:cNvPr>
          <p:cNvSpPr txBox="1"/>
          <p:nvPr/>
        </p:nvSpPr>
        <p:spPr>
          <a:xfrm>
            <a:off x="1022931" y="5324016"/>
            <a:ext cx="344735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_dim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64</a:t>
            </a:r>
          </a:p>
          <a:p>
            <a:pPr marL="0" marR="0" indent="0" algn="l" defTabSz="914400" rtl="0" eaLnBrk="1" fontAlgn="auto" latinLnBrk="0" hangingPunct="1"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tch_size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16</a:t>
            </a:r>
          </a:p>
          <a:p>
            <a:pPr marL="0" marR="0" indent="0" algn="l" defTabSz="914400" rtl="0" eaLnBrk="1" fontAlgn="auto" latinLnBrk="0" hangingPunct="1"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m_epochs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10</a:t>
            </a:r>
          </a:p>
          <a:p>
            <a:pPr marL="0" marR="0" indent="0" algn="l" defTabSz="914400" rtl="0" eaLnBrk="1" fontAlgn="auto" latinLnBrk="0" hangingPunct="1"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rning_rate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3.0e-4</a:t>
            </a:r>
          </a:p>
          <a:p>
            <a:pPr marL="0" marR="0" indent="0" algn="l" defTabSz="914400" rtl="0" eaLnBrk="1" fontAlgn="auto" latinLnBrk="0" hangingPunct="1"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se_loss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n.MSELoss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)</a:t>
            </a:r>
          </a:p>
        </p:txBody>
      </p:sp>
    </p:spTree>
    <p:extLst>
      <p:ext uri="{BB962C8B-B14F-4D97-AF65-F5344CB8AC3E}">
        <p14:creationId xmlns:p14="http://schemas.microsoft.com/office/powerpoint/2010/main" val="3420241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5731F96-700D-2E81-67E5-4A2008652F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3. März 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7CF713B-3CE3-B35D-7159-591DA2869F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C23247-C943-8302-CD07-7B93909C7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4FB67CD-D51E-5113-5255-93E5850405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13212" y="3847375"/>
            <a:ext cx="2765712" cy="280789"/>
          </a:xfrm>
        </p:spPr>
        <p:txBody>
          <a:bodyPr/>
          <a:lstStyle/>
          <a:p>
            <a:r>
              <a:rPr lang="de-DE" sz="1800"/>
              <a:t>Data Understanding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530141C-9625-E9B8-7A2E-EF38668886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96109" y="3122200"/>
            <a:ext cx="320601" cy="281103"/>
          </a:xfrm>
        </p:spPr>
        <p:txBody>
          <a:bodyPr/>
          <a:lstStyle/>
          <a:p>
            <a:r>
              <a:rPr lang="de-DE" sz="1800"/>
              <a:t>02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C361DF2-E21A-DDE6-1EA0-BBBCDC8550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09600" y="3122200"/>
            <a:ext cx="5039989" cy="281103"/>
          </a:xfrm>
        </p:spPr>
        <p:txBody>
          <a:bodyPr/>
          <a:lstStyle/>
          <a:p>
            <a:r>
              <a:rPr lang="de-DE" sz="1800" err="1"/>
              <a:t>Component</a:t>
            </a:r>
            <a:r>
              <a:rPr lang="de-DE" sz="1800"/>
              <a:t> Classificati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24F5BC-33CE-031A-55A5-5F9E8A82EB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08752" y="2384907"/>
            <a:ext cx="320601" cy="281103"/>
          </a:xfrm>
        </p:spPr>
        <p:txBody>
          <a:bodyPr/>
          <a:lstStyle/>
          <a:p>
            <a:r>
              <a:rPr lang="de-DE" sz="1800"/>
              <a:t>0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186976-1753-2BDE-C5D6-2577346A98A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13211" y="4629275"/>
            <a:ext cx="2765713" cy="255286"/>
          </a:xfrm>
        </p:spPr>
        <p:txBody>
          <a:bodyPr/>
          <a:lstStyle/>
          <a:p>
            <a:r>
              <a:rPr lang="de-DE" sz="1800"/>
              <a:t>Box Classificatio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4E56050-911B-FE2E-72BB-5C028B7D63F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96109" y="3847375"/>
            <a:ext cx="320601" cy="281103"/>
          </a:xfrm>
        </p:spPr>
        <p:txBody>
          <a:bodyPr/>
          <a:lstStyle/>
          <a:p>
            <a:r>
              <a:rPr lang="de-DE" sz="1800"/>
              <a:t>03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3A735B1-00C7-26D1-D169-0EED3A8C423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809600" y="2384907"/>
            <a:ext cx="5039989" cy="281103"/>
          </a:xfrm>
        </p:spPr>
        <p:txBody>
          <a:bodyPr/>
          <a:lstStyle/>
          <a:p>
            <a:r>
              <a:rPr lang="de-DE" sz="1800"/>
              <a:t>Box </a:t>
            </a:r>
            <a:r>
              <a:rPr lang="de-DE" sz="1800" err="1"/>
              <a:t>Localization</a:t>
            </a:r>
            <a:endParaRPr lang="de-DE" sz="180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5B9A236-02D1-722C-6B83-5DC6A53FEB1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6109" y="4629275"/>
            <a:ext cx="320601" cy="281103"/>
          </a:xfrm>
        </p:spPr>
        <p:txBody>
          <a:bodyPr/>
          <a:lstStyle/>
          <a:p>
            <a:r>
              <a:rPr lang="de-DE" sz="1800"/>
              <a:t>0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11A03C1-9CBC-2CF1-CD57-A96FD7CEC7A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809600" y="3847375"/>
            <a:ext cx="5039989" cy="281103"/>
          </a:xfrm>
        </p:spPr>
        <p:txBody>
          <a:bodyPr/>
          <a:lstStyle/>
          <a:p>
            <a:r>
              <a:rPr lang="de-DE" sz="1800" err="1"/>
              <a:t>Deployment</a:t>
            </a:r>
            <a:endParaRPr lang="de-DE" sz="180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F925FA0B-3865-B804-5709-915BE57C2C7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20475" y="3122200"/>
            <a:ext cx="320601" cy="281103"/>
          </a:xfrm>
        </p:spPr>
        <p:txBody>
          <a:bodyPr/>
          <a:lstStyle/>
          <a:p>
            <a:r>
              <a:rPr lang="de-DE" sz="1800"/>
              <a:t>06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7C8BB72-8ABD-B530-E5DB-8A444F1F41B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32198" y="3847375"/>
            <a:ext cx="320601" cy="281103"/>
          </a:xfrm>
        </p:spPr>
        <p:txBody>
          <a:bodyPr/>
          <a:lstStyle/>
          <a:p>
            <a:r>
              <a:rPr lang="de-DE" sz="1800"/>
              <a:t>07</a:t>
            </a:r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AEA70F3E-33AB-E6D5-586D-FE1BC5FDC1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EB0D0403-D3D4-78E4-86A4-1E3864F491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13212" y="3122200"/>
            <a:ext cx="2765712" cy="300748"/>
          </a:xfrm>
        </p:spPr>
        <p:txBody>
          <a:bodyPr/>
          <a:lstStyle/>
          <a:p>
            <a:r>
              <a:rPr lang="de-DE" sz="1800"/>
              <a:t>Project Timeline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5DB1F23E-3317-60CA-2613-3190EF0F40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6208" y="2384907"/>
            <a:ext cx="320601" cy="281103"/>
          </a:xfrm>
          <a:noFill/>
        </p:spPr>
        <p:txBody>
          <a:bodyPr/>
          <a:lstStyle/>
          <a:p>
            <a:r>
              <a:rPr lang="de-DE" sz="1800">
                <a:solidFill>
                  <a:srgbClr val="C50F3C"/>
                </a:solidFill>
              </a:rPr>
              <a:t> 01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27B5A533-F18B-8AA5-2C1A-970280BBA8E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</p:sp>
      <p:sp>
        <p:nvSpPr>
          <p:cNvPr id="32" name="Textplatzhalter 14">
            <a:extLst>
              <a:ext uri="{FF2B5EF4-FFF2-40B4-BE49-F238E27FC236}">
                <a16:creationId xmlns:a16="http://schemas.microsoft.com/office/drawing/2014/main" id="{5C589B4C-ECEC-B21D-D736-45C1E62358E8}"/>
              </a:ext>
            </a:extLst>
          </p:cNvPr>
          <p:cNvSpPr txBox="1">
            <a:spLocks/>
          </p:cNvSpPr>
          <p:nvPr/>
        </p:nvSpPr>
        <p:spPr>
          <a:xfrm>
            <a:off x="6809716" y="4629276"/>
            <a:ext cx="5039873" cy="281103"/>
          </a:xfrm>
          <a:prstGeom prst="rect">
            <a:avLst/>
          </a:prstGeom>
        </p:spPr>
        <p:txBody>
          <a:bodyPr vert="horz" wrap="square" lIns="0" tIns="0" rIns="360000" bIns="0" rtlCol="0" anchor="t" anchorCtr="0">
            <a:noAutofit/>
          </a:bodyPr>
          <a:lstStyle>
            <a:lvl1pPr marL="0" indent="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Font typeface="Arial" panose="020B0604020202020204" pitchFamily="34" charset="0"/>
              <a:buNone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2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6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10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4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96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/>
              <a:t>Summary</a:t>
            </a:r>
          </a:p>
        </p:txBody>
      </p:sp>
      <p:sp>
        <p:nvSpPr>
          <p:cNvPr id="33" name="Textplatzhalter 13">
            <a:extLst>
              <a:ext uri="{FF2B5EF4-FFF2-40B4-BE49-F238E27FC236}">
                <a16:creationId xmlns:a16="http://schemas.microsoft.com/office/drawing/2014/main" id="{0F5B1A1F-8FA2-AA9C-49F8-32B02190336C}"/>
              </a:ext>
            </a:extLst>
          </p:cNvPr>
          <p:cNvSpPr txBox="1">
            <a:spLocks/>
          </p:cNvSpPr>
          <p:nvPr/>
        </p:nvSpPr>
        <p:spPr>
          <a:xfrm>
            <a:off x="4820686" y="5841849"/>
            <a:ext cx="320601" cy="281103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Font typeface="Arial" panose="020B0604020202020204" pitchFamily="34" charset="0"/>
              <a:buNone/>
              <a:defRPr sz="162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62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6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10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4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96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800"/>
          </a:p>
        </p:txBody>
      </p:sp>
      <p:sp>
        <p:nvSpPr>
          <p:cNvPr id="35" name="Textplatzhalter 10">
            <a:extLst>
              <a:ext uri="{FF2B5EF4-FFF2-40B4-BE49-F238E27FC236}">
                <a16:creationId xmlns:a16="http://schemas.microsoft.com/office/drawing/2014/main" id="{38B17F04-2DDF-513B-E41D-9ED08D8018E3}"/>
              </a:ext>
            </a:extLst>
          </p:cNvPr>
          <p:cNvSpPr txBox="1">
            <a:spLocks/>
          </p:cNvSpPr>
          <p:nvPr/>
        </p:nvSpPr>
        <p:spPr>
          <a:xfrm>
            <a:off x="1513210" y="2384907"/>
            <a:ext cx="5039989" cy="281103"/>
          </a:xfrm>
          <a:prstGeom prst="rect">
            <a:avLst/>
          </a:prstGeom>
        </p:spPr>
        <p:txBody>
          <a:bodyPr vert="horz" wrap="square" lIns="0" tIns="0" rIns="360000" bIns="0" rtlCol="0" anchor="t" anchorCtr="0">
            <a:noAutofit/>
          </a:bodyPr>
          <a:lstStyle>
            <a:lvl1pPr marL="0" indent="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Font typeface="Arial" panose="020B0604020202020204" pitchFamily="34" charset="0"/>
              <a:buNone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2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6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10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4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96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err="1"/>
              <a:t>Our</a:t>
            </a:r>
            <a:r>
              <a:rPr lang="de-DE" sz="1800"/>
              <a:t> Team</a:t>
            </a:r>
          </a:p>
        </p:txBody>
      </p:sp>
      <p:sp>
        <p:nvSpPr>
          <p:cNvPr id="37" name="Textplatzhalter 15">
            <a:extLst>
              <a:ext uri="{FF2B5EF4-FFF2-40B4-BE49-F238E27FC236}">
                <a16:creationId xmlns:a16="http://schemas.microsoft.com/office/drawing/2014/main" id="{AB2C15F8-CE52-5EFC-39B7-6BAA9FFB2E9D}"/>
              </a:ext>
            </a:extLst>
          </p:cNvPr>
          <p:cNvSpPr txBox="1">
            <a:spLocks/>
          </p:cNvSpPr>
          <p:nvPr/>
        </p:nvSpPr>
        <p:spPr>
          <a:xfrm>
            <a:off x="6132198" y="4629275"/>
            <a:ext cx="320601" cy="281103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Font typeface="Arial" panose="020B0604020202020204" pitchFamily="34" charset="0"/>
              <a:buNone/>
              <a:defRPr sz="162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62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6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10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4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96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/>
              <a:t>08</a:t>
            </a:r>
          </a:p>
        </p:txBody>
      </p:sp>
    </p:spTree>
    <p:extLst>
      <p:ext uri="{BB962C8B-B14F-4D97-AF65-F5344CB8AC3E}">
        <p14:creationId xmlns:p14="http://schemas.microsoft.com/office/powerpoint/2010/main" val="3063209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10B9E03-8337-6EA5-7E0F-D1E70C5690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4DF13-B584-46A2-9B1A-67BAA69B128F}" type="datetime4">
              <a:rPr lang="de-DE" smtClean="0"/>
              <a:t>13. März 2023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4444566-79CA-FEDF-FF6E-02784DA4F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91438E-97D6-3323-5DB7-25C77D5D8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706F4AE-01B9-DF5E-87DC-4AC21641F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Component</a:t>
            </a:r>
            <a:r>
              <a:rPr lang="de-DE"/>
              <a:t> </a:t>
            </a:r>
            <a:r>
              <a:rPr lang="de-DE" err="1"/>
              <a:t>Anomaly</a:t>
            </a:r>
            <a:r>
              <a:rPr lang="de-DE"/>
              <a:t> </a:t>
            </a:r>
            <a:r>
              <a:rPr lang="de-DE" err="1"/>
              <a:t>Detectio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981B218-CD10-12FC-2265-53707A19CD81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DDA62FC-F4CB-CCDE-85B0-48276F7D2A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 err="1"/>
              <a:t>Evaluat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hreshold on Test Images</a:t>
            </a:r>
            <a:endParaRPr lang="en-GB" dirty="0"/>
          </a:p>
        </p:txBody>
      </p:sp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4C564FC2-C68F-8503-8FE4-BABE080CE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17" y="2044864"/>
            <a:ext cx="6657894" cy="4428868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206A4F9-F5D7-1FDB-D580-94D9EA3F7A74}"/>
              </a:ext>
            </a:extLst>
          </p:cNvPr>
          <p:cNvSpPr txBox="1"/>
          <p:nvPr/>
        </p:nvSpPr>
        <p:spPr>
          <a:xfrm>
            <a:off x="668216" y="1584873"/>
            <a:ext cx="7288667" cy="312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b="1" dirty="0">
                <a:solidFill>
                  <a:prstClr val="black"/>
                </a:solidFill>
                <a:latin typeface="Arial"/>
              </a:rPr>
              <a:t>Evaluation: </a:t>
            </a:r>
            <a:r>
              <a:rPr lang="en-US" sz="2000" b="1" dirty="0">
                <a:solidFill>
                  <a:prstClr val="black"/>
                </a:solidFill>
                <a:latin typeface="Arial"/>
              </a:rPr>
              <a:t>Weighted avg F1-scores of autoencoder models</a:t>
            </a:r>
            <a:endParaRPr lang="en-GB" sz="20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5304FA5-BDE6-6579-0552-0E925733E465}"/>
              </a:ext>
            </a:extLst>
          </p:cNvPr>
          <p:cNvSpPr txBox="1"/>
          <p:nvPr/>
        </p:nvSpPr>
        <p:spPr>
          <a:xfrm>
            <a:off x="7474821" y="2349746"/>
            <a:ext cx="4119397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effectLst/>
                <a:latin typeface="+mj-lt"/>
                <a:ea typeface="Times New Roman" panose="02020603050405020304" pitchFamily="18" charset="0"/>
              </a:rPr>
              <a:t>The model </a:t>
            </a:r>
            <a:r>
              <a:rPr lang="en-US" dirty="0">
                <a:latin typeface="+mj-lt"/>
                <a:ea typeface="Times New Roman" panose="02020603050405020304" pitchFamily="18" charset="0"/>
              </a:rPr>
              <a:t>for </a:t>
            </a:r>
            <a:r>
              <a:rPr lang="en-US" sz="1800" dirty="0" err="1">
                <a:effectLst/>
                <a:latin typeface="+mj-lt"/>
                <a:ea typeface="Times New Roman" panose="02020603050405020304" pitchFamily="18" charset="0"/>
              </a:rPr>
              <a:t>Powerstecker_on</a:t>
            </a:r>
            <a:r>
              <a:rPr lang="en-US" sz="1800" dirty="0">
                <a:effectLst/>
                <a:latin typeface="+mj-lt"/>
                <a:ea typeface="Times New Roman" panose="02020603050405020304" pitchFamily="18" charset="0"/>
              </a:rPr>
              <a:t> has performed the best, with a weighted avg F1 of </a:t>
            </a:r>
            <a:r>
              <a:rPr lang="en-US" sz="1800" b="1" dirty="0">
                <a:effectLst/>
                <a:latin typeface="+mj-lt"/>
                <a:ea typeface="Times New Roman" panose="02020603050405020304" pitchFamily="18" charset="0"/>
              </a:rPr>
              <a:t>0.916</a:t>
            </a:r>
            <a:r>
              <a:rPr lang="en-US" sz="1800" dirty="0">
                <a:effectLst/>
                <a:latin typeface="+mj-lt"/>
                <a:ea typeface="Times New Roman" panose="02020603050405020304" pitchFamily="18" charset="0"/>
              </a:rPr>
              <a:t>. </a:t>
            </a:r>
          </a:p>
          <a:p>
            <a:endParaRPr lang="en-US" dirty="0">
              <a:latin typeface="+mj-lt"/>
              <a:ea typeface="Times New Roman" panose="02020603050405020304" pitchFamily="18" charset="0"/>
            </a:endParaRPr>
          </a:p>
          <a:p>
            <a:endParaRPr lang="en-US" dirty="0">
              <a:latin typeface="+mj-lt"/>
              <a:ea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+mj-lt"/>
                <a:ea typeface="Times New Roman" panose="02020603050405020304" pitchFamily="18" charset="0"/>
              </a:rPr>
              <a:t>The models for </a:t>
            </a:r>
            <a:r>
              <a:rPr lang="en-US" sz="1800" dirty="0" err="1">
                <a:effectLst/>
                <a:latin typeface="+mj-lt"/>
                <a:ea typeface="Times New Roman" panose="02020603050405020304" pitchFamily="18" charset="0"/>
              </a:rPr>
              <a:t>LOGO_Kontron_icon</a:t>
            </a:r>
            <a:r>
              <a:rPr lang="en-US" sz="1800" dirty="0">
                <a:effectLst/>
                <a:latin typeface="+mj-lt"/>
                <a:ea typeface="Times New Roman" panose="02020603050405020304" pitchFamily="18" charset="0"/>
              </a:rPr>
              <a:t> and VGA have performed the worst, with a weighted avg F1 of </a:t>
            </a:r>
            <a:r>
              <a:rPr lang="en-US" sz="1800" b="1" dirty="0">
                <a:effectLst/>
                <a:latin typeface="+mj-lt"/>
                <a:ea typeface="Times New Roman" panose="02020603050405020304" pitchFamily="18" charset="0"/>
              </a:rPr>
              <a:t>0.496</a:t>
            </a:r>
            <a:r>
              <a:rPr lang="en-US" sz="1800" dirty="0">
                <a:effectLst/>
                <a:latin typeface="+mj-lt"/>
                <a:ea typeface="Times New Roman" panose="02020603050405020304" pitchFamily="18" charset="0"/>
              </a:rPr>
              <a:t>.</a:t>
            </a:r>
          </a:p>
          <a:p>
            <a:endParaRPr lang="en-US" dirty="0">
              <a:latin typeface="+mj-lt"/>
            </a:endParaRPr>
          </a:p>
          <a:p>
            <a:r>
              <a:rPr lang="en-GB" dirty="0">
                <a:latin typeface="+mj-lt"/>
              </a:rPr>
              <a:t>The mean of weighted </a:t>
            </a:r>
            <a:r>
              <a:rPr lang="en-GB" dirty="0" err="1">
                <a:latin typeface="+mj-lt"/>
              </a:rPr>
              <a:t>avg</a:t>
            </a:r>
            <a:r>
              <a:rPr lang="en-GB" dirty="0">
                <a:latin typeface="+mj-lt"/>
              </a:rPr>
              <a:t> F1-scores is </a:t>
            </a:r>
            <a:r>
              <a:rPr lang="en-GB" b="1" dirty="0">
                <a:latin typeface="+mj-lt"/>
              </a:rPr>
              <a:t>0.7</a:t>
            </a:r>
            <a:r>
              <a:rPr lang="en-GB" dirty="0"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399226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2A784F-ADA7-3F21-F042-03874CE85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4DF13-B584-46A2-9B1A-67BAA69B128F}" type="datetime4">
              <a:rPr lang="de-DE" smtClean="0"/>
              <a:t>13. März 2023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C6758E-BF0D-E8B5-8B99-6565C78BC1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D18FD2-C50A-80CC-D73B-EB432D45A2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2768595-F3B3-8385-1FDA-8E4B5E9B0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Discussio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AE6FBFB-749F-B7D3-EB9E-0940E530BCB6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705343A-47E9-DD12-42FB-045B1B81318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1600" err="1">
                <a:cs typeface="Arial"/>
              </a:rPr>
              <a:t>Comparison</a:t>
            </a:r>
            <a:r>
              <a:rPr lang="de-DE" sz="1600">
                <a:cs typeface="Arial"/>
              </a:rPr>
              <a:t> </a:t>
            </a:r>
            <a:r>
              <a:rPr lang="de-DE" sz="1600" err="1">
                <a:cs typeface="Arial"/>
              </a:rPr>
              <a:t>of</a:t>
            </a:r>
            <a:r>
              <a:rPr lang="de-DE" sz="1600">
                <a:cs typeface="Arial"/>
              </a:rPr>
              <a:t> </a:t>
            </a:r>
            <a:r>
              <a:rPr lang="de-DE" sz="1600" err="1">
                <a:cs typeface="Arial"/>
              </a:rPr>
              <a:t>evaluation</a:t>
            </a:r>
            <a:r>
              <a:rPr lang="de-DE" sz="1600">
                <a:cs typeface="Arial"/>
              </a:rPr>
              <a:t> </a:t>
            </a:r>
            <a:r>
              <a:rPr lang="de-DE" sz="1600" err="1">
                <a:cs typeface="Arial"/>
              </a:rPr>
              <a:t>results</a:t>
            </a:r>
            <a:r>
              <a:rPr lang="de-DE" sz="1600">
                <a:cs typeface="Arial"/>
              </a:rPr>
              <a:t> on </a:t>
            </a:r>
            <a:r>
              <a:rPr lang="de-DE" sz="1600" err="1">
                <a:cs typeface="Arial"/>
              </a:rPr>
              <a:t>three</a:t>
            </a:r>
            <a:r>
              <a:rPr lang="de-DE" sz="1600">
                <a:cs typeface="Arial"/>
              </a:rPr>
              <a:t> </a:t>
            </a:r>
            <a:r>
              <a:rPr lang="de-DE" sz="1600" err="1">
                <a:cs typeface="Arial"/>
              </a:rPr>
              <a:t>techniques</a:t>
            </a:r>
            <a:endParaRPr lang="en-GB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B8F61A57-2A71-9425-22C2-8122C49DDC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7467128"/>
              </p:ext>
            </p:extLst>
          </p:nvPr>
        </p:nvGraphicFramePr>
        <p:xfrm>
          <a:off x="153386" y="1721093"/>
          <a:ext cx="6709053" cy="4545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673BA53C-6B4A-B4E6-BED7-0EED73263DB3}"/>
              </a:ext>
            </a:extLst>
          </p:cNvPr>
          <p:cNvSpPr txBox="1"/>
          <p:nvPr/>
        </p:nvSpPr>
        <p:spPr>
          <a:xfrm>
            <a:off x="6996097" y="1719918"/>
            <a:ext cx="5042517" cy="2417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en-US" b="1" dirty="0">
                <a:solidFill>
                  <a:srgbClr val="971B2F"/>
                </a:solidFill>
                <a:effectLst/>
                <a:latin typeface="+mj-lt"/>
                <a:ea typeface="Times New Roman" panose="02020603050405020304" pitchFamily="18" charset="0"/>
              </a:rPr>
              <a:t>Observation 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AutoNum type="arabicPeriod"/>
              <a:tabLst/>
            </a:pPr>
            <a:r>
              <a:rPr lang="en-US" dirty="0">
                <a:latin typeface="+mj-lt"/>
                <a:ea typeface="Times New Roman" panose="02020603050405020304" pitchFamily="18" charset="0"/>
              </a:rPr>
              <a:t>B</a:t>
            </a:r>
            <a:r>
              <a:rPr lang="en-US" sz="1800" dirty="0">
                <a:effectLst/>
                <a:latin typeface="+mj-lt"/>
                <a:ea typeface="Times New Roman" panose="02020603050405020304" pitchFamily="18" charset="0"/>
              </a:rPr>
              <a:t>inary and multi-class classifier are in general better than anomaly detection model. 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AutoNum type="arabicPeriod"/>
              <a:tabLst/>
            </a:pPr>
            <a:r>
              <a:rPr lang="en-US" sz="1800" dirty="0">
                <a:effectLst/>
                <a:latin typeface="+mj-lt"/>
                <a:ea typeface="Times New Roman" panose="02020603050405020304" pitchFamily="18" charset="0"/>
              </a:rPr>
              <a:t>Among binary classifier and multi-class classifier, hand-crafted models generally perform worse than models with transfer learning. </a:t>
            </a:r>
            <a:endParaRPr lang="en-US" sz="16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CE80654-7598-A8B3-BE28-748BE9DCEB75}"/>
              </a:ext>
            </a:extLst>
          </p:cNvPr>
          <p:cNvSpPr txBox="1"/>
          <p:nvPr/>
        </p:nvSpPr>
        <p:spPr>
          <a:xfrm>
            <a:off x="6996097" y="4333697"/>
            <a:ext cx="5042517" cy="5858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sz="1800" b="1" dirty="0">
                <a:solidFill>
                  <a:srgbClr val="971B2F"/>
                </a:solidFill>
                <a:effectLst/>
                <a:latin typeface="+mj-lt"/>
                <a:ea typeface="Times New Roman" panose="02020603050405020304" pitchFamily="18" charset="0"/>
              </a:rPr>
              <a:t>We chose pre-trained binary classification models for deployment.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971B2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1827BBB-FB24-8B6B-5531-9F7AA8DDA399}"/>
              </a:ext>
            </a:extLst>
          </p:cNvPr>
          <p:cNvSpPr txBox="1"/>
          <p:nvPr/>
        </p:nvSpPr>
        <p:spPr>
          <a:xfrm>
            <a:off x="6996098" y="5116205"/>
            <a:ext cx="4918812" cy="1044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800" dirty="0">
                <a:effectLst/>
                <a:latin typeface="+mj-lt"/>
                <a:ea typeface="Times New Roman" panose="02020603050405020304" pitchFamily="18" charset="0"/>
              </a:rPr>
              <a:t>Binary classifier </a:t>
            </a:r>
            <a:r>
              <a:rPr lang="en-US" dirty="0">
                <a:latin typeface="+mj-lt"/>
              </a:rPr>
              <a:t>performs well on every component</a:t>
            </a:r>
          </a:p>
          <a:p>
            <a: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dirty="0">
                <a:latin typeface="+mj-lt"/>
              </a:rPr>
              <a:t>Easier to implement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C6FF346-6ACB-7115-8002-FA4638630620}"/>
              </a:ext>
            </a:extLst>
          </p:cNvPr>
          <p:cNvSpPr txBox="1"/>
          <p:nvPr/>
        </p:nvSpPr>
        <p:spPr>
          <a:xfrm>
            <a:off x="5753100" y="3987755"/>
            <a:ext cx="209550" cy="187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ACABDD-61DD-8432-9F9F-F9A00EC529E5}"/>
              </a:ext>
            </a:extLst>
          </p:cNvPr>
          <p:cNvSpPr txBox="1"/>
          <p:nvPr/>
        </p:nvSpPr>
        <p:spPr>
          <a:xfrm>
            <a:off x="3609975" y="3511505"/>
            <a:ext cx="209550" cy="187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14300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03AEB1A7-4A22-4EA3-B891-8CE774B86F7E}"/>
              </a:ext>
            </a:extLst>
          </p:cNvPr>
          <p:cNvSpPr/>
          <p:nvPr/>
        </p:nvSpPr>
        <p:spPr>
          <a:xfrm>
            <a:off x="2412200" y="3960227"/>
            <a:ext cx="7178955" cy="2229575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620F3424-E32B-4DE8-BF4D-4918B7628D43}"/>
              </a:ext>
            </a:extLst>
          </p:cNvPr>
          <p:cNvSpPr/>
          <p:nvPr/>
        </p:nvSpPr>
        <p:spPr>
          <a:xfrm>
            <a:off x="2412199" y="1986342"/>
            <a:ext cx="7151982" cy="1808238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1CC6A956-A954-4940-A619-381D56C1A856}"/>
              </a:ext>
            </a:extLst>
          </p:cNvPr>
          <p:cNvSpPr txBox="1"/>
          <p:nvPr/>
        </p:nvSpPr>
        <p:spPr>
          <a:xfrm>
            <a:off x="2530117" y="2125676"/>
            <a:ext cx="1779654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Framework ?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2FADCE3-E850-4784-8F2E-D7BF01E4852E}"/>
              </a:ext>
            </a:extLst>
          </p:cNvPr>
          <p:cNvSpPr txBox="1"/>
          <p:nvPr/>
        </p:nvSpPr>
        <p:spPr>
          <a:xfrm>
            <a:off x="2530117" y="2527392"/>
            <a:ext cx="5658030" cy="11546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>
                <a:cs typeface="Arial"/>
              </a:rPr>
              <a:t>Best and most efficient</a:t>
            </a:r>
            <a:endParaRPr lang="fr-FR">
              <a:cs typeface="Arial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>
                <a:ea typeface="Times New Roman" panose="02020603050405020304" pitchFamily="18" charset="0"/>
                <a:cs typeface="Arial"/>
              </a:rPr>
              <a:t>Easy to code and to implement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>
                <a:cs typeface="Arial"/>
              </a:rPr>
              <a:t>Supports use of advanced AI Models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9C574363-8D56-4907-88DB-F19E396AEB20}"/>
              </a:ext>
            </a:extLst>
          </p:cNvPr>
          <p:cNvSpPr txBox="1"/>
          <p:nvPr/>
        </p:nvSpPr>
        <p:spPr>
          <a:xfrm>
            <a:off x="2572503" y="4101437"/>
            <a:ext cx="3918269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de-DE" altLang="zh-CN" sz="2000" b="1" err="1">
                <a:solidFill>
                  <a:srgbClr val="04316A"/>
                </a:solidFill>
                <a:latin typeface="+mj-lt"/>
              </a:rPr>
              <a:t>Structure</a:t>
            </a:r>
            <a:r>
              <a:rPr lang="de-DE" altLang="zh-CN" sz="2000" b="1">
                <a:solidFill>
                  <a:srgbClr val="04316A"/>
                </a:solidFill>
                <a:latin typeface="+mj-lt"/>
              </a:rPr>
              <a:t> / Architecture ?</a:t>
            </a:r>
            <a:endParaRPr lang="fr-FR" altLang="zh-CN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2AD08722-C387-44A0-8955-313CD959C971}"/>
              </a:ext>
            </a:extLst>
          </p:cNvPr>
          <p:cNvSpPr txBox="1"/>
          <p:nvPr/>
        </p:nvSpPr>
        <p:spPr>
          <a:xfrm>
            <a:off x="2579818" y="4500959"/>
            <a:ext cx="6797657" cy="18933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>
                <a:cs typeface="Arial"/>
              </a:rPr>
              <a:t>What and how to show ?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>
                <a:cs typeface="Arial"/>
              </a:rPr>
              <a:t>Focus on AI Models implementation or UI 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>
                <a:cs typeface="Arial"/>
              </a:rPr>
              <a:t>Follow code structu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>
                <a:cs typeface="Arial"/>
              </a:rPr>
              <a:t>Local deployment firs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1600">
              <a:cs typeface="Arial"/>
            </a:endParaRPr>
          </a:p>
        </p:txBody>
      </p:sp>
      <p:sp>
        <p:nvSpPr>
          <p:cNvPr id="9" name="Title 35">
            <a:extLst>
              <a:ext uri="{FF2B5EF4-FFF2-40B4-BE49-F238E27FC236}">
                <a16:creationId xmlns:a16="http://schemas.microsoft.com/office/drawing/2014/main" id="{06E69EF6-5F75-EF00-A656-2EF79BFF6CB7}"/>
              </a:ext>
            </a:extLst>
          </p:cNvPr>
          <p:cNvSpPr txBox="1">
            <a:spLocks/>
          </p:cNvSpPr>
          <p:nvPr/>
        </p:nvSpPr>
        <p:spPr>
          <a:xfrm>
            <a:off x="518318" y="382105"/>
            <a:ext cx="6844385" cy="332399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41E4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err="1">
                <a:cs typeface="Arial"/>
              </a:rPr>
              <a:t>Deployment</a:t>
            </a:r>
            <a:r>
              <a:rPr lang="de-DE">
                <a:cs typeface="Arial"/>
              </a:rPr>
              <a:t> – The </a:t>
            </a:r>
            <a:r>
              <a:rPr lang="de-DE" err="1">
                <a:cs typeface="Arial"/>
              </a:rPr>
              <a:t>Application</a:t>
            </a:r>
            <a:endParaRPr lang="de-DE"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600814F-C5FB-A5A6-C7E7-672B5C1EA70C}"/>
              </a:ext>
            </a:extLst>
          </p:cNvPr>
          <p:cNvSpPr txBox="1"/>
          <p:nvPr/>
        </p:nvSpPr>
        <p:spPr>
          <a:xfrm>
            <a:off x="905928" y="1460155"/>
            <a:ext cx="8864373" cy="312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2000" b="1" dirty="0">
                <a:solidFill>
                  <a:srgbClr val="971B2F"/>
                </a:solidFill>
                <a:latin typeface="+mj-lt"/>
              </a:rPr>
              <a:t>Goal: Create a </a:t>
            </a:r>
            <a:r>
              <a:rPr lang="de-DE" sz="2000" b="1" dirty="0" err="1">
                <a:solidFill>
                  <a:srgbClr val="971B2F"/>
                </a:solidFill>
                <a:latin typeface="+mj-lt"/>
              </a:rPr>
              <a:t>dashboard</a:t>
            </a:r>
            <a:r>
              <a:rPr lang="de-DE" sz="2000" b="1" dirty="0">
                <a:solidFill>
                  <a:srgbClr val="971B2F"/>
                </a:solidFill>
                <a:latin typeface="+mj-lt"/>
              </a:rPr>
              <a:t>/</a:t>
            </a:r>
            <a:r>
              <a:rPr lang="de-DE" sz="2000" b="1" dirty="0" err="1">
                <a:solidFill>
                  <a:srgbClr val="971B2F"/>
                </a:solidFill>
                <a:latin typeface="+mj-lt"/>
              </a:rPr>
              <a:t>frontend</a:t>
            </a:r>
            <a:r>
              <a:rPr lang="de-DE" sz="2000" b="1" dirty="0">
                <a:solidFill>
                  <a:srgbClr val="971B2F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971B2F"/>
                </a:solidFill>
                <a:latin typeface="+mj-lt"/>
              </a:rPr>
              <a:t>for</a:t>
            </a:r>
            <a:r>
              <a:rPr lang="de-DE" sz="2000" b="1" dirty="0">
                <a:solidFill>
                  <a:srgbClr val="971B2F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971B2F"/>
                </a:solidFill>
                <a:latin typeface="+mj-lt"/>
              </a:rPr>
              <a:t>the</a:t>
            </a:r>
            <a:r>
              <a:rPr lang="de-DE" sz="2000" b="1" dirty="0">
                <a:solidFill>
                  <a:srgbClr val="971B2F"/>
                </a:solidFill>
                <a:latin typeface="+mj-lt"/>
              </a:rPr>
              <a:t> end </a:t>
            </a:r>
            <a:r>
              <a:rPr lang="de-DE" sz="2000" b="1" dirty="0" err="1">
                <a:solidFill>
                  <a:srgbClr val="971B2F"/>
                </a:solidFill>
                <a:latin typeface="+mj-lt"/>
              </a:rPr>
              <a:t>user</a:t>
            </a:r>
            <a:endParaRPr lang="en-GB" sz="2000" b="1" dirty="0">
              <a:solidFill>
                <a:srgbClr val="971B2F"/>
              </a:solidFill>
              <a:latin typeface="+mj-lt"/>
            </a:endParaRPr>
          </a:p>
        </p:txBody>
      </p:sp>
      <p:pic>
        <p:nvPicPr>
          <p:cNvPr id="3" name="Image 4">
            <a:extLst>
              <a:ext uri="{FF2B5EF4-FFF2-40B4-BE49-F238E27FC236}">
                <a16:creationId xmlns:a16="http://schemas.microsoft.com/office/drawing/2014/main" id="{5A57FD55-50E3-298C-5E56-BEC300A26A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96006" y="2146422"/>
            <a:ext cx="1522653" cy="627056"/>
          </a:xfrm>
          <a:prstGeom prst="rect">
            <a:avLst/>
          </a:prstGeom>
        </p:spPr>
      </p:pic>
      <p:pic>
        <p:nvPicPr>
          <p:cNvPr id="8" name="Image 2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AD89D024-B5B8-B0D7-A68D-D35740CCA1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2748" y="3019564"/>
            <a:ext cx="1515911" cy="635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5252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: 圆角 3">
            <a:extLst>
              <a:ext uri="{FF2B5EF4-FFF2-40B4-BE49-F238E27FC236}">
                <a16:creationId xmlns:a16="http://schemas.microsoft.com/office/drawing/2014/main" id="{620F3424-E32B-4DE8-BF4D-4918B7628D43}"/>
              </a:ext>
            </a:extLst>
          </p:cNvPr>
          <p:cNvSpPr/>
          <p:nvPr/>
        </p:nvSpPr>
        <p:spPr>
          <a:xfrm>
            <a:off x="3483873" y="1407997"/>
            <a:ext cx="7286850" cy="4047034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Roboto"/>
            </a:endParaRPr>
          </a:p>
        </p:txBody>
      </p:sp>
      <p:sp>
        <p:nvSpPr>
          <p:cNvPr id="9" name="Title 35">
            <a:extLst>
              <a:ext uri="{FF2B5EF4-FFF2-40B4-BE49-F238E27FC236}">
                <a16:creationId xmlns:a16="http://schemas.microsoft.com/office/drawing/2014/main" id="{06E69EF6-5F75-EF00-A656-2EF79BFF6CB7}"/>
              </a:ext>
            </a:extLst>
          </p:cNvPr>
          <p:cNvSpPr txBox="1">
            <a:spLocks/>
          </p:cNvSpPr>
          <p:nvPr/>
        </p:nvSpPr>
        <p:spPr>
          <a:xfrm>
            <a:off x="518318" y="382105"/>
            <a:ext cx="6844385" cy="332399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41E4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err="1">
                <a:cs typeface="Arial"/>
              </a:rPr>
              <a:t>Deployment</a:t>
            </a:r>
            <a:r>
              <a:rPr lang="de-DE">
                <a:cs typeface="Arial"/>
              </a:rPr>
              <a:t> – The </a:t>
            </a:r>
            <a:r>
              <a:rPr lang="de-DE" err="1">
                <a:cs typeface="Arial"/>
              </a:rPr>
              <a:t>Application</a:t>
            </a:r>
            <a:endParaRPr lang="de-DE">
              <a:cs typeface="Arial"/>
            </a:endParaRPr>
          </a:p>
        </p:txBody>
      </p:sp>
      <p:pic>
        <p:nvPicPr>
          <p:cNvPr id="2" name="Image 2">
            <a:extLst>
              <a:ext uri="{FF2B5EF4-FFF2-40B4-BE49-F238E27FC236}">
                <a16:creationId xmlns:a16="http://schemas.microsoft.com/office/drawing/2014/main" id="{77CC2142-FC2C-FC1D-4AC0-F7979B935E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9656" y="2959547"/>
            <a:ext cx="2203733" cy="938905"/>
          </a:xfrm>
          <a:prstGeom prst="rect">
            <a:avLst/>
          </a:prstGeom>
        </p:spPr>
      </p:pic>
      <p:pic>
        <p:nvPicPr>
          <p:cNvPr id="7" name="Image 7" descr="Une image contenant table&#10;&#10;Description générée automatiquement">
            <a:extLst>
              <a:ext uri="{FF2B5EF4-FFF2-40B4-BE49-F238E27FC236}">
                <a16:creationId xmlns:a16="http://schemas.microsoft.com/office/drawing/2014/main" id="{EE30FE4F-16B7-76CA-10FD-4F7C53E72A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90159" y="1586414"/>
            <a:ext cx="6876881" cy="3816897"/>
          </a:xfrm>
          <a:prstGeom prst="rect">
            <a:avLst/>
          </a:prstGeom>
        </p:spPr>
      </p:pic>
      <p:sp>
        <p:nvSpPr>
          <p:cNvPr id="17" name="Ellipse 16">
            <a:extLst>
              <a:ext uri="{FF2B5EF4-FFF2-40B4-BE49-F238E27FC236}">
                <a16:creationId xmlns:a16="http://schemas.microsoft.com/office/drawing/2014/main" id="{CBEBDCED-160C-6764-A734-CE0BC681A657}"/>
              </a:ext>
            </a:extLst>
          </p:cNvPr>
          <p:cNvSpPr/>
          <p:nvPr/>
        </p:nvSpPr>
        <p:spPr>
          <a:xfrm>
            <a:off x="4178378" y="1785557"/>
            <a:ext cx="1723605" cy="469338"/>
          </a:xfrm>
          <a:prstGeom prst="ellipse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D08526C1-4DC4-7D21-8945-9DB79ECCF726}"/>
              </a:ext>
            </a:extLst>
          </p:cNvPr>
          <p:cNvSpPr/>
          <p:nvPr/>
        </p:nvSpPr>
        <p:spPr>
          <a:xfrm>
            <a:off x="3870212" y="2911879"/>
            <a:ext cx="2310277" cy="577230"/>
          </a:xfrm>
          <a:prstGeom prst="ellipse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CD2A4861-A038-DDAB-6BD4-982887D46406}"/>
              </a:ext>
            </a:extLst>
          </p:cNvPr>
          <p:cNvSpPr/>
          <p:nvPr/>
        </p:nvSpPr>
        <p:spPr>
          <a:xfrm>
            <a:off x="4210722" y="2589806"/>
            <a:ext cx="1723605" cy="320985"/>
          </a:xfrm>
          <a:prstGeom prst="ellipse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F57F5F39-F62A-E927-A20A-A374A7790920}"/>
              </a:ext>
            </a:extLst>
          </p:cNvPr>
          <p:cNvSpPr/>
          <p:nvPr/>
        </p:nvSpPr>
        <p:spPr>
          <a:xfrm>
            <a:off x="4181480" y="3939733"/>
            <a:ext cx="1723605" cy="469338"/>
          </a:xfrm>
          <a:prstGeom prst="ellipse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79DB46A5-A713-0488-01CC-3784547F001F}"/>
              </a:ext>
            </a:extLst>
          </p:cNvPr>
          <p:cNvSpPr/>
          <p:nvPr/>
        </p:nvSpPr>
        <p:spPr>
          <a:xfrm>
            <a:off x="4208455" y="4770539"/>
            <a:ext cx="1723605" cy="469338"/>
          </a:xfrm>
          <a:prstGeom prst="ellipse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3" name="Image 23" descr="Une image contenant texte&#10;&#10;Description générée automatiquement">
            <a:extLst>
              <a:ext uri="{FF2B5EF4-FFF2-40B4-BE49-F238E27FC236}">
                <a16:creationId xmlns:a16="http://schemas.microsoft.com/office/drawing/2014/main" id="{D3A044FB-9280-8E68-A1B7-CF8B8488CC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93382" y="5562237"/>
            <a:ext cx="6613891" cy="942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3392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03AEB1A7-4A22-4EA3-B891-8CE774B86F7E}"/>
              </a:ext>
            </a:extLst>
          </p:cNvPr>
          <p:cNvSpPr/>
          <p:nvPr/>
        </p:nvSpPr>
        <p:spPr>
          <a:xfrm>
            <a:off x="362218" y="3818616"/>
            <a:ext cx="7273363" cy="2229575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r>
              <a:rPr lang="zh-CN" altLang="en-US">
                <a:latin typeface="Roboto"/>
                <a:cs typeface="Roboto"/>
              </a:rPr>
              <a:t>e</a:t>
            </a:r>
            <a:endParaRPr lang="fr-FR" altLang="zh-CN">
              <a:cs typeface="+mn-cs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620F3424-E32B-4DE8-BF4D-4918B7628D43}"/>
              </a:ext>
            </a:extLst>
          </p:cNvPr>
          <p:cNvSpPr/>
          <p:nvPr/>
        </p:nvSpPr>
        <p:spPr>
          <a:xfrm>
            <a:off x="429651" y="1811015"/>
            <a:ext cx="7151982" cy="1808238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1CC6A956-A954-4940-A619-381D56C1A856}"/>
              </a:ext>
            </a:extLst>
          </p:cNvPr>
          <p:cNvSpPr txBox="1"/>
          <p:nvPr/>
        </p:nvSpPr>
        <p:spPr>
          <a:xfrm>
            <a:off x="3049356" y="2510047"/>
            <a:ext cx="1324402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Structure</a:t>
            </a:r>
          </a:p>
        </p:txBody>
      </p:sp>
      <p:sp>
        <p:nvSpPr>
          <p:cNvPr id="9" name="Title 35">
            <a:extLst>
              <a:ext uri="{FF2B5EF4-FFF2-40B4-BE49-F238E27FC236}">
                <a16:creationId xmlns:a16="http://schemas.microsoft.com/office/drawing/2014/main" id="{06E69EF6-5F75-EF00-A656-2EF79BFF6CB7}"/>
              </a:ext>
            </a:extLst>
          </p:cNvPr>
          <p:cNvSpPr txBox="1">
            <a:spLocks/>
          </p:cNvSpPr>
          <p:nvPr/>
        </p:nvSpPr>
        <p:spPr>
          <a:xfrm>
            <a:off x="518318" y="382105"/>
            <a:ext cx="6844385" cy="332399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41E4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err="1">
                <a:cs typeface="Arial"/>
              </a:rPr>
              <a:t>Deployment</a:t>
            </a:r>
            <a:r>
              <a:rPr lang="de-DE">
                <a:cs typeface="Arial"/>
              </a:rPr>
              <a:t> – The </a:t>
            </a:r>
            <a:r>
              <a:rPr lang="de-DE" err="1">
                <a:cs typeface="Arial"/>
              </a:rPr>
              <a:t>Application</a:t>
            </a:r>
            <a:endParaRPr lang="de-DE">
              <a:cs typeface="Arial"/>
            </a:endParaRPr>
          </a:p>
        </p:txBody>
      </p:sp>
      <p:sp>
        <p:nvSpPr>
          <p:cNvPr id="8" name="文本框 6">
            <a:extLst>
              <a:ext uri="{FF2B5EF4-FFF2-40B4-BE49-F238E27FC236}">
                <a16:creationId xmlns:a16="http://schemas.microsoft.com/office/drawing/2014/main" id="{5B21E990-A9C2-D829-9CA9-19830AD45666}"/>
              </a:ext>
            </a:extLst>
          </p:cNvPr>
          <p:cNvSpPr txBox="1"/>
          <p:nvPr/>
        </p:nvSpPr>
        <p:spPr>
          <a:xfrm>
            <a:off x="884736" y="3963728"/>
            <a:ext cx="5658030" cy="226267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ctr">
              <a:lnSpc>
                <a:spcPct val="150000"/>
              </a:lnSpc>
              <a:buFont typeface="Arial"/>
              <a:buChar char="•"/>
            </a:pPr>
            <a:r>
              <a:rPr lang="en-US" sz="1600" dirty="0">
                <a:cs typeface="Arial"/>
              </a:rPr>
              <a:t>Linear structure</a:t>
            </a:r>
            <a:endParaRPr lang="fr-FR" dirty="0"/>
          </a:p>
          <a:p>
            <a:pPr marL="285750" indent="-285750" algn="ctr">
              <a:lnSpc>
                <a:spcPct val="150000"/>
              </a:lnSpc>
              <a:buFont typeface="Arial"/>
              <a:buChar char="•"/>
            </a:pPr>
            <a:r>
              <a:rPr lang="en-US" sz="1600" dirty="0">
                <a:cs typeface="Arial"/>
              </a:rPr>
              <a:t>Top-down logic</a:t>
            </a:r>
          </a:p>
          <a:p>
            <a:pPr marL="285750" indent="-285750" algn="ctr">
              <a:lnSpc>
                <a:spcPct val="150000"/>
              </a:lnSpc>
              <a:buFont typeface="Arial"/>
              <a:buChar char="•"/>
            </a:pPr>
            <a:r>
              <a:rPr lang="en-US" sz="1600" dirty="0">
                <a:cs typeface="Arial"/>
              </a:rPr>
              <a:t>Following the workflow of project</a:t>
            </a:r>
          </a:p>
          <a:p>
            <a:pPr marL="285750" indent="-285750" algn="ctr">
              <a:lnSpc>
                <a:spcPct val="150000"/>
              </a:lnSpc>
              <a:buFont typeface="Arial"/>
              <a:buChar char="•"/>
            </a:pPr>
            <a:r>
              <a:rPr lang="en-US" sz="1600" dirty="0">
                <a:cs typeface="Arial"/>
              </a:rPr>
              <a:t>Code easy to implement</a:t>
            </a:r>
          </a:p>
          <a:p>
            <a:pPr marL="285750" indent="-285750" algn="ctr">
              <a:lnSpc>
                <a:spcPct val="150000"/>
              </a:lnSpc>
              <a:buFont typeface="Arial"/>
              <a:buChar char="•"/>
            </a:pPr>
            <a:r>
              <a:rPr lang="en-US" sz="1600" dirty="0">
                <a:cs typeface="Arial"/>
              </a:rPr>
              <a:t>Relevant information communicated</a:t>
            </a:r>
          </a:p>
          <a:p>
            <a:pPr marL="285750" indent="-285750" algn="ctr">
              <a:lnSpc>
                <a:spcPct val="150000"/>
              </a:lnSpc>
              <a:buFont typeface="Arial"/>
              <a:buChar char="•"/>
            </a:pPr>
            <a:endParaRPr lang="en-US" sz="1600" dirty="0">
              <a:cs typeface="Arial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2EAF70E9-9520-C359-3F14-F7FA04BB93BF}"/>
              </a:ext>
            </a:extLst>
          </p:cNvPr>
          <p:cNvSpPr txBox="1"/>
          <p:nvPr/>
        </p:nvSpPr>
        <p:spPr>
          <a:xfrm>
            <a:off x="8193184" y="2023008"/>
            <a:ext cx="3439115" cy="24981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0000"/>
              </a:lnSpc>
              <a:spcAft>
                <a:spcPts val="1200"/>
              </a:spcAft>
            </a:pPr>
            <a:r>
              <a:rPr lang="fr-FR" sz="1600" i="1">
                <a:cs typeface="Arial"/>
              </a:rPr>
              <a:t>Upload box image (</a:t>
            </a:r>
            <a:r>
              <a:rPr lang="fr-FR" sz="1600" i="1" err="1">
                <a:cs typeface="Arial"/>
              </a:rPr>
              <a:t>Step</a:t>
            </a:r>
            <a:r>
              <a:rPr lang="fr-FR" sz="1600" i="1">
                <a:cs typeface="Arial"/>
              </a:rPr>
              <a:t> 1)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EC364AED-479C-F7DA-9EF9-4B90512195B1}"/>
              </a:ext>
            </a:extLst>
          </p:cNvPr>
          <p:cNvSpPr txBox="1"/>
          <p:nvPr/>
        </p:nvSpPr>
        <p:spPr>
          <a:xfrm>
            <a:off x="7943680" y="2994052"/>
            <a:ext cx="4118852" cy="52065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0000"/>
              </a:lnSpc>
              <a:spcAft>
                <a:spcPts val="1200"/>
              </a:spcAft>
            </a:pPr>
            <a:r>
              <a:rPr lang="fr-FR" sz="1600" i="1" dirty="0">
                <a:latin typeface="Arial"/>
                <a:cs typeface="Arial"/>
              </a:rPr>
              <a:t>Box classification (Allen-Bradley or </a:t>
            </a:r>
            <a:r>
              <a:rPr lang="fr-FR" sz="1600" i="1" dirty="0" err="1">
                <a:latin typeface="Arial"/>
                <a:cs typeface="Arial"/>
              </a:rPr>
              <a:t>Kontron</a:t>
            </a:r>
            <a:r>
              <a:rPr lang="fr-FR" sz="1600" i="1" dirty="0">
                <a:latin typeface="Arial"/>
                <a:cs typeface="Arial"/>
              </a:rPr>
              <a:t>) </a:t>
            </a:r>
            <a:r>
              <a:rPr lang="fr-FR" sz="1600" i="1" dirty="0">
                <a:ea typeface="+mn-lt"/>
                <a:cs typeface="+mn-lt"/>
              </a:rPr>
              <a:t>(</a:t>
            </a:r>
            <a:r>
              <a:rPr lang="fr-FR" sz="1600" i="1" dirty="0" err="1">
                <a:ea typeface="+mn-lt"/>
                <a:cs typeface="+mn-lt"/>
              </a:rPr>
              <a:t>Step</a:t>
            </a:r>
            <a:r>
              <a:rPr lang="fr-FR" sz="1600" i="1" dirty="0">
                <a:ea typeface="+mn-lt"/>
                <a:cs typeface="+mn-lt"/>
              </a:rPr>
              <a:t> 2)</a:t>
            </a:r>
            <a:endParaRPr lang="fr-FR" sz="1600" i="1" dirty="0">
              <a:latin typeface="Arial"/>
              <a:cs typeface="Arial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4012948-F49E-52CB-1B35-38C5377A581C}"/>
              </a:ext>
            </a:extLst>
          </p:cNvPr>
          <p:cNvSpPr txBox="1"/>
          <p:nvPr/>
        </p:nvSpPr>
        <p:spPr>
          <a:xfrm>
            <a:off x="8193184" y="3965096"/>
            <a:ext cx="3439115" cy="7914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0000"/>
              </a:lnSpc>
              <a:spcAft>
                <a:spcPts val="1200"/>
              </a:spcAft>
            </a:pPr>
            <a:r>
              <a:rPr lang="fr-FR" sz="1600" i="1" dirty="0">
                <a:cs typeface="Arial"/>
              </a:rPr>
              <a:t>Box </a:t>
            </a:r>
            <a:r>
              <a:rPr lang="fr-FR" sz="1600" i="1" dirty="0" err="1">
                <a:cs typeface="Arial"/>
              </a:rPr>
              <a:t>localization</a:t>
            </a:r>
            <a:r>
              <a:rPr lang="fr-FR" sz="1600" i="1" dirty="0">
                <a:cs typeface="Arial"/>
              </a:rPr>
              <a:t> and image </a:t>
            </a:r>
            <a:r>
              <a:rPr lang="fr-FR" sz="1600" i="1" dirty="0" err="1">
                <a:cs typeface="Arial"/>
              </a:rPr>
              <a:t>cropping</a:t>
            </a:r>
            <a:r>
              <a:rPr lang="fr-FR" sz="1600" i="1" dirty="0">
                <a:cs typeface="Arial"/>
              </a:rPr>
              <a:t> </a:t>
            </a:r>
            <a:r>
              <a:rPr lang="fr-FR" sz="1600" i="1" dirty="0" err="1">
                <a:cs typeface="Arial"/>
              </a:rPr>
              <a:t>with</a:t>
            </a:r>
            <a:r>
              <a:rPr lang="fr-FR" sz="1600" i="1" dirty="0">
                <a:cs typeface="Arial"/>
              </a:rPr>
              <a:t> </a:t>
            </a:r>
            <a:r>
              <a:rPr lang="fr-FR" sz="1600" i="1" dirty="0" err="1">
                <a:cs typeface="Arial"/>
              </a:rPr>
              <a:t>bounding</a:t>
            </a:r>
            <a:r>
              <a:rPr lang="fr-FR" sz="1600" i="1" dirty="0">
                <a:cs typeface="Arial"/>
              </a:rPr>
              <a:t> box and </a:t>
            </a:r>
            <a:r>
              <a:rPr lang="fr-FR" sz="1600" i="1" dirty="0" err="1">
                <a:cs typeface="Arial"/>
              </a:rPr>
              <a:t>alignment</a:t>
            </a:r>
            <a:r>
              <a:rPr lang="fr-FR" sz="1600" i="1" dirty="0">
                <a:cs typeface="Arial"/>
              </a:rPr>
              <a:t> </a:t>
            </a:r>
            <a:r>
              <a:rPr lang="fr-FR" sz="1600" i="1" dirty="0">
                <a:ea typeface="+mn-lt"/>
                <a:cs typeface="+mn-lt"/>
              </a:rPr>
              <a:t>(</a:t>
            </a:r>
            <a:r>
              <a:rPr lang="fr-FR" sz="1600" i="1" dirty="0" err="1">
                <a:ea typeface="+mn-lt"/>
                <a:cs typeface="+mn-lt"/>
              </a:rPr>
              <a:t>Step</a:t>
            </a:r>
            <a:r>
              <a:rPr lang="fr-FR" sz="1600" i="1" dirty="0">
                <a:ea typeface="+mn-lt"/>
                <a:cs typeface="+mn-lt"/>
              </a:rPr>
              <a:t> 3)</a:t>
            </a:r>
            <a:endParaRPr lang="fr-FR" sz="1600" i="1" dirty="0">
              <a:cs typeface="Arial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A6F146E-E2F5-F43C-C605-758F11CDD892}"/>
              </a:ext>
            </a:extLst>
          </p:cNvPr>
          <p:cNvSpPr txBox="1"/>
          <p:nvPr/>
        </p:nvSpPr>
        <p:spPr>
          <a:xfrm>
            <a:off x="8193184" y="5226105"/>
            <a:ext cx="3439115" cy="52065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0000"/>
              </a:lnSpc>
              <a:spcAft>
                <a:spcPts val="1200"/>
              </a:spcAft>
            </a:pPr>
            <a:r>
              <a:rPr lang="fr-FR" sz="1600" i="1" err="1">
                <a:cs typeface="Arial"/>
              </a:rPr>
              <a:t>Perform</a:t>
            </a:r>
            <a:r>
              <a:rPr lang="fr-FR" sz="1600" i="1">
                <a:cs typeface="Arial"/>
              </a:rPr>
              <a:t> classification of hardware components </a:t>
            </a:r>
            <a:r>
              <a:rPr lang="fr-FR" sz="1600" i="1">
                <a:ea typeface="+mn-lt"/>
                <a:cs typeface="+mn-lt"/>
              </a:rPr>
              <a:t>(</a:t>
            </a:r>
            <a:r>
              <a:rPr lang="fr-FR" sz="1600" i="1" err="1">
                <a:ea typeface="+mn-lt"/>
                <a:cs typeface="+mn-lt"/>
              </a:rPr>
              <a:t>Step</a:t>
            </a:r>
            <a:r>
              <a:rPr lang="fr-FR" sz="1600" i="1">
                <a:ea typeface="+mn-lt"/>
                <a:cs typeface="+mn-lt"/>
              </a:rPr>
              <a:t> 4)</a:t>
            </a:r>
            <a:endParaRPr lang="fr-FR"/>
          </a:p>
        </p:txBody>
      </p:sp>
      <p:cxnSp>
        <p:nvCxnSpPr>
          <p:cNvPr id="14" name="Connecteur droit avec flèche 13">
            <a:extLst>
              <a:ext uri="{FF2B5EF4-FFF2-40B4-BE49-F238E27FC236}">
                <a16:creationId xmlns:a16="http://schemas.microsoft.com/office/drawing/2014/main" id="{6BECFF38-CF1E-59B7-9376-85C8A4A69B4E}"/>
              </a:ext>
            </a:extLst>
          </p:cNvPr>
          <p:cNvCxnSpPr>
            <a:cxnSpLocks/>
          </p:cNvCxnSpPr>
          <p:nvPr/>
        </p:nvCxnSpPr>
        <p:spPr>
          <a:xfrm>
            <a:off x="9907347" y="2453824"/>
            <a:ext cx="10789" cy="388417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F6CF47A3-2A9A-0BE0-21AD-330CBE5AFC6F}"/>
              </a:ext>
            </a:extLst>
          </p:cNvPr>
          <p:cNvCxnSpPr>
            <a:cxnSpLocks/>
          </p:cNvCxnSpPr>
          <p:nvPr/>
        </p:nvCxnSpPr>
        <p:spPr>
          <a:xfrm>
            <a:off x="9907347" y="3575311"/>
            <a:ext cx="10789" cy="388417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F2ACEC68-6370-A589-54AA-AACBA02286C0}"/>
              </a:ext>
            </a:extLst>
          </p:cNvPr>
          <p:cNvCxnSpPr>
            <a:cxnSpLocks/>
          </p:cNvCxnSpPr>
          <p:nvPr/>
        </p:nvCxnSpPr>
        <p:spPr>
          <a:xfrm>
            <a:off x="9907347" y="4818567"/>
            <a:ext cx="10789" cy="388417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519883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: 圆角 3">
            <a:extLst>
              <a:ext uri="{FF2B5EF4-FFF2-40B4-BE49-F238E27FC236}">
                <a16:creationId xmlns:a16="http://schemas.microsoft.com/office/drawing/2014/main" id="{620F3424-E32B-4DE8-BF4D-4918B7628D43}"/>
              </a:ext>
            </a:extLst>
          </p:cNvPr>
          <p:cNvSpPr/>
          <p:nvPr/>
        </p:nvSpPr>
        <p:spPr>
          <a:xfrm>
            <a:off x="591492" y="1460360"/>
            <a:ext cx="4495098" cy="688840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1CC6A956-A954-4940-A619-381D56C1A856}"/>
              </a:ext>
            </a:extLst>
          </p:cNvPr>
          <p:cNvSpPr txBox="1"/>
          <p:nvPr/>
        </p:nvSpPr>
        <p:spPr>
          <a:xfrm>
            <a:off x="2361533" y="1599693"/>
            <a:ext cx="954107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Step 1</a:t>
            </a:r>
            <a:endParaRPr lang="fr-FR"/>
          </a:p>
        </p:txBody>
      </p:sp>
      <p:sp>
        <p:nvSpPr>
          <p:cNvPr id="9" name="Title 35">
            <a:extLst>
              <a:ext uri="{FF2B5EF4-FFF2-40B4-BE49-F238E27FC236}">
                <a16:creationId xmlns:a16="http://schemas.microsoft.com/office/drawing/2014/main" id="{06E69EF6-5F75-EF00-A656-2EF79BFF6CB7}"/>
              </a:ext>
            </a:extLst>
          </p:cNvPr>
          <p:cNvSpPr txBox="1">
            <a:spLocks/>
          </p:cNvSpPr>
          <p:nvPr/>
        </p:nvSpPr>
        <p:spPr>
          <a:xfrm>
            <a:off x="518318" y="382105"/>
            <a:ext cx="6844385" cy="332399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41E4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err="1">
                <a:cs typeface="Arial"/>
              </a:rPr>
              <a:t>Deployment</a:t>
            </a:r>
            <a:r>
              <a:rPr lang="de-DE">
                <a:cs typeface="Arial"/>
              </a:rPr>
              <a:t> – The </a:t>
            </a:r>
            <a:r>
              <a:rPr lang="de-DE" err="1">
                <a:cs typeface="Arial"/>
              </a:rPr>
              <a:t>Application</a:t>
            </a:r>
            <a:endParaRPr lang="de-DE">
              <a:cs typeface="Arial"/>
            </a:endParaRPr>
          </a:p>
        </p:txBody>
      </p:sp>
      <p:sp>
        <p:nvSpPr>
          <p:cNvPr id="5" name="矩形: 圆角 3">
            <a:extLst>
              <a:ext uri="{FF2B5EF4-FFF2-40B4-BE49-F238E27FC236}">
                <a16:creationId xmlns:a16="http://schemas.microsoft.com/office/drawing/2014/main" id="{A720BF9A-FE50-4909-582B-ED6559D81489}"/>
              </a:ext>
            </a:extLst>
          </p:cNvPr>
          <p:cNvSpPr/>
          <p:nvPr/>
        </p:nvSpPr>
        <p:spPr>
          <a:xfrm>
            <a:off x="588326" y="3684155"/>
            <a:ext cx="4495098" cy="688840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8" name="文本框 5">
            <a:extLst>
              <a:ext uri="{FF2B5EF4-FFF2-40B4-BE49-F238E27FC236}">
                <a16:creationId xmlns:a16="http://schemas.microsoft.com/office/drawing/2014/main" id="{35AF47B7-F754-1332-3D21-A7901BC7F746}"/>
              </a:ext>
            </a:extLst>
          </p:cNvPr>
          <p:cNvSpPr txBox="1"/>
          <p:nvPr/>
        </p:nvSpPr>
        <p:spPr>
          <a:xfrm>
            <a:off x="2303940" y="3831264"/>
            <a:ext cx="954107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Step 2</a:t>
            </a:r>
            <a:endParaRPr lang="fr-FR">
              <a:cs typeface="Arial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F3FBBC89-1B56-CB45-3651-454BE5BE00AD}"/>
              </a:ext>
            </a:extLst>
          </p:cNvPr>
          <p:cNvSpPr txBox="1"/>
          <p:nvPr/>
        </p:nvSpPr>
        <p:spPr>
          <a:xfrm>
            <a:off x="824204" y="2534816"/>
            <a:ext cx="2743199" cy="4571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18B7312-9E49-377E-6D95-00D0F5667CEE}"/>
              </a:ext>
            </a:extLst>
          </p:cNvPr>
          <p:cNvSpPr txBox="1"/>
          <p:nvPr/>
        </p:nvSpPr>
        <p:spPr>
          <a:xfrm>
            <a:off x="684244" y="2410270"/>
            <a:ext cx="4198775" cy="10992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>
                <a:latin typeface="Arial"/>
                <a:cs typeface="Arial"/>
              </a:rPr>
              <a:t>Box image </a:t>
            </a:r>
            <a:r>
              <a:rPr lang="fr-FR" sz="1600" err="1">
                <a:latin typeface="Arial"/>
                <a:cs typeface="Arial"/>
              </a:rPr>
              <a:t>upload</a:t>
            </a:r>
            <a:endParaRPr lang="fr-FR" sz="1600">
              <a:latin typeface="Arial"/>
              <a:cs typeface="Arial"/>
            </a:endParaRP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>
                <a:latin typeface="Arial"/>
                <a:cs typeface="Arial"/>
              </a:rPr>
              <a:t>Will </a:t>
            </a:r>
            <a:r>
              <a:rPr lang="fr-FR" sz="1600" err="1">
                <a:latin typeface="Arial"/>
                <a:cs typeface="Arial"/>
              </a:rPr>
              <a:t>be</a:t>
            </a:r>
            <a:r>
              <a:rPr lang="fr-FR" sz="1600">
                <a:latin typeface="Arial"/>
                <a:cs typeface="Arial"/>
              </a:rPr>
              <a:t> the Input for the </a:t>
            </a:r>
            <a:r>
              <a:rPr lang="fr-FR" sz="1600" err="1">
                <a:latin typeface="Arial"/>
                <a:cs typeface="Arial"/>
              </a:rPr>
              <a:t>next</a:t>
            </a:r>
            <a:r>
              <a:rPr lang="fr-FR" sz="1600">
                <a:latin typeface="Arial"/>
                <a:cs typeface="Arial"/>
              </a:rPr>
              <a:t> </a:t>
            </a:r>
            <a:r>
              <a:rPr lang="fr-FR" sz="1600" err="1">
                <a:latin typeface="Arial"/>
                <a:cs typeface="Arial"/>
              </a:rPr>
              <a:t>steps</a:t>
            </a:r>
            <a:endParaRPr lang="fr-FR" sz="1600">
              <a:latin typeface="Arial"/>
              <a:cs typeface="Arial"/>
            </a:endParaRP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err="1">
                <a:latin typeface="Arial"/>
                <a:cs typeface="Arial"/>
              </a:rPr>
              <a:t>Upload</a:t>
            </a:r>
            <a:r>
              <a:rPr lang="fr-FR" sz="1600">
                <a:latin typeface="Arial"/>
                <a:cs typeface="Arial"/>
              </a:rPr>
              <a:t> </a:t>
            </a:r>
            <a:r>
              <a:rPr lang="fr-FR" sz="1600" err="1">
                <a:latin typeface="Arial"/>
                <a:cs typeface="Arial"/>
              </a:rPr>
              <a:t>function</a:t>
            </a:r>
            <a:r>
              <a:rPr lang="fr-FR" sz="1600">
                <a:latin typeface="Arial"/>
                <a:cs typeface="Arial"/>
              </a:rPr>
              <a:t> of Dash</a:t>
            </a:r>
            <a:endParaRPr lang="fr-FR" sz="1600">
              <a:solidFill>
                <a:prstClr val="black"/>
              </a:solidFill>
              <a:latin typeface="Arial"/>
              <a:cs typeface="Arial"/>
            </a:endParaRP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5EF73B04-8B0B-2009-BC8E-CDB68AC3D230}"/>
              </a:ext>
            </a:extLst>
          </p:cNvPr>
          <p:cNvCxnSpPr/>
          <p:nvPr/>
        </p:nvCxnSpPr>
        <p:spPr>
          <a:xfrm flipH="1">
            <a:off x="2303649" y="4775593"/>
            <a:ext cx="502394" cy="458397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109D520C-056F-EF7D-F5FB-2B7D3B412D97}"/>
              </a:ext>
            </a:extLst>
          </p:cNvPr>
          <p:cNvSpPr txBox="1"/>
          <p:nvPr/>
        </p:nvSpPr>
        <p:spPr>
          <a:xfrm>
            <a:off x="1461795" y="4455367"/>
            <a:ext cx="2743199" cy="24981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0000"/>
              </a:lnSpc>
              <a:spcAft>
                <a:spcPts val="1200"/>
              </a:spcAft>
            </a:pPr>
            <a:r>
              <a:rPr lang="fr-FR" sz="1600">
                <a:latin typeface="Arial"/>
                <a:cs typeface="Arial"/>
              </a:rPr>
              <a:t>Classifier 1</a:t>
            </a: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A6C80A7B-1F12-8065-5675-EE87F5C2FEE1}"/>
              </a:ext>
            </a:extLst>
          </p:cNvPr>
          <p:cNvCxnSpPr>
            <a:cxnSpLocks/>
          </p:cNvCxnSpPr>
          <p:nvPr/>
        </p:nvCxnSpPr>
        <p:spPr>
          <a:xfrm>
            <a:off x="2802858" y="4773961"/>
            <a:ext cx="492870" cy="497274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7562C6FB-972A-4B5E-097B-A962ACBAFE39}"/>
              </a:ext>
            </a:extLst>
          </p:cNvPr>
          <p:cNvSpPr txBox="1"/>
          <p:nvPr/>
        </p:nvSpPr>
        <p:spPr>
          <a:xfrm>
            <a:off x="139958" y="5302897"/>
            <a:ext cx="2743199" cy="24981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0000"/>
              </a:lnSpc>
              <a:spcAft>
                <a:spcPts val="1200"/>
              </a:spcAft>
            </a:pPr>
            <a:r>
              <a:rPr lang="fr-FR" sz="1600">
                <a:latin typeface="Arial"/>
                <a:cs typeface="Arial"/>
              </a:rPr>
              <a:t>Allen-Bradley Box</a:t>
            </a:r>
            <a:endParaRPr lang="fr-FR">
              <a:ea typeface="+mn-ea"/>
              <a:cs typeface="+mn-cs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F60ED9E0-B6C3-4337-70E8-97BC7DCC4316}"/>
              </a:ext>
            </a:extLst>
          </p:cNvPr>
          <p:cNvSpPr txBox="1"/>
          <p:nvPr/>
        </p:nvSpPr>
        <p:spPr>
          <a:xfrm>
            <a:off x="2278223" y="5302897"/>
            <a:ext cx="2743199" cy="24981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0000"/>
              </a:lnSpc>
              <a:spcAft>
                <a:spcPts val="1200"/>
              </a:spcAft>
            </a:pPr>
            <a:r>
              <a:rPr lang="fr-FR" sz="1600" err="1">
                <a:latin typeface="Arial"/>
                <a:cs typeface="Arial"/>
              </a:rPr>
              <a:t>Kontron</a:t>
            </a:r>
            <a:r>
              <a:rPr lang="fr-FR" sz="1600">
                <a:latin typeface="Arial"/>
                <a:cs typeface="Arial"/>
              </a:rPr>
              <a:t> Box</a:t>
            </a:r>
            <a:endParaRPr lang="fr-FR">
              <a:ea typeface="+mn-ea"/>
              <a:cs typeface="+mn-cs"/>
            </a:endParaRPr>
          </a:p>
        </p:txBody>
      </p:sp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9CCFDD99-F0E2-3ABA-CBB9-A8CB4393D261}"/>
              </a:ext>
            </a:extLst>
          </p:cNvPr>
          <p:cNvCxnSpPr>
            <a:cxnSpLocks/>
          </p:cNvCxnSpPr>
          <p:nvPr/>
        </p:nvCxnSpPr>
        <p:spPr>
          <a:xfrm flipH="1">
            <a:off x="2712566" y="5637043"/>
            <a:ext cx="28088" cy="512824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>
            <a:extLst>
              <a:ext uri="{FF2B5EF4-FFF2-40B4-BE49-F238E27FC236}">
                <a16:creationId xmlns:a16="http://schemas.microsoft.com/office/drawing/2014/main" id="{5122196F-1E81-A6DB-63F1-B3807129D558}"/>
              </a:ext>
            </a:extLst>
          </p:cNvPr>
          <p:cNvSpPr txBox="1"/>
          <p:nvPr/>
        </p:nvSpPr>
        <p:spPr>
          <a:xfrm>
            <a:off x="1189652" y="6220408"/>
            <a:ext cx="3069770" cy="24981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0000"/>
              </a:lnSpc>
              <a:spcAft>
                <a:spcPts val="1200"/>
              </a:spcAft>
            </a:pPr>
            <a:r>
              <a:rPr lang="fr-FR" sz="1600">
                <a:latin typeface="Arial"/>
                <a:cs typeface="Arial"/>
              </a:rPr>
              <a:t>Output Image and </a:t>
            </a:r>
            <a:r>
              <a:rPr lang="fr-FR" sz="1600" err="1">
                <a:latin typeface="Arial"/>
                <a:cs typeface="Arial"/>
              </a:rPr>
              <a:t>detected</a:t>
            </a:r>
            <a:r>
              <a:rPr lang="fr-FR" sz="1600">
                <a:latin typeface="Arial"/>
                <a:cs typeface="Arial"/>
              </a:rPr>
              <a:t> class</a:t>
            </a:r>
            <a:endParaRPr lang="fr-FR">
              <a:ea typeface="+mn-ea"/>
              <a:cs typeface="+mn-cs"/>
            </a:endParaRPr>
          </a:p>
        </p:txBody>
      </p:sp>
      <p:sp>
        <p:nvSpPr>
          <p:cNvPr id="23" name="矩形: 圆角 3">
            <a:extLst>
              <a:ext uri="{FF2B5EF4-FFF2-40B4-BE49-F238E27FC236}">
                <a16:creationId xmlns:a16="http://schemas.microsoft.com/office/drawing/2014/main" id="{868AE4EC-0828-26E7-EDE2-5D6C1EB331F0}"/>
              </a:ext>
            </a:extLst>
          </p:cNvPr>
          <p:cNvSpPr/>
          <p:nvPr/>
        </p:nvSpPr>
        <p:spPr>
          <a:xfrm>
            <a:off x="6808733" y="1452583"/>
            <a:ext cx="4495098" cy="688840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24" name="文本框 5">
            <a:extLst>
              <a:ext uri="{FF2B5EF4-FFF2-40B4-BE49-F238E27FC236}">
                <a16:creationId xmlns:a16="http://schemas.microsoft.com/office/drawing/2014/main" id="{DF477B05-5DC9-F9E7-F840-706ED48C544A}"/>
              </a:ext>
            </a:extLst>
          </p:cNvPr>
          <p:cNvSpPr txBox="1"/>
          <p:nvPr/>
        </p:nvSpPr>
        <p:spPr>
          <a:xfrm>
            <a:off x="8672083" y="1607468"/>
            <a:ext cx="954107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Step 3</a:t>
            </a:r>
            <a:endParaRPr lang="fr-FR">
              <a:cs typeface="Arial"/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7F848CEC-33EE-79C0-8841-F26E86444EBB}"/>
              </a:ext>
            </a:extLst>
          </p:cNvPr>
          <p:cNvSpPr txBox="1"/>
          <p:nvPr/>
        </p:nvSpPr>
        <p:spPr>
          <a:xfrm>
            <a:off x="6546977" y="2247122"/>
            <a:ext cx="5021422" cy="24981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1200"/>
              </a:spcAft>
              <a:buFont typeface="Arial"/>
              <a:buChar char="•"/>
            </a:pPr>
            <a:r>
              <a:rPr lang="fr-FR" sz="1600">
                <a:cs typeface="Arial"/>
              </a:rPr>
              <a:t>Read xml </a:t>
            </a:r>
            <a:r>
              <a:rPr lang="fr-FR" sz="1600" err="1">
                <a:cs typeface="Arial"/>
              </a:rPr>
              <a:t>coordinates</a:t>
            </a:r>
            <a:r>
              <a:rPr lang="fr-FR" sz="1600">
                <a:cs typeface="Arial"/>
              </a:rPr>
              <a:t> </a:t>
            </a:r>
            <a:r>
              <a:rPr lang="fr-FR" sz="1600" err="1">
                <a:cs typeface="Arial"/>
              </a:rPr>
              <a:t>depending</a:t>
            </a:r>
            <a:r>
              <a:rPr lang="fr-FR" sz="1600">
                <a:cs typeface="Arial"/>
              </a:rPr>
              <a:t> on class of image:</a:t>
            </a:r>
          </a:p>
        </p:txBody>
      </p:sp>
      <p:pic>
        <p:nvPicPr>
          <p:cNvPr id="28" name="Image 28" descr="Une image contenant texte&#10;&#10;Description générée automatiquement">
            <a:extLst>
              <a:ext uri="{FF2B5EF4-FFF2-40B4-BE49-F238E27FC236}">
                <a16:creationId xmlns:a16="http://schemas.microsoft.com/office/drawing/2014/main" id="{B813550F-84EE-1245-39FC-EF46D96107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0501" y="3164101"/>
            <a:ext cx="2494384" cy="1042984"/>
          </a:xfrm>
          <a:prstGeom prst="rect">
            <a:avLst/>
          </a:prstGeom>
        </p:spPr>
      </p:pic>
      <p:sp>
        <p:nvSpPr>
          <p:cNvPr id="29" name="ZoneTexte 28">
            <a:extLst>
              <a:ext uri="{FF2B5EF4-FFF2-40B4-BE49-F238E27FC236}">
                <a16:creationId xmlns:a16="http://schemas.microsoft.com/office/drawing/2014/main" id="{466DF9F0-F8BC-1F8B-1F36-472A232FE9B4}"/>
              </a:ext>
            </a:extLst>
          </p:cNvPr>
          <p:cNvSpPr txBox="1"/>
          <p:nvPr/>
        </p:nvSpPr>
        <p:spPr>
          <a:xfrm>
            <a:off x="6546977" y="2705877"/>
            <a:ext cx="5285789" cy="24981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1200"/>
              </a:spcAft>
              <a:buFont typeface="Arial"/>
              <a:buChar char="•"/>
            </a:pPr>
            <a:r>
              <a:rPr lang="fr-FR" sz="1600" err="1">
                <a:cs typeface="Arial"/>
              </a:rPr>
              <a:t>Prediction</a:t>
            </a:r>
            <a:r>
              <a:rPr lang="fr-FR" sz="1600">
                <a:cs typeface="Arial"/>
              </a:rPr>
              <a:t> of </a:t>
            </a:r>
            <a:r>
              <a:rPr lang="fr-FR" sz="1600" err="1">
                <a:cs typeface="Arial"/>
              </a:rPr>
              <a:t>bounding</a:t>
            </a:r>
            <a:r>
              <a:rPr lang="fr-FR" sz="1600">
                <a:cs typeface="Arial"/>
              </a:rPr>
              <a:t> box, </a:t>
            </a:r>
            <a:r>
              <a:rPr lang="fr-FR" sz="1600" err="1">
                <a:cs typeface="Arial"/>
              </a:rPr>
              <a:t>alignment</a:t>
            </a:r>
            <a:r>
              <a:rPr lang="fr-FR" sz="1600">
                <a:cs typeface="Arial"/>
              </a:rPr>
              <a:t> </a:t>
            </a:r>
            <a:r>
              <a:rPr lang="fr-FR" sz="1600" err="1">
                <a:cs typeface="Arial"/>
              </a:rPr>
              <a:t>based</a:t>
            </a:r>
            <a:r>
              <a:rPr lang="fr-FR" sz="1600">
                <a:cs typeface="Arial"/>
              </a:rPr>
              <a:t> on class</a:t>
            </a:r>
          </a:p>
        </p:txBody>
      </p:sp>
      <p:pic>
        <p:nvPicPr>
          <p:cNvPr id="31" name="Image 31" descr="Une image contenant texte&#10;&#10;Description générée automatiquement">
            <a:extLst>
              <a:ext uri="{FF2B5EF4-FFF2-40B4-BE49-F238E27FC236}">
                <a16:creationId xmlns:a16="http://schemas.microsoft.com/office/drawing/2014/main" id="{DD47AEF8-ED9D-8033-A3A8-D274406039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20808" y="3161070"/>
            <a:ext cx="2152262" cy="1056820"/>
          </a:xfrm>
          <a:prstGeom prst="rect">
            <a:avLst/>
          </a:prstGeom>
        </p:spPr>
      </p:pic>
      <p:sp>
        <p:nvSpPr>
          <p:cNvPr id="32" name="ZoneTexte 31">
            <a:extLst>
              <a:ext uri="{FF2B5EF4-FFF2-40B4-BE49-F238E27FC236}">
                <a16:creationId xmlns:a16="http://schemas.microsoft.com/office/drawing/2014/main" id="{8830549D-E1E2-A393-ADB7-1929E2617298}"/>
              </a:ext>
            </a:extLst>
          </p:cNvPr>
          <p:cNvSpPr txBox="1"/>
          <p:nvPr/>
        </p:nvSpPr>
        <p:spPr>
          <a:xfrm>
            <a:off x="6546977" y="4369836"/>
            <a:ext cx="5285789" cy="24981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1200"/>
              </a:spcAft>
              <a:buFont typeface="Arial"/>
              <a:buChar char="•"/>
            </a:pPr>
            <a:r>
              <a:rPr lang="fr-FR" sz="1600">
                <a:cs typeface="Arial"/>
              </a:rPr>
              <a:t>Output the </a:t>
            </a:r>
            <a:r>
              <a:rPr lang="fr-FR" sz="1600" err="1">
                <a:cs typeface="Arial"/>
              </a:rPr>
              <a:t>aligned</a:t>
            </a:r>
            <a:r>
              <a:rPr lang="fr-FR" sz="1600">
                <a:cs typeface="Arial"/>
              </a:rPr>
              <a:t> and </a:t>
            </a:r>
            <a:r>
              <a:rPr lang="fr-FR" sz="1600" err="1">
                <a:cs typeface="Arial"/>
              </a:rPr>
              <a:t>cropped</a:t>
            </a:r>
            <a:r>
              <a:rPr lang="fr-FR" sz="1600">
                <a:cs typeface="Arial"/>
              </a:rPr>
              <a:t> image in the </a:t>
            </a:r>
            <a:r>
              <a:rPr lang="fr-FR" sz="1600" err="1">
                <a:cs typeface="Arial"/>
              </a:rPr>
              <a:t>webapp</a:t>
            </a:r>
          </a:p>
        </p:txBody>
      </p:sp>
      <p:pic>
        <p:nvPicPr>
          <p:cNvPr id="33" name="Image 33">
            <a:extLst>
              <a:ext uri="{FF2B5EF4-FFF2-40B4-BE49-F238E27FC236}">
                <a16:creationId xmlns:a16="http://schemas.microsoft.com/office/drawing/2014/main" id="{B0F1568D-78C0-DA77-C0B8-3566F0F740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48196" y="5198111"/>
            <a:ext cx="4492689" cy="357309"/>
          </a:xfrm>
          <a:prstGeom prst="rect">
            <a:avLst/>
          </a:prstGeom>
        </p:spPr>
      </p:pic>
      <p:sp>
        <p:nvSpPr>
          <p:cNvPr id="34" name="ZoneTexte 33">
            <a:extLst>
              <a:ext uri="{FF2B5EF4-FFF2-40B4-BE49-F238E27FC236}">
                <a16:creationId xmlns:a16="http://schemas.microsoft.com/office/drawing/2014/main" id="{190AD40C-EDCD-5C71-E74D-52609D3E9725}"/>
              </a:ext>
            </a:extLst>
          </p:cNvPr>
          <p:cNvSpPr txBox="1"/>
          <p:nvPr/>
        </p:nvSpPr>
        <p:spPr>
          <a:xfrm>
            <a:off x="6546977" y="4774162"/>
            <a:ext cx="5285789" cy="24981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1200"/>
              </a:spcAft>
              <a:buFont typeface="Arial"/>
              <a:buChar char="•"/>
            </a:pPr>
            <a:r>
              <a:rPr lang="fr-FR" sz="1600">
                <a:cs typeface="Arial"/>
              </a:rPr>
              <a:t>Image </a:t>
            </a:r>
            <a:r>
              <a:rPr lang="fr-FR" sz="1600" err="1">
                <a:cs typeface="Arial"/>
              </a:rPr>
              <a:t>is</a:t>
            </a:r>
            <a:r>
              <a:rPr lang="fr-FR" sz="1600">
                <a:cs typeface="Arial"/>
              </a:rPr>
              <a:t> </a:t>
            </a:r>
            <a:r>
              <a:rPr lang="fr-FR" sz="1600" err="1">
                <a:cs typeface="Arial"/>
              </a:rPr>
              <a:t>stored</a:t>
            </a:r>
            <a:r>
              <a:rPr lang="fr-FR" sz="1600">
                <a:cs typeface="Arial"/>
              </a:rPr>
              <a:t> in a </a:t>
            </a:r>
            <a:r>
              <a:rPr lang="fr-FR" sz="1600" err="1">
                <a:cs typeface="Arial"/>
              </a:rPr>
              <a:t>temporary</a:t>
            </a:r>
            <a:r>
              <a:rPr lang="fr-FR" sz="1600">
                <a:cs typeface="Arial"/>
              </a:rPr>
              <a:t> folder for </a:t>
            </a:r>
            <a:r>
              <a:rPr lang="fr-FR" sz="1600" err="1">
                <a:cs typeface="Arial"/>
              </a:rPr>
              <a:t>next</a:t>
            </a:r>
            <a:r>
              <a:rPr lang="fr-FR" sz="1600">
                <a:cs typeface="Arial"/>
              </a:rPr>
              <a:t> </a:t>
            </a:r>
            <a:r>
              <a:rPr lang="fr-FR" sz="1600" err="1">
                <a:cs typeface="Arial"/>
              </a:rPr>
              <a:t>step</a:t>
            </a:r>
            <a:endParaRPr lang="fr-FR" err="1"/>
          </a:p>
        </p:txBody>
      </p:sp>
    </p:spTree>
    <p:extLst>
      <p:ext uri="{BB962C8B-B14F-4D97-AF65-F5344CB8AC3E}">
        <p14:creationId xmlns:p14="http://schemas.microsoft.com/office/powerpoint/2010/main" val="425148933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: 圆角 3">
            <a:extLst>
              <a:ext uri="{FF2B5EF4-FFF2-40B4-BE49-F238E27FC236}">
                <a16:creationId xmlns:a16="http://schemas.microsoft.com/office/drawing/2014/main" id="{620F3424-E32B-4DE8-BF4D-4918B7628D43}"/>
              </a:ext>
            </a:extLst>
          </p:cNvPr>
          <p:cNvSpPr/>
          <p:nvPr/>
        </p:nvSpPr>
        <p:spPr>
          <a:xfrm>
            <a:off x="591492" y="1460360"/>
            <a:ext cx="11042077" cy="688840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1CC6A956-A954-4940-A619-381D56C1A856}"/>
              </a:ext>
            </a:extLst>
          </p:cNvPr>
          <p:cNvSpPr txBox="1"/>
          <p:nvPr/>
        </p:nvSpPr>
        <p:spPr>
          <a:xfrm>
            <a:off x="5635023" y="1600726"/>
            <a:ext cx="954107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Step 4</a:t>
            </a:r>
            <a:endParaRPr lang="fr-FR"/>
          </a:p>
        </p:txBody>
      </p:sp>
      <p:sp>
        <p:nvSpPr>
          <p:cNvPr id="9" name="Title 35">
            <a:extLst>
              <a:ext uri="{FF2B5EF4-FFF2-40B4-BE49-F238E27FC236}">
                <a16:creationId xmlns:a16="http://schemas.microsoft.com/office/drawing/2014/main" id="{06E69EF6-5F75-EF00-A656-2EF79BFF6CB7}"/>
              </a:ext>
            </a:extLst>
          </p:cNvPr>
          <p:cNvSpPr txBox="1">
            <a:spLocks/>
          </p:cNvSpPr>
          <p:nvPr/>
        </p:nvSpPr>
        <p:spPr>
          <a:xfrm>
            <a:off x="518318" y="382105"/>
            <a:ext cx="6844385" cy="332399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41E4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err="1">
                <a:cs typeface="Arial"/>
              </a:rPr>
              <a:t>Deployment</a:t>
            </a:r>
            <a:r>
              <a:rPr lang="de-DE">
                <a:cs typeface="Arial"/>
              </a:rPr>
              <a:t> – The </a:t>
            </a:r>
            <a:r>
              <a:rPr lang="de-DE" err="1">
                <a:cs typeface="Arial"/>
              </a:rPr>
              <a:t>Application</a:t>
            </a:r>
            <a:endParaRPr lang="de-DE">
              <a:cs typeface="Arial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6CBE70F0-DFF5-CEC5-4769-FE7D800CDC83}"/>
              </a:ext>
            </a:extLst>
          </p:cNvPr>
          <p:cNvSpPr txBox="1"/>
          <p:nvPr/>
        </p:nvSpPr>
        <p:spPr>
          <a:xfrm>
            <a:off x="668693" y="2441510"/>
            <a:ext cx="10792408" cy="24981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1200"/>
              </a:spcAft>
              <a:buFont typeface="Arial"/>
              <a:buChar char="•"/>
            </a:pPr>
            <a:r>
              <a:rPr lang="fr-FR" sz="1600">
                <a:latin typeface="Arial"/>
                <a:cs typeface="Arial"/>
              </a:rPr>
              <a:t>Classification of hardware </a:t>
            </a:r>
            <a:r>
              <a:rPr lang="fr-FR" sz="1600" err="1">
                <a:latin typeface="Arial"/>
                <a:cs typeface="Arial"/>
              </a:rPr>
              <a:t>elements</a:t>
            </a:r>
            <a:endParaRPr lang="fr-FR" sz="1600" b="0" i="0" u="none" strike="noStrike" kern="1200" cap="none" spc="0" normalizeH="0" baseline="0" noProof="0" err="1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DFA9F9C7-26D1-2F39-CEE6-1AE16C453104}"/>
              </a:ext>
            </a:extLst>
          </p:cNvPr>
          <p:cNvSpPr txBox="1"/>
          <p:nvPr/>
        </p:nvSpPr>
        <p:spPr>
          <a:xfrm>
            <a:off x="668692" y="3479987"/>
            <a:ext cx="10792408" cy="24981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1200"/>
              </a:spcAft>
              <a:buFont typeface="Arial"/>
              <a:buChar char="•"/>
            </a:pPr>
            <a:r>
              <a:rPr lang="fr-FR" sz="1600">
                <a:latin typeface="Arial"/>
                <a:cs typeface="Arial"/>
              </a:rPr>
              <a:t>1 = </a:t>
            </a:r>
            <a:r>
              <a:rPr lang="fr-FR" sz="1600" err="1">
                <a:latin typeface="Arial"/>
                <a:cs typeface="Arial"/>
              </a:rPr>
              <a:t>predicted</a:t>
            </a:r>
            <a:r>
              <a:rPr lang="fr-FR" sz="1600">
                <a:latin typeface="Arial"/>
                <a:cs typeface="Arial"/>
              </a:rPr>
              <a:t> class , 0 = </a:t>
            </a:r>
            <a:r>
              <a:rPr lang="fr-FR" sz="1600" err="1">
                <a:latin typeface="Arial"/>
                <a:cs typeface="Arial"/>
              </a:rPr>
              <a:t>other</a:t>
            </a:r>
            <a:r>
              <a:rPr lang="fr-FR" sz="1600">
                <a:latin typeface="Arial"/>
                <a:cs typeface="Arial"/>
              </a:rPr>
              <a:t> class </a:t>
            </a:r>
            <a:r>
              <a:rPr lang="fr-FR" sz="1600" err="1">
                <a:latin typeface="Arial"/>
                <a:cs typeface="Arial"/>
              </a:rPr>
              <a:t>than</a:t>
            </a:r>
            <a:r>
              <a:rPr lang="fr-FR" sz="1600">
                <a:latin typeface="Arial"/>
                <a:cs typeface="Arial"/>
              </a:rPr>
              <a:t> </a:t>
            </a:r>
            <a:r>
              <a:rPr lang="fr-FR" sz="1600" err="1">
                <a:latin typeface="Arial"/>
                <a:cs typeface="Arial"/>
              </a:rPr>
              <a:t>expected</a:t>
            </a:r>
            <a:r>
              <a:rPr lang="fr-FR" sz="1600">
                <a:latin typeface="Arial"/>
                <a:cs typeface="Arial"/>
              </a:rPr>
              <a:t> one</a:t>
            </a:r>
            <a:endParaRPr lang="fr-FR">
              <a:cs typeface="Arial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AC75E72-BBB5-C028-8864-D284DD838320}"/>
              </a:ext>
            </a:extLst>
          </p:cNvPr>
          <p:cNvSpPr txBox="1"/>
          <p:nvPr/>
        </p:nvSpPr>
        <p:spPr>
          <a:xfrm>
            <a:off x="668691" y="2947261"/>
            <a:ext cx="10792408" cy="24981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1200"/>
              </a:spcAft>
              <a:buFont typeface="Arial"/>
              <a:buChar char="•"/>
            </a:pPr>
            <a:r>
              <a:rPr lang="fr-FR" sz="1600">
                <a:cs typeface="Arial"/>
              </a:rPr>
              <a:t>Classifier as helper </a:t>
            </a:r>
            <a:r>
              <a:rPr lang="fr-FR" sz="1600" err="1">
                <a:cs typeface="Arial"/>
              </a:rPr>
              <a:t>function</a:t>
            </a:r>
            <a:r>
              <a:rPr lang="fr-FR" sz="1600">
                <a:cs typeface="Arial"/>
              </a:rPr>
              <a:t> </a:t>
            </a:r>
            <a:r>
              <a:rPr lang="fr-FR" sz="1600" err="1">
                <a:cs typeface="Arial"/>
              </a:rPr>
              <a:t>with</a:t>
            </a:r>
            <a:r>
              <a:rPr lang="fr-FR" sz="1600">
                <a:cs typeface="Arial"/>
              </a:rPr>
              <a:t> </a:t>
            </a:r>
            <a:r>
              <a:rPr lang="fr-FR" sz="1600" err="1">
                <a:cs typeface="Arial"/>
              </a:rPr>
              <a:t>two</a:t>
            </a:r>
            <a:r>
              <a:rPr lang="fr-FR" sz="1600">
                <a:cs typeface="Arial"/>
              </a:rPr>
              <a:t> </a:t>
            </a:r>
            <a:r>
              <a:rPr lang="fr-FR" sz="1600" err="1">
                <a:cs typeface="Arial"/>
              </a:rPr>
              <a:t>parameters</a:t>
            </a:r>
            <a:r>
              <a:rPr lang="fr-FR" sz="1600">
                <a:cs typeface="Arial"/>
              </a:rPr>
              <a:t> : Image and xml fil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99E561C-36DA-E517-FDF9-D66621046F5B}"/>
              </a:ext>
            </a:extLst>
          </p:cNvPr>
          <p:cNvSpPr txBox="1"/>
          <p:nvPr/>
        </p:nvSpPr>
        <p:spPr>
          <a:xfrm>
            <a:off x="695665" y="4026199"/>
            <a:ext cx="10792408" cy="24981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1200"/>
              </a:spcAft>
              <a:buFont typeface="Arial"/>
              <a:buChar char="•"/>
            </a:pPr>
            <a:r>
              <a:rPr lang="fr-FR" sz="1600">
                <a:latin typeface="Arial"/>
                <a:cs typeface="Arial"/>
              </a:rPr>
              <a:t>Translate </a:t>
            </a:r>
            <a:r>
              <a:rPr lang="fr-FR" sz="1600" err="1">
                <a:latin typeface="Arial"/>
                <a:cs typeface="Arial"/>
              </a:rPr>
              <a:t>results</a:t>
            </a:r>
            <a:r>
              <a:rPr lang="fr-FR" sz="1600">
                <a:latin typeface="Arial"/>
                <a:cs typeface="Arial"/>
              </a:rPr>
              <a:t> for the frontend</a:t>
            </a:r>
            <a:endParaRPr lang="fr-FR" sz="1600">
              <a:cs typeface="Arial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A099F373-3CCA-4786-9831-D4ED40ECE736}"/>
              </a:ext>
            </a:extLst>
          </p:cNvPr>
          <p:cNvSpPr txBox="1"/>
          <p:nvPr/>
        </p:nvSpPr>
        <p:spPr>
          <a:xfrm>
            <a:off x="715895" y="4585898"/>
            <a:ext cx="10792408" cy="24981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1200"/>
              </a:spcAft>
              <a:buFont typeface="Arial"/>
              <a:buChar char="•"/>
            </a:pPr>
            <a:r>
              <a:rPr lang="fr-FR" sz="1600">
                <a:latin typeface="Arial"/>
                <a:cs typeface="Arial"/>
              </a:rPr>
              <a:t>A </a:t>
            </a:r>
            <a:r>
              <a:rPr lang="fr-FR" sz="1600" err="1">
                <a:latin typeface="Arial"/>
                <a:cs typeface="Arial"/>
              </a:rPr>
              <a:t>loop</a:t>
            </a:r>
            <a:r>
              <a:rPr lang="fr-FR" sz="1600">
                <a:latin typeface="Arial"/>
                <a:cs typeface="Arial"/>
              </a:rPr>
              <a:t> </a:t>
            </a:r>
            <a:r>
              <a:rPr lang="fr-FR" sz="1600" err="1">
                <a:latin typeface="Arial"/>
                <a:cs typeface="Arial"/>
              </a:rPr>
              <a:t>goes</a:t>
            </a:r>
            <a:r>
              <a:rPr lang="fr-FR" sz="1600">
                <a:latin typeface="Arial"/>
                <a:cs typeface="Arial"/>
              </a:rPr>
              <a:t> </a:t>
            </a:r>
            <a:r>
              <a:rPr lang="fr-FR" sz="1600" err="1">
                <a:latin typeface="Arial"/>
                <a:cs typeface="Arial"/>
              </a:rPr>
              <a:t>through</a:t>
            </a:r>
            <a:r>
              <a:rPr lang="fr-FR" sz="1600">
                <a:latin typeface="Arial"/>
                <a:cs typeface="Arial"/>
              </a:rPr>
              <a:t> </a:t>
            </a:r>
            <a:r>
              <a:rPr lang="fr-FR" sz="1600" err="1">
                <a:latin typeface="Arial"/>
                <a:cs typeface="Arial"/>
              </a:rPr>
              <a:t>each</a:t>
            </a:r>
            <a:r>
              <a:rPr lang="fr-FR" sz="1600">
                <a:latin typeface="Arial"/>
                <a:cs typeface="Arial"/>
              </a:rPr>
              <a:t> hardware </a:t>
            </a:r>
            <a:r>
              <a:rPr lang="fr-FR" sz="1600" err="1">
                <a:latin typeface="Arial"/>
                <a:cs typeface="Arial"/>
              </a:rPr>
              <a:t>element</a:t>
            </a:r>
            <a:r>
              <a:rPr lang="fr-FR" sz="1600">
                <a:latin typeface="Arial"/>
                <a:cs typeface="Arial"/>
              </a:rPr>
              <a:t> and outputs classification of </a:t>
            </a:r>
            <a:r>
              <a:rPr lang="fr-FR" sz="1600" err="1">
                <a:latin typeface="Arial"/>
                <a:cs typeface="Arial"/>
              </a:rPr>
              <a:t>that</a:t>
            </a:r>
            <a:r>
              <a:rPr lang="fr-FR" sz="1600">
                <a:latin typeface="Arial"/>
                <a:cs typeface="Arial"/>
              </a:rPr>
              <a:t> </a:t>
            </a:r>
            <a:r>
              <a:rPr lang="fr-FR" sz="1600" err="1">
                <a:latin typeface="Arial"/>
                <a:cs typeface="Arial"/>
              </a:rPr>
              <a:t>element</a:t>
            </a:r>
            <a:endParaRPr lang="fr-FR" sz="1600" err="1">
              <a:cs typeface="Arial"/>
            </a:endParaRPr>
          </a:p>
        </p:txBody>
      </p:sp>
      <p:pic>
        <p:nvPicPr>
          <p:cNvPr id="18" name="Image 19" descr="Une image contenant texte&#10;&#10;Description générée automatiquement">
            <a:extLst>
              <a:ext uri="{FF2B5EF4-FFF2-40B4-BE49-F238E27FC236}">
                <a16:creationId xmlns:a16="http://schemas.microsoft.com/office/drawing/2014/main" id="{49E40777-857C-6E44-7AF1-4F159F5F91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0942" y="5091584"/>
            <a:ext cx="3694014" cy="136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38913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03AEB1A7-4A22-4EA3-B891-8CE774B86F7E}"/>
              </a:ext>
            </a:extLst>
          </p:cNvPr>
          <p:cNvSpPr/>
          <p:nvPr/>
        </p:nvSpPr>
        <p:spPr>
          <a:xfrm>
            <a:off x="578006" y="4032738"/>
            <a:ext cx="9013149" cy="2492649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620F3424-E32B-4DE8-BF4D-4918B7628D43}"/>
              </a:ext>
            </a:extLst>
          </p:cNvPr>
          <p:cNvSpPr/>
          <p:nvPr/>
        </p:nvSpPr>
        <p:spPr>
          <a:xfrm>
            <a:off x="578004" y="1299276"/>
            <a:ext cx="9006406" cy="2696503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1CC6A956-A954-4940-A619-381D56C1A856}"/>
              </a:ext>
            </a:extLst>
          </p:cNvPr>
          <p:cNvSpPr txBox="1"/>
          <p:nvPr/>
        </p:nvSpPr>
        <p:spPr>
          <a:xfrm>
            <a:off x="639429" y="1308422"/>
            <a:ext cx="1423788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cs typeface="Arial"/>
              </a:rPr>
              <a:t> Summary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2FADCE3-E850-4784-8F2E-D7BF01E4852E}"/>
              </a:ext>
            </a:extLst>
          </p:cNvPr>
          <p:cNvSpPr txBox="1"/>
          <p:nvPr/>
        </p:nvSpPr>
        <p:spPr>
          <a:xfrm>
            <a:off x="837533" y="1712134"/>
            <a:ext cx="8753233" cy="226267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 dirty="0">
                <a:cs typeface="Arial"/>
              </a:rPr>
              <a:t>Box localization and alignment for two types of boxes, classification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 dirty="0">
                <a:ea typeface="+mn-lt"/>
                <a:cs typeface="+mn-lt"/>
              </a:rPr>
              <a:t>Classification of 24 different components and two types of boxes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 dirty="0">
                <a:cs typeface="Arial"/>
              </a:rPr>
              <a:t>Multiple classification methods: Multi-class, binary and anomaly detection </a:t>
            </a:r>
            <a:endParaRPr lang="en-US" sz="1600" dirty="0">
              <a:ea typeface="+mn-lt"/>
              <a:cs typeface="+mn-lt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 dirty="0">
                <a:ea typeface="+mn-lt"/>
                <a:cs typeface="+mn-lt"/>
              </a:rPr>
              <a:t>Hand-crafted models vs Transfer learning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 dirty="0">
                <a:ea typeface="+mn-lt"/>
                <a:cs typeface="+mn-lt"/>
              </a:rPr>
              <a:t>Different data augmentation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 dirty="0">
                <a:ea typeface="+mn-lt"/>
                <a:cs typeface="+mn-lt"/>
              </a:rPr>
              <a:t>Web-App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9C574363-8D56-4907-88DB-F19E396AEB20}"/>
              </a:ext>
            </a:extLst>
          </p:cNvPr>
          <p:cNvSpPr txBox="1"/>
          <p:nvPr/>
        </p:nvSpPr>
        <p:spPr>
          <a:xfrm>
            <a:off x="711335" y="4172844"/>
            <a:ext cx="3918269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de-DE" altLang="zh-CN" sz="2000" b="1">
                <a:solidFill>
                  <a:srgbClr val="04316A"/>
                </a:solidFill>
                <a:latin typeface="+mj-lt"/>
              </a:rPr>
              <a:t>Outlook</a:t>
            </a:r>
            <a:endParaRPr lang="fr-FR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2AD08722-C387-44A0-8955-313CD959C971}"/>
              </a:ext>
            </a:extLst>
          </p:cNvPr>
          <p:cNvSpPr txBox="1"/>
          <p:nvPr/>
        </p:nvSpPr>
        <p:spPr>
          <a:xfrm>
            <a:off x="840030" y="4513819"/>
            <a:ext cx="8375603" cy="230883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Arial"/>
              </a:rPr>
              <a:t>Top and back view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Arial"/>
              </a:rPr>
              <a:t>XAI methods 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Arial"/>
              </a:rPr>
              <a:t>Improve User Interface of the webapp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Arial"/>
              </a:rPr>
              <a:t>Implement key facts and numbers of AI Models in App( Accuracy, Scores .. ) 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Arial"/>
              </a:rPr>
              <a:t>Test use of the models and App in the business environm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1600" dirty="0">
              <a:cs typeface="Arial"/>
            </a:endParaRPr>
          </a:p>
        </p:txBody>
      </p:sp>
      <p:sp>
        <p:nvSpPr>
          <p:cNvPr id="9" name="Title 35">
            <a:extLst>
              <a:ext uri="{FF2B5EF4-FFF2-40B4-BE49-F238E27FC236}">
                <a16:creationId xmlns:a16="http://schemas.microsoft.com/office/drawing/2014/main" id="{06E69EF6-5F75-EF00-A656-2EF79BFF6CB7}"/>
              </a:ext>
            </a:extLst>
          </p:cNvPr>
          <p:cNvSpPr txBox="1">
            <a:spLocks/>
          </p:cNvSpPr>
          <p:nvPr/>
        </p:nvSpPr>
        <p:spPr>
          <a:xfrm>
            <a:off x="518318" y="382105"/>
            <a:ext cx="6844385" cy="332399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41E4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cs typeface="Arial"/>
              </a:rPr>
              <a:t>Summary and Outlook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3473227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0FAD2DF-C0FA-2DA5-14E7-43EEC27D6EB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Feedbacks and Questions</a:t>
            </a:r>
            <a:endParaRPr lang="en-GB"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15320D16-7752-637A-72DF-7D0A508A334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82EAE4-2CCD-0135-0B8E-442345984C3C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  <a:prstGeom prst="rect">
            <a:avLst/>
          </a:prstGeom>
        </p:spPr>
        <p:txBody>
          <a:bodyPr/>
          <a:lstStyle/>
          <a:p>
            <a:fld id="{6CAC815A-EC9A-49E4-A939-0CFDC9772EF4}" type="datetime1">
              <a:rPr lang="zh-CN" altLang="en-US" smtClean="0"/>
              <a:t>2023/3/13</a:t>
            </a:fld>
            <a:endParaRPr lang="zh-CN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23A207-55F1-CC9C-EFA3-085F713AA7A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  <a:prstGeom prst="rect">
            <a:avLst/>
          </a:prstGeom>
        </p:spPr>
        <p:txBody>
          <a:bodyPr/>
          <a:lstStyle/>
          <a:p>
            <a:fld id="{6E991A3C-0EAB-4EA9-B10E-362C554889B1}" type="slidenum">
              <a:rPr lang="zh-CN" altLang="en-US" smtClean="0"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0375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B7C41-E7F9-4815-0D4C-FE0A1E5B6E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4DF13-B584-46A2-9B1A-67BAA69B128F}" type="datetime4">
              <a:rPr lang="de-DE" smtClean="0"/>
              <a:t>13. März 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5EF81B9-DC8F-456D-42B0-CE1DD649A1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72FB82B-7EAC-AC1D-4EFC-7CA1E688C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4CBE17-A962-00FC-F27F-463C0EFFDC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>
                <a:ea typeface="+mn-lt"/>
                <a:cs typeface="+mn-lt"/>
              </a:rPr>
              <a:t>Ahmed, B., Gulliver, T. A., and alZahir, S. 2020. “Image </a:t>
            </a:r>
            <a:r>
              <a:rPr lang="de-DE" err="1">
                <a:ea typeface="+mn-lt"/>
                <a:cs typeface="+mn-lt"/>
              </a:rPr>
              <a:t>splicing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detection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using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mask</a:t>
            </a:r>
            <a:r>
              <a:rPr lang="de-DE">
                <a:ea typeface="+mn-lt"/>
                <a:cs typeface="+mn-lt"/>
              </a:rPr>
              <a:t>-RCNN,” </a:t>
            </a:r>
            <a:r>
              <a:rPr lang="de-DE" i="1">
                <a:ea typeface="+mn-lt"/>
                <a:cs typeface="+mn-lt"/>
              </a:rPr>
              <a:t>Signal, Image and Video Processing</a:t>
            </a:r>
            <a:r>
              <a:rPr lang="de-DE">
                <a:ea typeface="+mn-lt"/>
                <a:cs typeface="+mn-lt"/>
              </a:rPr>
              <a:t> (14:5), pp. 1035–1042 (</a:t>
            </a:r>
            <a:r>
              <a:rPr lang="de-DE" err="1">
                <a:ea typeface="+mn-lt"/>
                <a:cs typeface="+mn-lt"/>
              </a:rPr>
              <a:t>doi</a:t>
            </a:r>
            <a:r>
              <a:rPr lang="de-DE">
                <a:ea typeface="+mn-lt"/>
                <a:cs typeface="+mn-lt"/>
              </a:rPr>
              <a:t>: 10.1007/s11760-020-01636-0). </a:t>
            </a:r>
            <a:endParaRPr lang="de-DE"/>
          </a:p>
          <a:p>
            <a:endParaRPr lang="de-DE">
              <a:ea typeface="+mn-lt"/>
              <a:cs typeface="+mn-lt"/>
            </a:endParaRPr>
          </a:p>
          <a:p>
            <a:r>
              <a:rPr lang="de-DE">
                <a:ea typeface="+mn-lt"/>
                <a:cs typeface="+mn-lt"/>
              </a:rPr>
              <a:t>Ren, S., He, K., </a:t>
            </a:r>
            <a:r>
              <a:rPr lang="de-DE" err="1">
                <a:ea typeface="+mn-lt"/>
                <a:cs typeface="+mn-lt"/>
              </a:rPr>
              <a:t>Girshick</a:t>
            </a:r>
            <a:r>
              <a:rPr lang="de-DE">
                <a:ea typeface="+mn-lt"/>
                <a:cs typeface="+mn-lt"/>
              </a:rPr>
              <a:t>, R., and Sun, J. 2017. “</a:t>
            </a:r>
            <a:r>
              <a:rPr lang="de-DE" err="1">
                <a:ea typeface="+mn-lt"/>
                <a:cs typeface="+mn-lt"/>
              </a:rPr>
              <a:t>Faster</a:t>
            </a:r>
            <a:r>
              <a:rPr lang="de-DE">
                <a:ea typeface="+mn-lt"/>
                <a:cs typeface="+mn-lt"/>
              </a:rPr>
              <a:t> R-CNN: </a:t>
            </a:r>
            <a:r>
              <a:rPr lang="de-DE" err="1">
                <a:ea typeface="+mn-lt"/>
                <a:cs typeface="+mn-lt"/>
              </a:rPr>
              <a:t>Towards</a:t>
            </a:r>
            <a:r>
              <a:rPr lang="de-DE">
                <a:ea typeface="+mn-lt"/>
                <a:cs typeface="+mn-lt"/>
              </a:rPr>
              <a:t> real-time </a:t>
            </a:r>
            <a:r>
              <a:rPr lang="de-DE" err="1">
                <a:ea typeface="+mn-lt"/>
                <a:cs typeface="+mn-lt"/>
              </a:rPr>
              <a:t>object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detection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with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region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proposal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networks</a:t>
            </a:r>
            <a:r>
              <a:rPr lang="de-DE">
                <a:ea typeface="+mn-lt"/>
                <a:cs typeface="+mn-lt"/>
              </a:rPr>
              <a:t>,” </a:t>
            </a:r>
            <a:r>
              <a:rPr lang="de-DE" i="1">
                <a:ea typeface="+mn-lt"/>
                <a:cs typeface="+mn-lt"/>
              </a:rPr>
              <a:t>IEEE Transactions on Pattern Analysis and </a:t>
            </a:r>
            <a:r>
              <a:rPr lang="de-DE" i="1" err="1">
                <a:ea typeface="+mn-lt"/>
                <a:cs typeface="+mn-lt"/>
              </a:rPr>
              <a:t>Machine</a:t>
            </a:r>
            <a:r>
              <a:rPr lang="de-DE" i="1">
                <a:ea typeface="+mn-lt"/>
                <a:cs typeface="+mn-lt"/>
              </a:rPr>
              <a:t> </a:t>
            </a:r>
            <a:r>
              <a:rPr lang="de-DE" i="1" err="1">
                <a:ea typeface="+mn-lt"/>
                <a:cs typeface="+mn-lt"/>
              </a:rPr>
              <a:t>Intelligence</a:t>
            </a:r>
            <a:r>
              <a:rPr lang="de-DE">
                <a:ea typeface="+mn-lt"/>
                <a:cs typeface="+mn-lt"/>
              </a:rPr>
              <a:t> (39:6), pp. 1137–1149 (</a:t>
            </a:r>
            <a:r>
              <a:rPr lang="de-DE" err="1">
                <a:ea typeface="+mn-lt"/>
                <a:cs typeface="+mn-lt"/>
              </a:rPr>
              <a:t>doi</a:t>
            </a:r>
            <a:r>
              <a:rPr lang="de-DE">
                <a:ea typeface="+mn-lt"/>
                <a:cs typeface="+mn-lt"/>
              </a:rPr>
              <a:t>: 10.1109/tpami.2016.2577031). </a:t>
            </a:r>
            <a:endParaRPr lang="de-DE"/>
          </a:p>
          <a:p>
            <a:endParaRPr lang="de-DE">
              <a:cs typeface="Arial"/>
            </a:endParaRPr>
          </a:p>
          <a:p>
            <a:endParaRPr lang="de-DE">
              <a:cs typeface="Arial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C4BEF75-BA05-F792-771D-66A9B14F1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References</a:t>
            </a:r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1C5CA5A-D0DE-8B41-0CF8-12720ECB966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68B18D2-6C1B-77F6-BF1E-20796E17409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1209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67C88D-BB02-20FE-D27C-16BCDF76E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E92B3-E793-3F50-7DB5-12FE50952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6761" y="6634667"/>
            <a:ext cx="51296" cy="110800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9413CF-BC13-9311-2F28-18AC24A4E1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-835337" y="4888710"/>
            <a:ext cx="4535990" cy="252993"/>
          </a:xfrm>
        </p:spPr>
        <p:txBody>
          <a:bodyPr/>
          <a:lstStyle/>
          <a:p>
            <a:pPr algn="r"/>
            <a:r>
              <a:rPr lang="en-US" sz="2000">
                <a:cs typeface="Arial"/>
              </a:rPr>
              <a:t>Tobias Völk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391E5F6-6DCF-CA36-9BF1-D97A66BF3D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42527" y="2137345"/>
            <a:ext cx="2261965" cy="302089"/>
          </a:xfrm>
        </p:spPr>
        <p:txBody>
          <a:bodyPr/>
          <a:lstStyle/>
          <a:p>
            <a:pPr algn="r"/>
            <a:r>
              <a:rPr lang="en-US" sz="2000">
                <a:cs typeface="Arial"/>
              </a:rPr>
              <a:t>Zhizi W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78007E2-35AC-E558-621C-1D05C013F7A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704492" y="4888710"/>
            <a:ext cx="4535990" cy="252993"/>
          </a:xfrm>
        </p:spPr>
        <p:txBody>
          <a:bodyPr/>
          <a:lstStyle/>
          <a:p>
            <a:pPr algn="r"/>
            <a:r>
              <a:rPr lang="en-US" sz="2000">
                <a:cs typeface="Arial"/>
              </a:rPr>
              <a:t>Omar </a:t>
            </a:r>
            <a:r>
              <a:rPr lang="en-US" sz="2000" err="1">
                <a:cs typeface="Arial"/>
              </a:rPr>
              <a:t>Fourati</a:t>
            </a:r>
            <a:endParaRPr lang="en-US" sz="2000">
              <a:cs typeface="Arial"/>
            </a:endParaRPr>
          </a:p>
        </p:txBody>
      </p:sp>
      <p:pic>
        <p:nvPicPr>
          <p:cNvPr id="8" name="Grafik 12" descr="Ein Bild, das Baum, Person, draußen, Mann enthält.&#10;&#10;Beschreibung automatisch generiert.">
            <a:extLst>
              <a:ext uri="{FF2B5EF4-FFF2-40B4-BE49-F238E27FC236}">
                <a16:creationId xmlns:a16="http://schemas.microsoft.com/office/drawing/2014/main" id="{CB926A95-BC58-4DBA-2F37-010FB4BAB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772" t="4743" r="21497" b="17619"/>
          <a:stretch/>
        </p:blipFill>
        <p:spPr>
          <a:xfrm>
            <a:off x="3795750" y="4336316"/>
            <a:ext cx="1419269" cy="1414937"/>
          </a:xfrm>
          <a:prstGeom prst="ellipse">
            <a:avLst/>
          </a:prstGeom>
        </p:spPr>
      </p:pic>
      <p:sp>
        <p:nvSpPr>
          <p:cNvPr id="14" name="Date Placeholder 1">
            <a:extLst>
              <a:ext uri="{FF2B5EF4-FFF2-40B4-BE49-F238E27FC236}">
                <a16:creationId xmlns:a16="http://schemas.microsoft.com/office/drawing/2014/main" id="{40DC858A-1809-A7FC-574C-6AB0B1C3F7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59946" y="6634667"/>
            <a:ext cx="589905" cy="110800"/>
          </a:xfrm>
        </p:spPr>
        <p:txBody>
          <a:bodyPr/>
          <a:lstStyle/>
          <a:p>
            <a:fld id="{974F31EF-6EA6-4A24-8992-69DC7A69151C}" type="datetime4">
              <a:rPr lang="de-DE" smtClean="0"/>
              <a:t>13. März 2023</a:t>
            </a:fld>
            <a:endParaRPr lang="de-DE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E2AA8519-58F1-8711-EDA8-7D459D8F4089}"/>
              </a:ext>
            </a:extLst>
          </p:cNvPr>
          <p:cNvSpPr txBox="1">
            <a:spLocks/>
          </p:cNvSpPr>
          <p:nvPr/>
        </p:nvSpPr>
        <p:spPr>
          <a:xfrm>
            <a:off x="5126983" y="2161893"/>
            <a:ext cx="4535990" cy="252993"/>
          </a:xfrm>
          <a:prstGeom prst="rect">
            <a:avLst/>
          </a:prstGeom>
        </p:spPr>
        <p:txBody>
          <a:bodyPr vert="horz" wrap="square" lIns="0" tIns="0" rIns="360000" bIns="0" rtlCol="0" anchor="t" anchorCtr="0">
            <a:noAutofit/>
          </a:bodyPr>
          <a:lstStyle>
            <a:lvl1pPr marL="0" indent="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Font typeface="Arial" panose="020B0604020202020204" pitchFamily="34" charset="0"/>
              <a:buNone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2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6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10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4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96000" indent="-162000" algn="l" defTabSz="82296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8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0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>
                <a:cs typeface="Arial"/>
              </a:rPr>
              <a:t>Julius </a:t>
            </a:r>
            <a:r>
              <a:rPr lang="en-US" sz="2000" err="1">
                <a:cs typeface="Arial"/>
              </a:rPr>
              <a:t>Wilps</a:t>
            </a:r>
            <a:endParaRPr lang="en-US" sz="2000">
              <a:cs typeface="Arial"/>
            </a:endParaRPr>
          </a:p>
        </p:txBody>
      </p:sp>
      <p:pic>
        <p:nvPicPr>
          <p:cNvPr id="16" name="Picture 15" descr="A person in a blue suit&#10;&#10;Description automatically generated with low confidence">
            <a:extLst>
              <a:ext uri="{FF2B5EF4-FFF2-40B4-BE49-F238E27FC236}">
                <a16:creationId xmlns:a16="http://schemas.microsoft.com/office/drawing/2014/main" id="{7E174AA8-BE14-06A5-B407-9E4C3DDBFA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3" t="40" r="1303" b="2786"/>
          <a:stretch>
            <a:fillRect/>
          </a:stretch>
        </p:blipFill>
        <p:spPr>
          <a:xfrm>
            <a:off x="3795750" y="1718202"/>
            <a:ext cx="1418652" cy="1418652"/>
          </a:xfrm>
          <a:custGeom>
            <a:avLst/>
            <a:gdLst>
              <a:gd name="connsiteX0" fmla="*/ 709326 w 1418652"/>
              <a:gd name="connsiteY0" fmla="*/ 0 h 1418652"/>
              <a:gd name="connsiteX1" fmla="*/ 1418652 w 1418652"/>
              <a:gd name="connsiteY1" fmla="*/ 709326 h 1418652"/>
              <a:gd name="connsiteX2" fmla="*/ 709326 w 1418652"/>
              <a:gd name="connsiteY2" fmla="*/ 1418652 h 1418652"/>
              <a:gd name="connsiteX3" fmla="*/ 0 w 1418652"/>
              <a:gd name="connsiteY3" fmla="*/ 709326 h 1418652"/>
              <a:gd name="connsiteX4" fmla="*/ 709326 w 1418652"/>
              <a:gd name="connsiteY4" fmla="*/ 0 h 1418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18652" h="1418652">
                <a:moveTo>
                  <a:pt x="709326" y="0"/>
                </a:moveTo>
                <a:cubicBezTo>
                  <a:pt x="1101076" y="0"/>
                  <a:pt x="1418652" y="317576"/>
                  <a:pt x="1418652" y="709326"/>
                </a:cubicBezTo>
                <a:cubicBezTo>
                  <a:pt x="1418652" y="1101076"/>
                  <a:pt x="1101076" y="1418652"/>
                  <a:pt x="709326" y="1418652"/>
                </a:cubicBezTo>
                <a:cubicBezTo>
                  <a:pt x="317576" y="1418652"/>
                  <a:pt x="0" y="1101076"/>
                  <a:pt x="0" y="709326"/>
                </a:cubicBezTo>
                <a:cubicBezTo>
                  <a:pt x="0" y="317576"/>
                  <a:pt x="317576" y="0"/>
                  <a:pt x="709326" y="0"/>
                </a:cubicBezTo>
                <a:close/>
              </a:path>
            </a:pathLst>
          </a:cu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134A1ADE-3275-F7CE-AE39-0089BD5D3328}"/>
              </a:ext>
            </a:extLst>
          </p:cNvPr>
          <p:cNvSpPr txBox="1">
            <a:spLocks/>
          </p:cNvSpPr>
          <p:nvPr/>
        </p:nvSpPr>
        <p:spPr>
          <a:xfrm>
            <a:off x="518318" y="301185"/>
            <a:ext cx="684438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229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60" b="1" kern="120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err="1"/>
              <a:t>Our</a:t>
            </a:r>
            <a:r>
              <a:rPr lang="de-DE"/>
              <a:t> Team</a:t>
            </a:r>
            <a:endParaRPr lang="en-GB"/>
          </a:p>
        </p:txBody>
      </p:sp>
      <p:pic>
        <p:nvPicPr>
          <p:cNvPr id="20" name="Picture 19" descr="Ein Bild, das Person, Wand, drinnen, Mann enthält.&#10;&#10;Automatisch generierte Beschreibung">
            <a:extLst>
              <a:ext uri="{FF2B5EF4-FFF2-40B4-BE49-F238E27FC236}">
                <a16:creationId xmlns:a16="http://schemas.microsoft.com/office/drawing/2014/main" id="{04BC30C1-7CB4-C63E-1BB9-0241BD0EFC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6" r="438" b="21961"/>
          <a:stretch>
            <a:fillRect/>
          </a:stretch>
        </p:blipFill>
        <p:spPr>
          <a:xfrm>
            <a:off x="8240482" y="1718202"/>
            <a:ext cx="1412433" cy="1418652"/>
          </a:xfrm>
          <a:custGeom>
            <a:avLst/>
            <a:gdLst>
              <a:gd name="connsiteX0" fmla="*/ 703107 w 1412433"/>
              <a:gd name="connsiteY0" fmla="*/ 0 h 1418652"/>
              <a:gd name="connsiteX1" fmla="*/ 1412433 w 1412433"/>
              <a:gd name="connsiteY1" fmla="*/ 709326 h 1418652"/>
              <a:gd name="connsiteX2" fmla="*/ 703107 w 1412433"/>
              <a:gd name="connsiteY2" fmla="*/ 1418652 h 1418652"/>
              <a:gd name="connsiteX3" fmla="*/ 8192 w 1412433"/>
              <a:gd name="connsiteY3" fmla="*/ 852280 h 1418652"/>
              <a:gd name="connsiteX4" fmla="*/ 0 w 1412433"/>
              <a:gd name="connsiteY4" fmla="*/ 771017 h 1418652"/>
              <a:gd name="connsiteX5" fmla="*/ 0 w 1412433"/>
              <a:gd name="connsiteY5" fmla="*/ 647635 h 1418652"/>
              <a:gd name="connsiteX6" fmla="*/ 8192 w 1412433"/>
              <a:gd name="connsiteY6" fmla="*/ 566372 h 1418652"/>
              <a:gd name="connsiteX7" fmla="*/ 703107 w 1412433"/>
              <a:gd name="connsiteY7" fmla="*/ 0 h 1418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12433" h="1418652">
                <a:moveTo>
                  <a:pt x="703107" y="0"/>
                </a:moveTo>
                <a:cubicBezTo>
                  <a:pt x="1094857" y="0"/>
                  <a:pt x="1412433" y="317576"/>
                  <a:pt x="1412433" y="709326"/>
                </a:cubicBezTo>
                <a:cubicBezTo>
                  <a:pt x="1412433" y="1101076"/>
                  <a:pt x="1094857" y="1418652"/>
                  <a:pt x="703107" y="1418652"/>
                </a:cubicBezTo>
                <a:cubicBezTo>
                  <a:pt x="360326" y="1418652"/>
                  <a:pt x="74334" y="1175508"/>
                  <a:pt x="8192" y="852280"/>
                </a:cubicBezTo>
                <a:lnTo>
                  <a:pt x="0" y="771017"/>
                </a:lnTo>
                <a:lnTo>
                  <a:pt x="0" y="647635"/>
                </a:lnTo>
                <a:lnTo>
                  <a:pt x="8192" y="566372"/>
                </a:lnTo>
                <a:cubicBezTo>
                  <a:pt x="74334" y="243144"/>
                  <a:pt x="360326" y="0"/>
                  <a:pt x="703107" y="0"/>
                </a:cubicBezTo>
                <a:close/>
              </a:path>
            </a:pathLst>
          </a:cu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D7C538C-9928-A739-D773-8A02B663DDF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461" t="4667" r="16461" b="24003"/>
          <a:stretch>
            <a:fillRect/>
          </a:stretch>
        </p:blipFill>
        <p:spPr>
          <a:xfrm>
            <a:off x="8244321" y="4337661"/>
            <a:ext cx="1418652" cy="1418652"/>
          </a:xfrm>
          <a:custGeom>
            <a:avLst/>
            <a:gdLst>
              <a:gd name="connsiteX0" fmla="*/ 709326 w 1418652"/>
              <a:gd name="connsiteY0" fmla="*/ 0 h 1418652"/>
              <a:gd name="connsiteX1" fmla="*/ 1418652 w 1418652"/>
              <a:gd name="connsiteY1" fmla="*/ 709326 h 1418652"/>
              <a:gd name="connsiteX2" fmla="*/ 709326 w 1418652"/>
              <a:gd name="connsiteY2" fmla="*/ 1418652 h 1418652"/>
              <a:gd name="connsiteX3" fmla="*/ 0 w 1418652"/>
              <a:gd name="connsiteY3" fmla="*/ 709326 h 1418652"/>
              <a:gd name="connsiteX4" fmla="*/ 709326 w 1418652"/>
              <a:gd name="connsiteY4" fmla="*/ 0 h 1418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18652" h="1418652">
                <a:moveTo>
                  <a:pt x="709326" y="0"/>
                </a:moveTo>
                <a:cubicBezTo>
                  <a:pt x="1101076" y="0"/>
                  <a:pt x="1418652" y="317576"/>
                  <a:pt x="1418652" y="709326"/>
                </a:cubicBezTo>
                <a:cubicBezTo>
                  <a:pt x="1418652" y="1101076"/>
                  <a:pt x="1101076" y="1418652"/>
                  <a:pt x="709326" y="1418652"/>
                </a:cubicBezTo>
                <a:cubicBezTo>
                  <a:pt x="317576" y="1418652"/>
                  <a:pt x="0" y="1101076"/>
                  <a:pt x="0" y="709326"/>
                </a:cubicBezTo>
                <a:cubicBezTo>
                  <a:pt x="0" y="317576"/>
                  <a:pt x="317576" y="0"/>
                  <a:pt x="709326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5856868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788BB95-BA8A-580C-C1C0-473B9AA042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3. März 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FD9ED0-767B-852F-C153-0F0C5F9468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1E6F080-96A7-058D-35CC-CFAC89AE65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36782E6E-4A6F-7C59-79D6-B007C77029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Appendix</a:t>
            </a:r>
            <a:endParaRPr lang="de-DE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7B67832-EC4B-6D6E-5706-23C858665C1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>
                <a:cs typeface="Arial"/>
              </a:rPr>
              <a:t>Architecture Hand-</a:t>
            </a:r>
            <a:r>
              <a:rPr lang="de-DE" dirty="0" err="1">
                <a:cs typeface="Arial"/>
              </a:rPr>
              <a:t>Crafted</a:t>
            </a:r>
            <a:r>
              <a:rPr lang="de-DE" dirty="0">
                <a:cs typeface="Arial"/>
              </a:rPr>
              <a:t> </a:t>
            </a:r>
            <a:r>
              <a:rPr lang="de-DE" dirty="0" err="1">
                <a:cs typeface="Arial"/>
              </a:rPr>
              <a:t>Localization</a:t>
            </a:r>
            <a:r>
              <a:rPr lang="de-DE" dirty="0">
                <a:cs typeface="Arial"/>
              </a:rPr>
              <a:t> Model</a:t>
            </a:r>
            <a:endParaRPr lang="de-DE" dirty="0"/>
          </a:p>
        </p:txBody>
      </p:sp>
      <p:sp>
        <p:nvSpPr>
          <p:cNvPr id="33" name="Textfeld 1">
            <a:extLst>
              <a:ext uri="{FF2B5EF4-FFF2-40B4-BE49-F238E27FC236}">
                <a16:creationId xmlns:a16="http://schemas.microsoft.com/office/drawing/2014/main" id="{3FDA71FB-B8CB-E13E-ED35-87FA7403BA0F}"/>
              </a:ext>
            </a:extLst>
          </p:cNvPr>
          <p:cNvSpPr txBox="1"/>
          <p:nvPr/>
        </p:nvSpPr>
        <p:spPr>
          <a:xfrm>
            <a:off x="273904" y="3228572"/>
            <a:ext cx="6729984" cy="1292662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800"/>
              </a:spcAft>
              <a:buFont typeface="Arial,Sans-Serif"/>
              <a:buChar char="•"/>
            </a:pPr>
            <a:r>
              <a:rPr lang="de-DE" sz="1600" err="1">
                <a:latin typeface="Arial"/>
                <a:cs typeface="Arial"/>
              </a:rPr>
              <a:t>Two</a:t>
            </a:r>
            <a:r>
              <a:rPr lang="de-DE" sz="1600">
                <a:latin typeface="Arial"/>
                <a:cs typeface="Arial"/>
              </a:rPr>
              <a:t> </a:t>
            </a:r>
            <a:r>
              <a:rPr lang="de-DE" sz="1600" err="1">
                <a:latin typeface="Arial"/>
                <a:cs typeface="Arial"/>
              </a:rPr>
              <a:t>convolutional</a:t>
            </a:r>
            <a:r>
              <a:rPr lang="de-DE" sz="1600">
                <a:latin typeface="Arial"/>
                <a:cs typeface="Arial"/>
              </a:rPr>
              <a:t> and </a:t>
            </a:r>
            <a:r>
              <a:rPr lang="de-DE" sz="1600" err="1">
                <a:latin typeface="Arial"/>
                <a:cs typeface="Arial"/>
              </a:rPr>
              <a:t>two</a:t>
            </a:r>
            <a:r>
              <a:rPr lang="de-DE" sz="1600">
                <a:latin typeface="Arial"/>
                <a:cs typeface="Arial"/>
              </a:rPr>
              <a:t> fully </a:t>
            </a:r>
            <a:r>
              <a:rPr lang="de-DE" sz="1600" err="1">
                <a:latin typeface="Arial"/>
                <a:cs typeface="Arial"/>
              </a:rPr>
              <a:t>connected</a:t>
            </a:r>
            <a:r>
              <a:rPr lang="de-DE" sz="1600">
                <a:latin typeface="Arial"/>
                <a:cs typeface="Arial"/>
              </a:rPr>
              <a:t> </a:t>
            </a:r>
            <a:r>
              <a:rPr lang="de-DE" sz="1600" err="1">
                <a:latin typeface="Arial"/>
                <a:cs typeface="Arial"/>
              </a:rPr>
              <a:t>layers</a:t>
            </a:r>
            <a:endParaRPr lang="de-DE" sz="1600" err="1">
              <a:ea typeface="+mn-lt"/>
              <a:cs typeface="+mn-lt"/>
            </a:endParaRPr>
          </a:p>
          <a:p>
            <a:pPr marL="285750" indent="-285750">
              <a:spcAft>
                <a:spcPts val="800"/>
              </a:spcAft>
              <a:buFont typeface="Arial,Sans-Serif"/>
              <a:buChar char="•"/>
            </a:pPr>
            <a:r>
              <a:rPr lang="de-DE" sz="1600">
                <a:latin typeface="Arial"/>
                <a:cs typeface="Arial"/>
              </a:rPr>
              <a:t>Kernel </a:t>
            </a:r>
            <a:r>
              <a:rPr lang="de-DE" sz="1600" err="1">
                <a:latin typeface="Arial"/>
                <a:cs typeface="Arial"/>
              </a:rPr>
              <a:t>size</a:t>
            </a:r>
            <a:r>
              <a:rPr lang="de-DE" sz="1600">
                <a:latin typeface="Arial"/>
                <a:cs typeface="Arial"/>
              </a:rPr>
              <a:t>: 5</a:t>
            </a:r>
            <a:endParaRPr lang="de-DE" sz="1600">
              <a:ea typeface="+mn-lt"/>
              <a:cs typeface="+mn-lt"/>
            </a:endParaRPr>
          </a:p>
          <a:p>
            <a:pPr marL="285750" indent="-285750">
              <a:spcAft>
                <a:spcPts val="800"/>
              </a:spcAft>
              <a:buFont typeface="Arial,Sans-Serif"/>
              <a:buChar char="•"/>
            </a:pPr>
            <a:r>
              <a:rPr lang="de-DE" sz="1600">
                <a:latin typeface="Arial"/>
                <a:cs typeface="Arial"/>
              </a:rPr>
              <a:t>Adam Optimizer </a:t>
            </a:r>
            <a:endParaRPr lang="de-DE" sz="1600">
              <a:ea typeface="+mn-lt"/>
              <a:cs typeface="+mn-lt"/>
            </a:endParaRPr>
          </a:p>
          <a:p>
            <a:pPr marL="285750" indent="-285750">
              <a:spcAft>
                <a:spcPts val="800"/>
              </a:spcAft>
              <a:buFont typeface="Arial,Sans-Serif"/>
              <a:buChar char="•"/>
            </a:pPr>
            <a:r>
              <a:rPr lang="de-DE" sz="1600" err="1">
                <a:latin typeface="Arial"/>
                <a:cs typeface="Arial"/>
              </a:rPr>
              <a:t>ReLu</a:t>
            </a:r>
            <a:r>
              <a:rPr lang="de-DE" sz="1600">
                <a:latin typeface="Arial"/>
                <a:cs typeface="Arial"/>
              </a:rPr>
              <a:t> </a:t>
            </a:r>
            <a:r>
              <a:rPr lang="de-DE" sz="1600" err="1">
                <a:latin typeface="Arial"/>
                <a:cs typeface="Arial"/>
              </a:rPr>
              <a:t>activation</a:t>
            </a:r>
            <a:r>
              <a:rPr lang="de-DE" sz="1600">
                <a:latin typeface="Arial"/>
                <a:cs typeface="Arial"/>
              </a:rPr>
              <a:t> </a:t>
            </a:r>
            <a:r>
              <a:rPr lang="de-DE" sz="1600" err="1">
                <a:latin typeface="Arial"/>
                <a:cs typeface="Arial"/>
              </a:rPr>
              <a:t>function</a:t>
            </a:r>
            <a:endParaRPr lang="de-DE" err="1"/>
          </a:p>
        </p:txBody>
      </p:sp>
      <p:pic>
        <p:nvPicPr>
          <p:cNvPr id="40" name="Grafik 40" descr="Ein Bild, das Text enthält.&#10;&#10;Beschreibung automatisch generiert.">
            <a:extLst>
              <a:ext uri="{FF2B5EF4-FFF2-40B4-BE49-F238E27FC236}">
                <a16:creationId xmlns:a16="http://schemas.microsoft.com/office/drawing/2014/main" id="{2EF307C3-CF95-318F-8A90-6FA5875BD7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6555" y="2647427"/>
            <a:ext cx="5480481" cy="2835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42899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5">
            <a:extLst>
              <a:ext uri="{FF2B5EF4-FFF2-40B4-BE49-F238E27FC236}">
                <a16:creationId xmlns:a16="http://schemas.microsoft.com/office/drawing/2014/main" id="{06E69EF6-5F75-EF00-A656-2EF79BFF6CB7}"/>
              </a:ext>
            </a:extLst>
          </p:cNvPr>
          <p:cNvSpPr txBox="1">
            <a:spLocks/>
          </p:cNvSpPr>
          <p:nvPr/>
        </p:nvSpPr>
        <p:spPr>
          <a:xfrm>
            <a:off x="518318" y="301185"/>
            <a:ext cx="6844385" cy="3323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41E4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Appendix</a:t>
            </a:r>
            <a:endParaRPr lang="en-GB" dirty="0"/>
          </a:p>
        </p:txBody>
      </p:sp>
      <p:sp>
        <p:nvSpPr>
          <p:cNvPr id="28" name="矩形: 圆角 3">
            <a:extLst>
              <a:ext uri="{FF2B5EF4-FFF2-40B4-BE49-F238E27FC236}">
                <a16:creationId xmlns:a16="http://schemas.microsoft.com/office/drawing/2014/main" id="{621105F3-4947-AD0E-F2E6-75361C3D39E9}"/>
              </a:ext>
            </a:extLst>
          </p:cNvPr>
          <p:cNvSpPr/>
          <p:nvPr/>
        </p:nvSpPr>
        <p:spPr>
          <a:xfrm>
            <a:off x="2935926" y="2081177"/>
            <a:ext cx="2009167" cy="2695645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1400" b="1" dirty="0">
                <a:solidFill>
                  <a:schemeClr val="accent1"/>
                </a:solidFill>
                <a:cs typeface="Arial" panose="020B0604020202020204" pitchFamily="34" charset="0"/>
              </a:rPr>
              <a:t>Training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 sz="1400" dirty="0">
              <a:solidFill>
                <a:schemeClr val="accent1"/>
              </a:solidFill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schemeClr val="accent1"/>
                </a:solidFill>
                <a:cs typeface="Arial" panose="020B0604020202020204" pitchFamily="34" charset="0"/>
              </a:rPr>
              <a:t>10 </a:t>
            </a:r>
            <a:r>
              <a:rPr lang="de-DE" sz="1400" dirty="0" err="1">
                <a:solidFill>
                  <a:schemeClr val="accent1"/>
                </a:solidFill>
                <a:cs typeface="Arial" panose="020B0604020202020204" pitchFamily="34" charset="0"/>
              </a:rPr>
              <a:t>Epochs</a:t>
            </a:r>
            <a:endParaRPr lang="en-US" sz="1400" dirty="0">
              <a:solidFill>
                <a:schemeClr val="accent1"/>
              </a:solidFill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chemeClr val="accent1"/>
                </a:solidFill>
                <a:cs typeface="Arial" panose="020B0604020202020204" pitchFamily="34" charset="0"/>
              </a:rPr>
              <a:t>Adam Optimiz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b="0" dirty="0">
                <a:solidFill>
                  <a:schemeClr val="accent1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Learning Rate 3e</a:t>
            </a:r>
            <a:r>
              <a:rPr lang="en-US" sz="1400" b="0" baseline="30000" dirty="0">
                <a:solidFill>
                  <a:schemeClr val="accent1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-4</a:t>
            </a:r>
            <a:endParaRPr lang="en-US" sz="1400" b="0" baseline="30000" dirty="0">
              <a:solidFill>
                <a:schemeClr val="accent1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chemeClr val="accent1"/>
                </a:solidFill>
                <a:cs typeface="Arial" panose="020B0604020202020204" pitchFamily="34" charset="0"/>
              </a:rPr>
              <a:t>(Binary) Cross-Entropy Loss </a:t>
            </a:r>
            <a:r>
              <a:rPr lang="en-US" sz="1400" dirty="0" err="1">
                <a:solidFill>
                  <a:schemeClr val="accent1"/>
                </a:solidFill>
                <a:cs typeface="Arial" panose="020B0604020202020204" pitchFamily="34" charset="0"/>
              </a:rPr>
              <a:t>Fct</a:t>
            </a:r>
            <a:endParaRPr lang="zh-CN" altLang="en-US" sz="140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30" name="矩形: 圆角 3">
            <a:extLst>
              <a:ext uri="{FF2B5EF4-FFF2-40B4-BE49-F238E27FC236}">
                <a16:creationId xmlns:a16="http://schemas.microsoft.com/office/drawing/2014/main" id="{B98548FF-AB3D-7BA2-F5B5-62A8D27ED685}"/>
              </a:ext>
            </a:extLst>
          </p:cNvPr>
          <p:cNvSpPr/>
          <p:nvPr/>
        </p:nvSpPr>
        <p:spPr>
          <a:xfrm>
            <a:off x="518318" y="2081177"/>
            <a:ext cx="2009167" cy="2695645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dirty="0">
                <a:solidFill>
                  <a:schemeClr val="accent1"/>
                </a:solidFill>
              </a:rPr>
              <a:t>Data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accent1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chemeClr val="accent1"/>
                </a:solidFill>
              </a:rPr>
              <a:t>Training Data (70%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chemeClr val="accent1"/>
                </a:solidFill>
              </a:rPr>
              <a:t>Validation Data (20%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chemeClr val="accent1"/>
                </a:solidFill>
              </a:rPr>
              <a:t>Test Data (10%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400" dirty="0">
                <a:solidFill>
                  <a:schemeClr val="accent1"/>
                </a:solidFill>
              </a:rPr>
              <a:t>Transformations</a:t>
            </a:r>
            <a:endParaRPr lang="zh-CN" altLang="en-US" sz="1400" dirty="0">
              <a:solidFill>
                <a:schemeClr val="accent1"/>
              </a:solidFill>
            </a:endParaRPr>
          </a:p>
        </p:txBody>
      </p:sp>
      <p:pic>
        <p:nvPicPr>
          <p:cNvPr id="4" name="Grafik 3" descr="Ein Bild, das Text enthält.&#10;&#10;Automatisch generierte Beschreibung">
            <a:extLst>
              <a:ext uri="{FF2B5EF4-FFF2-40B4-BE49-F238E27FC236}">
                <a16:creationId xmlns:a16="http://schemas.microsoft.com/office/drawing/2014/main" id="{8432099F-6588-6064-945A-091B00BC3A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4044" y="1940678"/>
            <a:ext cx="5733530" cy="2976641"/>
          </a:xfrm>
          <a:prstGeom prst="rect">
            <a:avLst/>
          </a:prstGeom>
        </p:spPr>
      </p:pic>
      <p:sp>
        <p:nvSpPr>
          <p:cNvPr id="2" name="Textplatzhalter 28">
            <a:extLst>
              <a:ext uri="{FF2B5EF4-FFF2-40B4-BE49-F238E27FC236}">
                <a16:creationId xmlns:a16="http://schemas.microsoft.com/office/drawing/2014/main" id="{CAC695B4-410F-6874-5955-04BB564AE241}"/>
              </a:ext>
            </a:extLst>
          </p:cNvPr>
          <p:cNvSpPr txBox="1">
            <a:spLocks/>
          </p:cNvSpPr>
          <p:nvPr/>
        </p:nvSpPr>
        <p:spPr>
          <a:xfrm>
            <a:off x="518317" y="687598"/>
            <a:ext cx="6844385" cy="24981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cs typeface="Arial"/>
              </a:rPr>
              <a:t>Classific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1485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Object 61" hidden="1">
            <a:extLst>
              <a:ext uri="{FF2B5EF4-FFF2-40B4-BE49-F238E27FC236}">
                <a16:creationId xmlns:a16="http://schemas.microsoft.com/office/drawing/2014/main" id="{A5917056-8CA0-1E4C-4870-330F8AD379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163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7" imgW="7772400" imgH="10058400" progId="TCLayout.ActiveDocument.1">
                  <p:embed/>
                </p:oleObj>
              </mc:Choice>
              <mc:Fallback>
                <p:oleObj name="think-cell Slide" r:id="rId117" imgW="7772400" imgH="10058400" progId="TCLayout.ActiveDocument.1">
                  <p:embed/>
                  <p:pic>
                    <p:nvPicPr>
                      <p:cNvPr id="62" name="Object 61" hidden="1">
                        <a:extLst>
                          <a:ext uri="{FF2B5EF4-FFF2-40B4-BE49-F238E27FC236}">
                            <a16:creationId xmlns:a16="http://schemas.microsoft.com/office/drawing/2014/main" id="{A5917056-8CA0-1E4C-4870-330F8AD37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163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>
            <a:extLst>
              <a:ext uri="{FF2B5EF4-FFF2-40B4-BE49-F238E27FC236}">
                <a16:creationId xmlns:a16="http://schemas.microsoft.com/office/drawing/2014/main" id="{079C8B1F-CC3C-81FE-AEA5-D226643BF6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664797"/>
          </a:xfrm>
        </p:spPr>
        <p:txBody>
          <a:bodyPr/>
          <a:lstStyle/>
          <a:p>
            <a:r>
              <a:rPr lang="en-US" b="1"/>
              <a:t>Project Timeline</a:t>
            </a:r>
            <a:br>
              <a:rPr lang="en-US" b="1">
                <a:cs typeface="Arial"/>
              </a:rPr>
            </a:b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335F1B0-0568-BB87-C361-8E7598FC7D2B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2EE27DB-36D8-0843-DFBF-5DA25C02803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5B3E0DA6-F95E-EC42-DB12-5518620012C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032001" y="1473200"/>
            <a:ext cx="3393017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9F79173-8863-4441-B77D-D4A891873D85}" type="datetime'''''''''''''''''2''''''''02''''''''''''2''''''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D0D2B07B-60A8-E32B-C7E6-0971A1F3156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425018" y="1473200"/>
            <a:ext cx="6504517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1160AF4-8079-4CFD-AB3C-FD996C2A7A65}" type="datetime'''''''2''''''''''''''''''''02''3''''''''''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5AC38C2-482B-B447-759C-7F8297C9C7BE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032000" y="1820334"/>
            <a:ext cx="1202267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12A2493-834A-4AD0-83A0-B60F12DA8AB2}" type="datetime'''''''''''''''N''''''''o''''''''v''''''''''''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Nov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086DAB4-7C15-7597-69A2-E518DF85A72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234269" y="1820334"/>
            <a:ext cx="2190751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803C65B-148B-48AE-94D4-B03BDABCE697}" type="datetime'''''D''''''''''''''''''''''''''e''''''''''c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Dec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6004C94-268A-817A-E939-B304BCDA586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425017" y="1820334"/>
            <a:ext cx="2192867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5DE23FE-248E-44ED-B310-D5182F486884}" type="datetime'''''''''''''''''''''Ja''''n''''''''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an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5FB5703E-5623-3305-F463-40C1FDB6424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617886" y="1820334"/>
            <a:ext cx="1979084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3DEC895-CBB1-4C65-93A4-0AE713A3D40B}" type="datetime'''''''''''''''''''''F''e''''''''''''''''''''b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eb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308422FF-4063-BC72-2F64-ED576B5E6703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596967" y="1820334"/>
            <a:ext cx="2190751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0A26932-90C2-43F8-A4F4-09FCB7274B4C}" type="datetime'''''''M''''''''a''''''''''''''r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F13EE7C5-E14E-5AA6-AB6E-766CAB38F18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1787718" y="1820334"/>
            <a:ext cx="141817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67" b="1">
              <a:solidFill>
                <a:schemeClr val="tx1"/>
              </a:solidFill>
              <a:latin typeface="Helvetica" panose="020B0604020202020204" pitchFamily="34" charset="0"/>
              <a:sym typeface="Helvetica" pitchFamily="2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DCDBC47-7C66-B4D2-8018-BEB9B3D925C5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032002" y="2167467"/>
            <a:ext cx="495300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D9007EA-CCED-4E08-B79C-09877590ECF1}" type="datetime'''''''''''''''''''''''4''''''''''''''''''''''6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17FF0083-AF4D-2E89-9EC3-A59A968E8D90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527302" y="2167467"/>
            <a:ext cx="495300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6670CA9-D7EB-47F0-A774-D7CB58F19500}" type="datetime'''''''''''''''''4''''''''''7''''''''''''''''''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7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9D1ED806-CA6A-F52A-7247-F8F5E34A3CC5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022600" y="2167467"/>
            <a:ext cx="493184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41907AD-EA85-46C1-94B2-158AAE9E374F}" type="datetime'''''''4''''''''''''''''''''8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8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A469B25-508B-6D70-0C1F-DE16A4B3C661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515786" y="2167467"/>
            <a:ext cx="495300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A6A6BC7-7EF5-4A44-9A11-35ECE538CA20}" type="datetime'''''4''''''''9''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9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D149CEA-C06C-9EFF-3B0F-A57FF4D6CB6A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4011086" y="2167467"/>
            <a:ext cx="495300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2568962-AAEC-41E6-AB6D-D1937FA54234}" type="datetime'''''''5''''''''''''''''''0''''''''''''''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308B7B9D-F008-6613-4F19-E90F266BB6C2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4506386" y="2167467"/>
            <a:ext cx="495300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FA4E499-ECE8-418B-B99D-58AC29C7A4FF}" type="datetime'''''''''''''''''''''''''5''''''''''''''''''1''''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1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878CED4D-2674-AF27-15D3-8A15467410A1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001686" y="2167467"/>
            <a:ext cx="495300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34EBFF9-A23E-4FC9-80E8-5D6A3B4DE08A}" type="datetime'''''''5''''''''''''''''''''''''''''''''''2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2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C9153969-1EBE-2BB3-CD9C-163861074B47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496984" y="2167467"/>
            <a:ext cx="493184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210CE59-6949-4B62-B8CC-C6F67F5F1577}" type="datetime'''''''''''''''0''''''''''1''''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1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63CC1D9-B514-135E-648D-FD560FBB4979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990169" y="2167467"/>
            <a:ext cx="495300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2AFF38A-0C95-43AC-A1C4-8DF1B36B3A2A}" type="datetime'0''''''''2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2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A3D24FD5-6852-CA0B-EFB9-0F5DACB8B2FA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485469" y="2167467"/>
            <a:ext cx="495300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251E31A-77DF-41A9-9BAD-091D98F1AD35}" type="datetime'''''''''''''''''''''0''''''''''3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3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F6BAC13-7402-2184-1903-876002B353E7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6980769" y="2167467"/>
            <a:ext cx="495300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A77B9BE-401F-47BF-ACD0-597E42DCB2ED}" type="datetime'''''0''4''''''''''''''''''''''''''''''''''''''''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4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1B78AB00-C19C-09BE-74FC-E3CC520FA245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7476069" y="2167467"/>
            <a:ext cx="495300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B911D90-45C5-4B86-B3C5-0D679AB046CE}" type="datetime'''''''''''''''0''''''''''''''''''''5''''''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5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0A70709-315B-DCCE-C389-AD6C019FE161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7971367" y="2167467"/>
            <a:ext cx="493184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B44461C-4826-4715-B056-BD909EFBD00F}" type="datetime'''''0''''''''''''''''''''''''''''''''''''''''''''''6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6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DF16EA3-FB62-DFF3-0519-2FABFC026B8E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8464553" y="2167467"/>
            <a:ext cx="495300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B44422C-B70B-47E2-9B06-1483294B8942}" type="datetime'''''''''''''''''''''0''''7''''''''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7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C0C436B-C1E3-6579-6759-F4837EB3ADB2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959853" y="2167467"/>
            <a:ext cx="495300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DB5B8FA-85FB-435C-9B23-EEF07489CE00}" type="datetime'''''''''''''''0''''8''''''''''''''''''''''''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8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836703A-5937-45F4-0D98-166E21B210B3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9455153" y="2167467"/>
            <a:ext cx="495300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A79D617-9006-4E01-AE68-D6E7C9C9BA59}" type="datetime'''''''''''''''''''''''''''''''0''''''''''9''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9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FB77EC7-3014-98F6-88A3-2AFADB01ED68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9950453" y="2167467"/>
            <a:ext cx="495300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2C8336C-FFE3-4217-A62A-6656F03141A9}" type="datetime'''''''''''''''''''''''''''1''''''''''''''''''''''''''0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B50F3697-8322-DB3F-9918-7372D510CFFE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0445751" y="2167467"/>
            <a:ext cx="493184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7E7D5BC-529D-4CEC-92DD-0E54EDB2058F}" type="datetime'1''''''''''''''''''''''1''''''''''''''''''''''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4F0AE5BF-3F81-AC07-9E6A-3D8DF4723587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0938935" y="2167467"/>
            <a:ext cx="495300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DCB1259-3B40-47B8-A16D-B6C1ED5C15A0}" type="datetime'''''''1''''''2''''''''''''''''''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A32FDF9E-CDA1-B6FE-368B-4DA14D03C318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1434235" y="2167467"/>
            <a:ext cx="495300" cy="3471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1751" rIns="0" bIns="317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B420CA1-2116-4C64-AE81-4DD85E6A6CC2}" type="datetime'''''''''''''''''''''''''''''''''''1''3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FC5869E-7F9E-6471-6788-6CA0C9D95ACB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11929533" y="2514599"/>
            <a:ext cx="0" cy="3530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4A5C09D-D833-F02B-80AE-A1A7E1504800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2032000" y="2514599"/>
            <a:ext cx="0" cy="3530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4E33A7BC-7372-C2AE-FE53-1D6F93FBC6BF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3234267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A2BF55DE-29A1-C5DE-8DA8-8BAE99BA8828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11787717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517DB20E-3AD9-37BA-0CE1-203BACFB2FC2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9596967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8F30FD06-A846-6B33-F687-CB090A67CD8F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7617884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B5343B93-306E-4BA4-7784-53BA677C6834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5425017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33D4C94C-DA7D-FF3C-F691-F4F5F77AD7D5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527051" y="2514599"/>
            <a:ext cx="0" cy="3530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8ED4A44E-43A8-B5AD-388B-534D863722D0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8464551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927E1AD7-A8A4-7B3C-40E3-BCAC691BE7EC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7971367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E1F6B045-133F-F8D3-2C51-003CA4684427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7476067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33521DBF-C3B2-E170-A619-27FD6BAB77AF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6980767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949EEA1B-0449-DD1C-3F79-17C67BF04F63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6485467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36BEAF71-C3CA-5FBB-7D9F-9BBAFB441F36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11434233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587A5499-8E6A-D00B-2219-7A98BDCCCBD2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5990167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52FE02FC-E1DB-5063-60F6-94D5D7E6EDD0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5496984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6DA516D3-6673-89D9-EFCD-A980171D91C3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5001684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C47159BE-ADC6-8730-8A45-1FC6A115B609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4506384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6AEF091E-C4B1-3548-368F-688021C3B18B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4011084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EEF6A9C1-B123-6946-CB9F-E5827E03BAE9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3515784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EB35702E-6367-7901-2D1B-12C631014170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3022600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9E5B1184-93E2-4F98-D4E8-7BF3D3FE87FC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2527300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104DD1FA-684B-9811-343D-B5953C9BC51C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10938933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478A6E99-8C4D-ECBC-DB6F-78018402B4B1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10445751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CDC4ABF8-BCE4-24BB-CD44-F4E15BAE559A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9950451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B18B5E54-AFBD-EE8C-BBEC-718F430FA543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9455151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D56FA4F0-ECDA-732D-C9DB-FC44CA13C24B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8959851" y="251459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9E38C54-3A55-8C52-1B49-0D4994923CC1}"/>
              </a:ext>
            </a:extLst>
          </p:cNvPr>
          <p:cNvCxnSpPr/>
          <p:nvPr>
            <p:custDataLst>
              <p:tags r:id="rId57"/>
            </p:custDataLst>
          </p:nvPr>
        </p:nvCxnSpPr>
        <p:spPr bwMode="gray">
          <a:xfrm>
            <a:off x="6627284" y="2514600"/>
            <a:ext cx="0" cy="353060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BCE349F2-B850-DD22-F1C4-B51CEC884B58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527051" y="6045200"/>
            <a:ext cx="11402484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6F8987AA-9786-D8CC-259B-2C3CE46CD2F5}"/>
              </a:ext>
            </a:extLst>
          </p:cNvPr>
          <p:cNvCxnSpPr/>
          <p:nvPr>
            <p:custDataLst>
              <p:tags r:id="rId59"/>
            </p:custDataLst>
          </p:nvPr>
        </p:nvCxnSpPr>
        <p:spPr bwMode="gray">
          <a:xfrm>
            <a:off x="2243667" y="2514601"/>
            <a:ext cx="0" cy="3748617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0C1F0F77-DC76-DEB5-5683-2570CEDCE33F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>
            <a:off x="10231967" y="2514601"/>
            <a:ext cx="0" cy="3748617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6124B7DB-9C76-00ED-FA43-B48660A294B9}"/>
              </a:ext>
            </a:extLst>
          </p:cNvPr>
          <p:cNvCxnSpPr/>
          <p:nvPr>
            <p:custDataLst>
              <p:tags r:id="rId61"/>
            </p:custDataLst>
          </p:nvPr>
        </p:nvCxnSpPr>
        <p:spPr bwMode="gray">
          <a:xfrm>
            <a:off x="10515600" y="2514601"/>
            <a:ext cx="0" cy="3748617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C68F143-E61E-65E0-350C-D621A9300592}"/>
              </a:ext>
            </a:extLst>
          </p:cNvPr>
          <p:cNvCxnSpPr/>
          <p:nvPr>
            <p:custDataLst>
              <p:tags r:id="rId62"/>
            </p:custDataLst>
          </p:nvPr>
        </p:nvCxnSpPr>
        <p:spPr bwMode="gray">
          <a:xfrm>
            <a:off x="6627284" y="2514601"/>
            <a:ext cx="0" cy="3748617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4F960919-E71A-9F5D-99AA-55FDD64B775D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527051" y="2514600"/>
            <a:ext cx="11402484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0" name="Chevron 199">
            <a:extLst>
              <a:ext uri="{FF2B5EF4-FFF2-40B4-BE49-F238E27FC236}">
                <a16:creationId xmlns:a16="http://schemas.microsoft.com/office/drawing/2014/main" id="{629694FB-CA41-BB2E-534F-114D81CD25C0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8259234" y="2880785"/>
            <a:ext cx="3528484" cy="353484"/>
          </a:xfrm>
          <a:prstGeom prst="chevron">
            <a:avLst>
              <a:gd name="adj" fmla="val 17964"/>
            </a:avLst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60960" rIns="120651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1600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t>Lecture free period</a:t>
            </a:r>
            <a:endParaRPr lang="en-US" sz="1600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139" name="Pentagon 138">
            <a:extLst>
              <a:ext uri="{FF2B5EF4-FFF2-40B4-BE49-F238E27FC236}">
                <a16:creationId xmlns:a16="http://schemas.microsoft.com/office/drawing/2014/main" id="{55C8F402-FC6A-ACFD-EFDA-CE69C20C022A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2032000" y="2880785"/>
            <a:ext cx="6292851" cy="353484"/>
          </a:xfrm>
          <a:prstGeom prst="homePlate">
            <a:avLst>
              <a:gd name="adj" fmla="val 17964"/>
            </a:avLst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60960" rIns="1524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1600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t> Lecture period</a:t>
            </a:r>
            <a:endParaRPr lang="en-US" sz="1600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229" name="Oval 228">
            <a:extLst>
              <a:ext uri="{FF2B5EF4-FFF2-40B4-BE49-F238E27FC236}">
                <a16:creationId xmlns:a16="http://schemas.microsoft.com/office/drawing/2014/main" id="{5CF809B5-66BD-9A8B-696F-261382B721B4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10297584" y="4601633"/>
            <a:ext cx="152400" cy="152400"/>
          </a:xfrm>
          <a:prstGeom prst="ellipse">
            <a:avLst/>
          </a:prstGeom>
          <a:solidFill>
            <a:srgbClr val="C0C0C0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01D5FAC-78A7-BCE0-75A4-92CAFD51AD45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10085917" y="4601633"/>
            <a:ext cx="152400" cy="152400"/>
          </a:xfrm>
          <a:prstGeom prst="ellipse">
            <a:avLst/>
          </a:prstGeom>
          <a:solidFill>
            <a:srgbClr val="C0C0C0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27" name="Oval 226">
            <a:extLst>
              <a:ext uri="{FF2B5EF4-FFF2-40B4-BE49-F238E27FC236}">
                <a16:creationId xmlns:a16="http://schemas.microsoft.com/office/drawing/2014/main" id="{7E0480C6-E4BC-22DB-8510-B500A783CF65}"/>
              </a:ext>
            </a:extLst>
          </p:cNvPr>
          <p:cNvSpPr/>
          <p:nvPr>
            <p:custDataLst>
              <p:tags r:id="rId68"/>
            </p:custDataLst>
          </p:nvPr>
        </p:nvSpPr>
        <p:spPr bwMode="gray">
          <a:xfrm>
            <a:off x="9944100" y="4601633"/>
            <a:ext cx="152400" cy="152400"/>
          </a:xfrm>
          <a:prstGeom prst="ellipse">
            <a:avLst/>
          </a:prstGeom>
          <a:solidFill>
            <a:srgbClr val="C0C0C0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26" name="Triangle 225">
            <a:extLst>
              <a:ext uri="{FF2B5EF4-FFF2-40B4-BE49-F238E27FC236}">
                <a16:creationId xmlns:a16="http://schemas.microsoft.com/office/drawing/2014/main" id="{BA242309-906E-A308-FF44-B73B22F63878}"/>
              </a:ext>
            </a:extLst>
          </p:cNvPr>
          <p:cNvSpPr/>
          <p:nvPr>
            <p:custDataLst>
              <p:tags r:id="rId69"/>
            </p:custDataLst>
          </p:nvPr>
        </p:nvSpPr>
        <p:spPr bwMode="gray">
          <a:xfrm>
            <a:off x="9700752" y="4601633"/>
            <a:ext cx="152400" cy="1524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25" name="Oval 224">
            <a:extLst>
              <a:ext uri="{FF2B5EF4-FFF2-40B4-BE49-F238E27FC236}">
                <a16:creationId xmlns:a16="http://schemas.microsoft.com/office/drawing/2014/main" id="{33E19EA5-8A4A-912D-7589-B552F3417E2B}"/>
              </a:ext>
            </a:extLst>
          </p:cNvPr>
          <p:cNvSpPr/>
          <p:nvPr>
            <p:custDataLst>
              <p:tags r:id="rId70"/>
            </p:custDataLst>
          </p:nvPr>
        </p:nvSpPr>
        <p:spPr bwMode="gray">
          <a:xfrm>
            <a:off x="8955617" y="4601633"/>
            <a:ext cx="152400" cy="152400"/>
          </a:xfrm>
          <a:prstGeom prst="ellipse">
            <a:avLst/>
          </a:prstGeom>
          <a:solidFill>
            <a:srgbClr val="C0C0C0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24" name="Oval 223">
            <a:extLst>
              <a:ext uri="{FF2B5EF4-FFF2-40B4-BE49-F238E27FC236}">
                <a16:creationId xmlns:a16="http://schemas.microsoft.com/office/drawing/2014/main" id="{20E2D149-8ED7-CD1B-B42C-2AEFA1AFB147}"/>
              </a:ext>
            </a:extLst>
          </p:cNvPr>
          <p:cNvSpPr/>
          <p:nvPr>
            <p:custDataLst>
              <p:tags r:id="rId71"/>
            </p:custDataLst>
          </p:nvPr>
        </p:nvSpPr>
        <p:spPr bwMode="gray">
          <a:xfrm>
            <a:off x="8602133" y="4601633"/>
            <a:ext cx="152400" cy="152400"/>
          </a:xfrm>
          <a:prstGeom prst="ellipse">
            <a:avLst/>
          </a:prstGeom>
          <a:solidFill>
            <a:srgbClr val="C0C0C0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CDACDC0-5A1E-3D07-950F-D7EE505E5FBF}"/>
              </a:ext>
            </a:extLst>
          </p:cNvPr>
          <p:cNvSpPr/>
          <p:nvPr>
            <p:custDataLst>
              <p:tags r:id="rId72"/>
            </p:custDataLst>
          </p:nvPr>
        </p:nvSpPr>
        <p:spPr bwMode="gray">
          <a:xfrm>
            <a:off x="7965017" y="4601633"/>
            <a:ext cx="152400" cy="152400"/>
          </a:xfrm>
          <a:prstGeom prst="ellipse">
            <a:avLst/>
          </a:prstGeom>
          <a:solidFill>
            <a:srgbClr val="C0C0C0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22" name="Oval 221">
            <a:extLst>
              <a:ext uri="{FF2B5EF4-FFF2-40B4-BE49-F238E27FC236}">
                <a16:creationId xmlns:a16="http://schemas.microsoft.com/office/drawing/2014/main" id="{78CD11A1-DB51-1BA1-C5D3-718C9EC3B9AD}"/>
              </a:ext>
            </a:extLst>
          </p:cNvPr>
          <p:cNvSpPr/>
          <p:nvPr>
            <p:custDataLst>
              <p:tags r:id="rId73"/>
            </p:custDataLst>
          </p:nvPr>
        </p:nvSpPr>
        <p:spPr bwMode="gray">
          <a:xfrm>
            <a:off x="7469717" y="4601633"/>
            <a:ext cx="152400" cy="152400"/>
          </a:xfrm>
          <a:prstGeom prst="ellipse">
            <a:avLst/>
          </a:prstGeom>
          <a:solidFill>
            <a:srgbClr val="C0C0C0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21" name="Oval 220">
            <a:extLst>
              <a:ext uri="{FF2B5EF4-FFF2-40B4-BE49-F238E27FC236}">
                <a16:creationId xmlns:a16="http://schemas.microsoft.com/office/drawing/2014/main" id="{78664F8D-D9FC-B9D6-D619-F543390CAC81}"/>
              </a:ext>
            </a:extLst>
          </p:cNvPr>
          <p:cNvSpPr/>
          <p:nvPr>
            <p:custDataLst>
              <p:tags r:id="rId74"/>
            </p:custDataLst>
          </p:nvPr>
        </p:nvSpPr>
        <p:spPr bwMode="gray">
          <a:xfrm>
            <a:off x="6974417" y="4601633"/>
            <a:ext cx="152400" cy="152400"/>
          </a:xfrm>
          <a:prstGeom prst="ellipse">
            <a:avLst/>
          </a:prstGeom>
          <a:solidFill>
            <a:srgbClr val="C0C0C0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20" name="Oval 219">
            <a:extLst>
              <a:ext uri="{FF2B5EF4-FFF2-40B4-BE49-F238E27FC236}">
                <a16:creationId xmlns:a16="http://schemas.microsoft.com/office/drawing/2014/main" id="{B5E2F9D6-D8F5-FDB1-A786-307E2FD79009}"/>
              </a:ext>
            </a:extLst>
          </p:cNvPr>
          <p:cNvSpPr/>
          <p:nvPr>
            <p:custDataLst>
              <p:tags r:id="rId75"/>
            </p:custDataLst>
          </p:nvPr>
        </p:nvSpPr>
        <p:spPr bwMode="gray">
          <a:xfrm>
            <a:off x="6481233" y="4601633"/>
            <a:ext cx="152400" cy="152400"/>
          </a:xfrm>
          <a:prstGeom prst="ellipse">
            <a:avLst/>
          </a:prstGeom>
          <a:solidFill>
            <a:srgbClr val="C0C0C0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19" name="Oval 218">
            <a:extLst>
              <a:ext uri="{FF2B5EF4-FFF2-40B4-BE49-F238E27FC236}">
                <a16:creationId xmlns:a16="http://schemas.microsoft.com/office/drawing/2014/main" id="{63ACF84E-87F5-C6D1-5BA2-4E8193893C2E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5985933" y="4601633"/>
            <a:ext cx="152400" cy="152400"/>
          </a:xfrm>
          <a:prstGeom prst="ellipse">
            <a:avLst/>
          </a:prstGeom>
          <a:solidFill>
            <a:srgbClr val="C0C0C0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89" name="Triangle 188">
            <a:extLst>
              <a:ext uri="{FF2B5EF4-FFF2-40B4-BE49-F238E27FC236}">
                <a16:creationId xmlns:a16="http://schemas.microsoft.com/office/drawing/2014/main" id="{4A04981B-7B35-0895-5401-1C255086046A}"/>
              </a:ext>
            </a:extLst>
          </p:cNvPr>
          <p:cNvSpPr/>
          <p:nvPr>
            <p:custDataLst>
              <p:tags r:id="rId77"/>
            </p:custDataLst>
          </p:nvPr>
        </p:nvSpPr>
        <p:spPr bwMode="gray">
          <a:xfrm>
            <a:off x="10439400" y="6187017"/>
            <a:ext cx="152400" cy="1524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31" name="Triangle 230">
            <a:extLst>
              <a:ext uri="{FF2B5EF4-FFF2-40B4-BE49-F238E27FC236}">
                <a16:creationId xmlns:a16="http://schemas.microsoft.com/office/drawing/2014/main" id="{4F1F3672-220D-6C46-ABA6-5ED272CDF809}"/>
              </a:ext>
            </a:extLst>
          </p:cNvPr>
          <p:cNvSpPr/>
          <p:nvPr>
            <p:custDataLst>
              <p:tags r:id="rId78"/>
            </p:custDataLst>
          </p:nvPr>
        </p:nvSpPr>
        <p:spPr bwMode="gray">
          <a:xfrm>
            <a:off x="5665635" y="4601633"/>
            <a:ext cx="152400" cy="1524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86" name="Triangle 185">
            <a:extLst>
              <a:ext uri="{FF2B5EF4-FFF2-40B4-BE49-F238E27FC236}">
                <a16:creationId xmlns:a16="http://schemas.microsoft.com/office/drawing/2014/main" id="{809FA444-4C24-DFF6-5D5D-9A07E3027155}"/>
              </a:ext>
            </a:extLst>
          </p:cNvPr>
          <p:cNvSpPr/>
          <p:nvPr>
            <p:custDataLst>
              <p:tags r:id="rId79"/>
            </p:custDataLst>
          </p:nvPr>
        </p:nvSpPr>
        <p:spPr bwMode="gray">
          <a:xfrm>
            <a:off x="10439400" y="3784600"/>
            <a:ext cx="152400" cy="1524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id="{AE8B0075-AEE2-8EA3-3F40-4F0EC2E29CF2}"/>
              </a:ext>
            </a:extLst>
          </p:cNvPr>
          <p:cNvSpPr/>
          <p:nvPr>
            <p:custDataLst>
              <p:tags r:id="rId80"/>
            </p:custDataLst>
          </p:nvPr>
        </p:nvSpPr>
        <p:spPr bwMode="gray">
          <a:xfrm>
            <a:off x="6135918" y="5416551"/>
            <a:ext cx="152400" cy="1524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78" name="Triangle 177">
            <a:extLst>
              <a:ext uri="{FF2B5EF4-FFF2-40B4-BE49-F238E27FC236}">
                <a16:creationId xmlns:a16="http://schemas.microsoft.com/office/drawing/2014/main" id="{396ACB24-34A7-9ABF-AABF-2C044FE1EF5A}"/>
              </a:ext>
            </a:extLst>
          </p:cNvPr>
          <p:cNvSpPr/>
          <p:nvPr>
            <p:custDataLst>
              <p:tags r:id="rId81"/>
            </p:custDataLst>
          </p:nvPr>
        </p:nvSpPr>
        <p:spPr bwMode="gray">
          <a:xfrm>
            <a:off x="10155767" y="6187017"/>
            <a:ext cx="152400" cy="1524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18" name="Oval 217">
            <a:extLst>
              <a:ext uri="{FF2B5EF4-FFF2-40B4-BE49-F238E27FC236}">
                <a16:creationId xmlns:a16="http://schemas.microsoft.com/office/drawing/2014/main" id="{101E9AEE-341A-0C63-F243-EAF4B6932635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4500033" y="4601633"/>
            <a:ext cx="152400" cy="152400"/>
          </a:xfrm>
          <a:prstGeom prst="ellipse">
            <a:avLst/>
          </a:prstGeom>
          <a:solidFill>
            <a:srgbClr val="C0C0C0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83" name="Triangle 182">
            <a:extLst>
              <a:ext uri="{FF2B5EF4-FFF2-40B4-BE49-F238E27FC236}">
                <a16:creationId xmlns:a16="http://schemas.microsoft.com/office/drawing/2014/main" id="{0E1B249F-6FC4-255C-8E13-01D86FA21AF0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>
            <a:off x="10155767" y="3784600"/>
            <a:ext cx="152400" cy="1524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43" name="Diamond 42">
            <a:extLst>
              <a:ext uri="{FF2B5EF4-FFF2-40B4-BE49-F238E27FC236}">
                <a16:creationId xmlns:a16="http://schemas.microsoft.com/office/drawing/2014/main" id="{86DD3D14-6CB6-A1EB-22DE-FD0D7A2F3D8C}"/>
              </a:ext>
            </a:extLst>
          </p:cNvPr>
          <p:cNvSpPr/>
          <p:nvPr>
            <p:custDataLst>
              <p:tags r:id="rId84"/>
            </p:custDataLst>
          </p:nvPr>
        </p:nvSpPr>
        <p:spPr bwMode="gray">
          <a:xfrm>
            <a:off x="4655233" y="5428841"/>
            <a:ext cx="152400" cy="1524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74" name="Triangle 173">
            <a:extLst>
              <a:ext uri="{FF2B5EF4-FFF2-40B4-BE49-F238E27FC236}">
                <a16:creationId xmlns:a16="http://schemas.microsoft.com/office/drawing/2014/main" id="{778DC07C-0EB5-FC9E-569B-79E76599E68B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6551084" y="3784600"/>
            <a:ext cx="152400" cy="1524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17" name="Oval 216">
            <a:extLst>
              <a:ext uri="{FF2B5EF4-FFF2-40B4-BE49-F238E27FC236}">
                <a16:creationId xmlns:a16="http://schemas.microsoft.com/office/drawing/2014/main" id="{E7E9ED19-DA91-37F9-98D1-6D790B969F79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4006851" y="4601633"/>
            <a:ext cx="152400" cy="152400"/>
          </a:xfrm>
          <a:prstGeom prst="ellipse">
            <a:avLst/>
          </a:prstGeom>
          <a:solidFill>
            <a:srgbClr val="C0C0C0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1" name="Diamond 20">
            <a:extLst>
              <a:ext uri="{FF2B5EF4-FFF2-40B4-BE49-F238E27FC236}">
                <a16:creationId xmlns:a16="http://schemas.microsoft.com/office/drawing/2014/main" id="{0BDF9853-DFCF-384A-68C0-C6749403AC4D}"/>
              </a:ext>
            </a:extLst>
          </p:cNvPr>
          <p:cNvSpPr/>
          <p:nvPr>
            <p:custDataLst>
              <p:tags r:id="rId87"/>
            </p:custDataLst>
          </p:nvPr>
        </p:nvSpPr>
        <p:spPr bwMode="gray">
          <a:xfrm>
            <a:off x="4161299" y="5428841"/>
            <a:ext cx="152400" cy="1524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DA4DA702-54EF-FBDE-BBB9-9CD50160FAE3}"/>
              </a:ext>
            </a:extLst>
          </p:cNvPr>
          <p:cNvSpPr/>
          <p:nvPr>
            <p:custDataLst>
              <p:tags r:id="rId88"/>
            </p:custDataLst>
          </p:nvPr>
        </p:nvSpPr>
        <p:spPr bwMode="gray">
          <a:xfrm>
            <a:off x="6551084" y="6187017"/>
            <a:ext cx="152400" cy="1524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28" name="Triangle 127">
            <a:extLst>
              <a:ext uri="{FF2B5EF4-FFF2-40B4-BE49-F238E27FC236}">
                <a16:creationId xmlns:a16="http://schemas.microsoft.com/office/drawing/2014/main" id="{F29B9461-786A-FC94-3448-D3972B162ABF}"/>
              </a:ext>
            </a:extLst>
          </p:cNvPr>
          <p:cNvSpPr/>
          <p:nvPr>
            <p:custDataLst>
              <p:tags r:id="rId89"/>
            </p:custDataLst>
          </p:nvPr>
        </p:nvSpPr>
        <p:spPr bwMode="gray">
          <a:xfrm>
            <a:off x="2167467" y="6187017"/>
            <a:ext cx="152400" cy="1524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34" name="Triangle 133">
            <a:extLst>
              <a:ext uri="{FF2B5EF4-FFF2-40B4-BE49-F238E27FC236}">
                <a16:creationId xmlns:a16="http://schemas.microsoft.com/office/drawing/2014/main" id="{3E88374A-205A-5CDF-1F0A-39B4F09D0421}"/>
              </a:ext>
            </a:extLst>
          </p:cNvPr>
          <p:cNvSpPr/>
          <p:nvPr>
            <p:custDataLst>
              <p:tags r:id="rId90"/>
            </p:custDataLst>
          </p:nvPr>
        </p:nvSpPr>
        <p:spPr bwMode="gray">
          <a:xfrm>
            <a:off x="2167467" y="3784600"/>
            <a:ext cx="152400" cy="1524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08" name="Triangle 207">
            <a:extLst>
              <a:ext uri="{FF2B5EF4-FFF2-40B4-BE49-F238E27FC236}">
                <a16:creationId xmlns:a16="http://schemas.microsoft.com/office/drawing/2014/main" id="{0B631220-475F-AA72-F8BC-AEA6D5FBC501}"/>
              </a:ext>
            </a:extLst>
          </p:cNvPr>
          <p:cNvSpPr/>
          <p:nvPr>
            <p:custDataLst>
              <p:tags r:id="rId91"/>
            </p:custDataLst>
          </p:nvPr>
        </p:nvSpPr>
        <p:spPr bwMode="gray">
          <a:xfrm>
            <a:off x="3511551" y="4601633"/>
            <a:ext cx="152400" cy="1524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5" name="Diamond 24">
            <a:extLst>
              <a:ext uri="{FF2B5EF4-FFF2-40B4-BE49-F238E27FC236}">
                <a16:creationId xmlns:a16="http://schemas.microsoft.com/office/drawing/2014/main" id="{7CCE3366-67FA-F7EB-E6A6-111630AC50F2}"/>
              </a:ext>
            </a:extLst>
          </p:cNvPr>
          <p:cNvSpPr/>
          <p:nvPr>
            <p:custDataLst>
              <p:tags r:id="rId92"/>
            </p:custDataLst>
          </p:nvPr>
        </p:nvSpPr>
        <p:spPr bwMode="gray">
          <a:xfrm>
            <a:off x="3685664" y="5416551"/>
            <a:ext cx="152400" cy="152400"/>
          </a:xfrm>
          <a:prstGeom prst="diamond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 useBgFill="1">
        <p:nvSpPr>
          <p:cNvPr id="234" name="Rectangle 233">
            <a:extLst>
              <a:ext uri="{FF2B5EF4-FFF2-40B4-BE49-F238E27FC236}">
                <a16:creationId xmlns:a16="http://schemas.microsoft.com/office/drawing/2014/main" id="{DE3599F4-C0C6-5466-746F-AEE8E1B1A91C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9020550" y="4783667"/>
            <a:ext cx="1303867" cy="203200"/>
          </a:xfrm>
          <a:prstGeom prst="rect">
            <a:avLst/>
          </a:pr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300" b="1">
                <a:solidFill>
                  <a:schemeClr val="tx1"/>
                </a:solidFill>
                <a:latin typeface="Helvetica"/>
                <a:cs typeface="Helvetica"/>
                <a:sym typeface="Helvetica" pitchFamily="2" charset="0"/>
              </a:rPr>
              <a:t>Evaluation/App done</a:t>
            </a:r>
            <a:endParaRPr lang="en-US" sz="1300" b="1">
              <a:solidFill>
                <a:schemeClr val="tx1"/>
              </a:solidFill>
              <a:latin typeface="Helvetica"/>
              <a:cs typeface="Helvetica"/>
              <a:sym typeface="Helvetica" pitchFamily="2" charset="0"/>
            </a:endParaRPr>
          </a:p>
        </p:txBody>
      </p:sp>
      <p:sp useBgFill="1">
        <p:nvSpPr>
          <p:cNvPr id="181" name="Rectangle 180">
            <a:extLst>
              <a:ext uri="{FF2B5EF4-FFF2-40B4-BE49-F238E27FC236}">
                <a16:creationId xmlns:a16="http://schemas.microsoft.com/office/drawing/2014/main" id="{5BF4E754-8CA7-5372-95E7-CA75F4DC068C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7933267" y="3759200"/>
            <a:ext cx="2167467" cy="203200"/>
          </a:xfrm>
          <a:prstGeom prst="rect">
            <a:avLst/>
          </a:pr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333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t>Submission Project Report</a:t>
            </a:r>
            <a:endParaRPr lang="en-US" sz="1333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EDA50BB1-AD71-949E-8BFA-FC69E518AAD6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2374901" y="6121401"/>
            <a:ext cx="1164167" cy="28363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850">
                <a:solidFill>
                  <a:schemeClr val="tx1"/>
                </a:solidFill>
                <a:latin typeface="Helvetica"/>
                <a:cs typeface="Helvetica"/>
                <a:sym typeface="Helvetica" pitchFamily="2" charset="0"/>
              </a:rPr>
              <a:t>14.11.2022</a:t>
            </a:r>
            <a:endParaRPr lang="en-US" sz="1867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F815864-53C7-BA59-6CBC-6514D4067B6F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622300" y="4546601"/>
            <a:ext cx="1221317" cy="28363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867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t>Group work</a:t>
            </a:r>
            <a:endParaRPr lang="en-US" sz="1867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 useBgFill="1">
        <p:nvSpPr>
          <p:cNvPr id="184" name="Rectangle 183">
            <a:extLst>
              <a:ext uri="{FF2B5EF4-FFF2-40B4-BE49-F238E27FC236}">
                <a16:creationId xmlns:a16="http://schemas.microsoft.com/office/drawing/2014/main" id="{328DE4A3-343B-C9C6-3728-81B9B444EF09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10646834" y="3759200"/>
            <a:ext cx="1462617" cy="203200"/>
          </a:xfrm>
          <a:prstGeom prst="rect">
            <a:avLst/>
          </a:pr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333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t>Final Presentation</a:t>
            </a:r>
            <a:endParaRPr lang="en-US" sz="1333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32A5F50-F749-97EC-2D3C-5080DEDDE4D5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622301" y="2199218"/>
            <a:ext cx="853017" cy="28363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3120F4F-28CD-4061-B971-4F370A0B3B58}" type="datetime'''''''''''Acti''''''''''''''''''vi''''t''''''y'''''''''''''">
              <a:rPr lang="en-US" altLang="en-US" sz="1867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sz="1867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 useBgFill="1">
        <p:nvSpPr>
          <p:cNvPr id="232" name="Rectangle 231">
            <a:extLst>
              <a:ext uri="{FF2B5EF4-FFF2-40B4-BE49-F238E27FC236}">
                <a16:creationId xmlns:a16="http://schemas.microsoft.com/office/drawing/2014/main" id="{BBD73C11-ED96-00F8-848B-5B1F1D3869AC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5003597" y="4783667"/>
            <a:ext cx="1193800" cy="203200"/>
          </a:xfrm>
          <a:prstGeom prst="rect">
            <a:avLst/>
          </a:pr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300" b="1">
                <a:solidFill>
                  <a:schemeClr val="tx1"/>
                </a:solidFill>
                <a:latin typeface="Helvetica"/>
                <a:cs typeface="Helvetica"/>
                <a:sym typeface="Helvetica" pitchFamily="2" charset="0"/>
              </a:rPr>
              <a:t>First model prototype</a:t>
            </a:r>
            <a:endParaRPr lang="en-US" sz="1333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5090A3F-2F66-D0FA-BF1B-8C3EC1700C59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622300" y="5361518"/>
            <a:ext cx="1314451" cy="28363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867">
                <a:solidFill>
                  <a:schemeClr val="tx1"/>
                </a:solidFill>
                <a:latin typeface="Helvetica" panose="020B0604020202020204" pitchFamily="34" charset="0"/>
                <a:sym typeface="Helvetica" pitchFamily="2" charset="0"/>
              </a:rPr>
              <a:t>Consultation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02A1B6BD-E02A-B2FA-4DE4-FAF32659F001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622301" y="2914652"/>
            <a:ext cx="1039284" cy="28363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867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t>WS 22/23</a:t>
            </a:r>
            <a:endParaRPr lang="en-US" sz="1867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 useBgFill="1">
        <p:nvSpPr>
          <p:cNvPr id="132" name="Rectangle 131">
            <a:extLst>
              <a:ext uri="{FF2B5EF4-FFF2-40B4-BE49-F238E27FC236}">
                <a16:creationId xmlns:a16="http://schemas.microsoft.com/office/drawing/2014/main" id="{A9D29CA0-3A39-3DFC-F36C-093BEB046CA6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2374901" y="3759200"/>
            <a:ext cx="1248833" cy="203200"/>
          </a:xfrm>
          <a:prstGeom prst="rect">
            <a:avLst/>
          </a:pr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333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t>Project Kick-off</a:t>
            </a:r>
            <a:endParaRPr lang="en-US" sz="1333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D01FB82B-BDDA-E7CE-0B79-0A063023A569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10646834" y="6121401"/>
            <a:ext cx="630767" cy="28363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867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t>Today</a:t>
            </a:r>
            <a:endParaRPr lang="en-US" sz="1867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C92305-F537-8DCE-6A48-D1EF79296A80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622301" y="3729568"/>
            <a:ext cx="1130300" cy="28363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867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t>Milestones</a:t>
            </a:r>
            <a:endParaRPr lang="en-US" sz="1867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AA60522-7387-0451-7976-FEE1A09D4E96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5314951" y="6121401"/>
            <a:ext cx="1181100" cy="28363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850">
                <a:solidFill>
                  <a:schemeClr val="tx1"/>
                </a:solidFill>
                <a:latin typeface="Helvetica"/>
                <a:cs typeface="Helvetica"/>
              </a:rPr>
              <a:t>16.01.2023</a:t>
            </a:r>
            <a:endParaRPr lang="en-US" sz="1867">
              <a:solidFill>
                <a:schemeClr val="tx1"/>
              </a:solidFill>
              <a:latin typeface="Helvetica" panose="020B0604020202020204" pitchFamily="34" charset="0"/>
              <a:sym typeface="Helvetica" pitchFamily="2" charset="0"/>
            </a:endParaRPr>
          </a:p>
        </p:txBody>
      </p:sp>
      <p:sp useBgFill="1">
        <p:nvSpPr>
          <p:cNvPr id="172" name="Rectangle 171">
            <a:extLst>
              <a:ext uri="{FF2B5EF4-FFF2-40B4-BE49-F238E27FC236}">
                <a16:creationId xmlns:a16="http://schemas.microsoft.com/office/drawing/2014/main" id="{BE569D8C-2897-798D-B15A-AFB6F68DC5AA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3854451" y="3759200"/>
            <a:ext cx="2641600" cy="203200"/>
          </a:xfrm>
          <a:prstGeom prst="rect">
            <a:avLst/>
          </a:pr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333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t>Presentation Preliminary Results</a:t>
            </a:r>
            <a:endParaRPr lang="en-US" sz="1333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 useBgFill="1">
        <p:nvSpPr>
          <p:cNvPr id="206" name="Rectangle 205">
            <a:extLst>
              <a:ext uri="{FF2B5EF4-FFF2-40B4-BE49-F238E27FC236}">
                <a16:creationId xmlns:a16="http://schemas.microsoft.com/office/drawing/2014/main" id="{017E9725-39D0-490C-D732-DF36440AED48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2838451" y="4783667"/>
            <a:ext cx="1500717" cy="203200"/>
          </a:xfrm>
          <a:prstGeom prst="rect">
            <a:avLst/>
          </a:pr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333" b="1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t>First team meeting</a:t>
            </a:r>
            <a:endParaRPr lang="en-US" sz="1333" b="1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27F296B8-5AF9-4C99-E1EF-B2170F1E898F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8919634" y="6121401"/>
            <a:ext cx="1181100" cy="28363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827BBC2-CBA7-4330-922C-9FB4CAF10B52}" type="datetime'1''''0''.''''''0''''''''''''''''3.''''''2''''''0''''2''3'">
              <a:rPr lang="en-US" altLang="en-US" sz="1867">
                <a:solidFill>
                  <a:schemeClr val="tx1"/>
                </a:solidFill>
                <a:latin typeface="Helvetica" pitchFamily="2" charset="0"/>
                <a:sym typeface="Helvetica" pitchFamily="2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10.03.2023</a:t>
            </a:fld>
            <a:endParaRPr lang="en-US" sz="1867">
              <a:solidFill>
                <a:schemeClr val="tx1"/>
              </a:solidFill>
              <a:latin typeface="Helvetica" pitchFamily="2" charset="0"/>
              <a:sym typeface="Helvetica" pitchFamily="2" charset="0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0DA37366-E429-DADF-545E-0957B01BB60B}"/>
              </a:ext>
            </a:extLst>
          </p:cNvPr>
          <p:cNvPicPr>
            <a:picLocks noChangeAspect="1"/>
          </p:cNvPicPr>
          <p:nvPr/>
        </p:nvPicPr>
        <p:blipFill>
          <a:blip r:embed="rId119"/>
          <a:stretch>
            <a:fillRect/>
          </a:stretch>
        </p:blipFill>
        <p:spPr>
          <a:xfrm>
            <a:off x="625023" y="1736999"/>
            <a:ext cx="189179" cy="19200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31406E84-7A6A-3C1D-4621-6E268354526F}"/>
              </a:ext>
            </a:extLst>
          </p:cNvPr>
          <p:cNvPicPr>
            <a:picLocks noChangeAspect="1"/>
          </p:cNvPicPr>
          <p:nvPr/>
        </p:nvPicPr>
        <p:blipFill>
          <a:blip r:embed="rId120"/>
          <a:stretch>
            <a:fillRect/>
          </a:stretch>
        </p:blipFill>
        <p:spPr>
          <a:xfrm>
            <a:off x="628354" y="1518033"/>
            <a:ext cx="182517" cy="19200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636E98AA-3EF9-B294-24E0-823DCCE5F51C}"/>
              </a:ext>
            </a:extLst>
          </p:cNvPr>
          <p:cNvPicPr>
            <a:picLocks noChangeAspect="1"/>
          </p:cNvPicPr>
          <p:nvPr/>
        </p:nvPicPr>
        <p:blipFill>
          <a:blip r:embed="rId121"/>
          <a:stretch>
            <a:fillRect/>
          </a:stretch>
        </p:blipFill>
        <p:spPr>
          <a:xfrm>
            <a:off x="622300" y="1952776"/>
            <a:ext cx="192000" cy="192000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F26226BE-EC1D-1151-26D8-E1E6617944E0}"/>
              </a:ext>
            </a:extLst>
          </p:cNvPr>
          <p:cNvSpPr txBox="1"/>
          <p:nvPr/>
        </p:nvSpPr>
        <p:spPr>
          <a:xfrm>
            <a:off x="815291" y="1454741"/>
            <a:ext cx="1169204" cy="7269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733"/>
              </a:lnSpc>
            </a:pPr>
            <a:r>
              <a:rPr lang="en-US" sz="1200"/>
              <a:t>Milestone</a:t>
            </a:r>
          </a:p>
          <a:p>
            <a:pPr>
              <a:lnSpc>
                <a:spcPts val="1733"/>
              </a:lnSpc>
            </a:pPr>
            <a:r>
              <a:rPr lang="en-US" sz="1200"/>
              <a:t>Meeting</a:t>
            </a:r>
          </a:p>
          <a:p>
            <a:pPr>
              <a:lnSpc>
                <a:spcPts val="1733"/>
              </a:lnSpc>
            </a:pPr>
            <a:r>
              <a:rPr lang="en-US" sz="1200"/>
              <a:t>Consultation</a:t>
            </a:r>
          </a:p>
        </p:txBody>
      </p:sp>
      <p:sp>
        <p:nvSpPr>
          <p:cNvPr id="4" name="Diamond 13">
            <a:extLst>
              <a:ext uri="{FF2B5EF4-FFF2-40B4-BE49-F238E27FC236}">
                <a16:creationId xmlns:a16="http://schemas.microsoft.com/office/drawing/2014/main" id="{64D46844-25A4-ABF1-3059-EBB4756E9111}"/>
              </a:ext>
            </a:extLst>
          </p:cNvPr>
          <p:cNvSpPr/>
          <p:nvPr>
            <p:custDataLst>
              <p:tags r:id="rId109"/>
            </p:custDataLst>
          </p:nvPr>
        </p:nvSpPr>
        <p:spPr bwMode="gray">
          <a:xfrm>
            <a:off x="7447954" y="5416550"/>
            <a:ext cx="152400" cy="1524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1" name="Diamond 13">
            <a:extLst>
              <a:ext uri="{FF2B5EF4-FFF2-40B4-BE49-F238E27FC236}">
                <a16:creationId xmlns:a16="http://schemas.microsoft.com/office/drawing/2014/main" id="{2C07DEE9-0715-64E3-04E4-EBDB9ED4CEB5}"/>
              </a:ext>
            </a:extLst>
          </p:cNvPr>
          <p:cNvSpPr/>
          <p:nvPr>
            <p:custDataLst>
              <p:tags r:id="rId110"/>
            </p:custDataLst>
          </p:nvPr>
        </p:nvSpPr>
        <p:spPr bwMode="gray">
          <a:xfrm>
            <a:off x="8493953" y="5416551"/>
            <a:ext cx="152400" cy="1524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2" name="Triangle 230">
            <a:extLst>
              <a:ext uri="{FF2B5EF4-FFF2-40B4-BE49-F238E27FC236}">
                <a16:creationId xmlns:a16="http://schemas.microsoft.com/office/drawing/2014/main" id="{87019979-D3C1-5671-4E21-C50DD71C6F95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8142135" y="4601632"/>
            <a:ext cx="152400" cy="1524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7492A62D-40FF-57DC-A028-95FEA3B18724}"/>
              </a:ext>
            </a:extLst>
          </p:cNvPr>
          <p:cNvSpPr/>
          <p:nvPr>
            <p:custDataLst>
              <p:tags r:id="rId112"/>
            </p:custDataLst>
          </p:nvPr>
        </p:nvSpPr>
        <p:spPr bwMode="auto">
          <a:xfrm>
            <a:off x="7392084" y="4949586"/>
            <a:ext cx="1303867" cy="203200"/>
          </a:xfrm>
          <a:prstGeom prst="rect">
            <a:avLst/>
          </a:pr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300" b="1">
                <a:solidFill>
                  <a:schemeClr val="tx1"/>
                </a:solidFill>
                <a:latin typeface="Helvetica"/>
                <a:cs typeface="Helvetica"/>
                <a:sym typeface="Helvetica" pitchFamily="2" charset="0"/>
              </a:rPr>
              <a:t>Adidas Guest lecture</a:t>
            </a:r>
            <a:endParaRPr lang="fr-FR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3C2306BB-94E9-3CEE-2B99-7DBF75B22A35}"/>
              </a:ext>
            </a:extLst>
          </p:cNvPr>
          <p:cNvSpPr/>
          <p:nvPr>
            <p:custDataLst>
              <p:tags r:id="rId113"/>
            </p:custDataLst>
          </p:nvPr>
        </p:nvSpPr>
        <p:spPr bwMode="gray">
          <a:xfrm>
            <a:off x="9400119" y="4608144"/>
            <a:ext cx="152400" cy="152400"/>
          </a:xfrm>
          <a:prstGeom prst="ellipse">
            <a:avLst/>
          </a:prstGeom>
          <a:solidFill>
            <a:srgbClr val="C0C0C0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650A50DA-EC32-E632-E6B2-3E0A1B87D6AA}"/>
              </a:ext>
            </a:extLst>
          </p:cNvPr>
          <p:cNvSpPr/>
          <p:nvPr>
            <p:custDataLst>
              <p:tags r:id="rId114"/>
            </p:custDataLst>
          </p:nvPr>
        </p:nvSpPr>
        <p:spPr bwMode="gray">
          <a:xfrm>
            <a:off x="9572219" y="4605617"/>
            <a:ext cx="152400" cy="152400"/>
          </a:xfrm>
          <a:prstGeom prst="ellipse">
            <a:avLst/>
          </a:prstGeom>
          <a:solidFill>
            <a:srgbClr val="C0C0C0"/>
          </a:solidFill>
          <a:ln w="9525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0825580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03AEB1A7-4A22-4EA3-B891-8CE774B86F7E}"/>
              </a:ext>
            </a:extLst>
          </p:cNvPr>
          <p:cNvSpPr/>
          <p:nvPr/>
        </p:nvSpPr>
        <p:spPr>
          <a:xfrm>
            <a:off x="874713" y="3973714"/>
            <a:ext cx="5978637" cy="2229575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620F3424-E32B-4DE8-BF4D-4918B7628D43}"/>
              </a:ext>
            </a:extLst>
          </p:cNvPr>
          <p:cNvSpPr/>
          <p:nvPr/>
        </p:nvSpPr>
        <p:spPr>
          <a:xfrm>
            <a:off x="874713" y="1945882"/>
            <a:ext cx="5978637" cy="1808238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1CC6A956-A954-4940-A619-381D56C1A856}"/>
              </a:ext>
            </a:extLst>
          </p:cNvPr>
          <p:cNvSpPr txBox="1"/>
          <p:nvPr/>
        </p:nvSpPr>
        <p:spPr>
          <a:xfrm>
            <a:off x="1006117" y="2085216"/>
            <a:ext cx="1111202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Dataset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2FADCE3-E850-4784-8F2E-D7BF01E4852E}"/>
              </a:ext>
            </a:extLst>
          </p:cNvPr>
          <p:cNvSpPr txBox="1"/>
          <p:nvPr/>
        </p:nvSpPr>
        <p:spPr>
          <a:xfrm>
            <a:off x="1006117" y="2486932"/>
            <a:ext cx="5658030" cy="11546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535 labeled images in JPEG forma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535 label files in XML forma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a TXT file with pre-defined classes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9C574363-8D56-4907-88DB-F19E396AEB20}"/>
              </a:ext>
            </a:extLst>
          </p:cNvPr>
          <p:cNvSpPr txBox="1"/>
          <p:nvPr/>
        </p:nvSpPr>
        <p:spPr>
          <a:xfrm>
            <a:off x="1035016" y="4114924"/>
            <a:ext cx="1750800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zh-CN" sz="2000" b="1">
                <a:solidFill>
                  <a:srgbClr val="04316A"/>
                </a:solidFill>
                <a:latin typeface="+mj-lt"/>
              </a:rPr>
              <a:t>Observation </a:t>
            </a:r>
            <a:endParaRPr lang="zh-CN" altLang="en-US" sz="2000" b="1">
              <a:solidFill>
                <a:srgbClr val="04316A"/>
              </a:solidFill>
              <a:latin typeface="+mj-lt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2AD08722-C387-44A0-8955-313CD959C971}"/>
              </a:ext>
            </a:extLst>
          </p:cNvPr>
          <p:cNvSpPr txBox="1"/>
          <p:nvPr/>
        </p:nvSpPr>
        <p:spPr>
          <a:xfrm>
            <a:off x="1042331" y="4514446"/>
            <a:ext cx="5658029" cy="15240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/>
              <a:t>Allen-Bradley boxes appear most oft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/>
              <a:t>Most pictures are of the front sid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/>
              <a:t>Front side pictures contains 24 classes of compon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/>
              <a:t>Components appear in more than one box</a:t>
            </a:r>
            <a:endParaRPr lang="zh-CN" altLang="en-US" sz="1600" dirty="0"/>
          </a:p>
        </p:txBody>
      </p:sp>
      <p:sp>
        <p:nvSpPr>
          <p:cNvPr id="9" name="Title 35">
            <a:extLst>
              <a:ext uri="{FF2B5EF4-FFF2-40B4-BE49-F238E27FC236}">
                <a16:creationId xmlns:a16="http://schemas.microsoft.com/office/drawing/2014/main" id="{06E69EF6-5F75-EF00-A656-2EF79BFF6CB7}"/>
              </a:ext>
            </a:extLst>
          </p:cNvPr>
          <p:cNvSpPr txBox="1">
            <a:spLocks/>
          </p:cNvSpPr>
          <p:nvPr/>
        </p:nvSpPr>
        <p:spPr>
          <a:xfrm>
            <a:off x="518318" y="301185"/>
            <a:ext cx="6844385" cy="3323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41E4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Data Understanding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8BCB35-777E-BB1C-41A0-2555CC45056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058"/>
          <a:stretch/>
        </p:blipFill>
        <p:spPr bwMode="auto">
          <a:xfrm>
            <a:off x="4669825" y="2511409"/>
            <a:ext cx="2050899" cy="1164567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166F07D9-B84C-554A-EC9E-1374AEFECD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8526811"/>
              </p:ext>
            </p:extLst>
          </p:nvPr>
        </p:nvGraphicFramePr>
        <p:xfrm>
          <a:off x="6972606" y="1806853"/>
          <a:ext cx="4804867" cy="32260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2" name="Picture 11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F0971D8-CEDD-56C6-D5A5-E9C9B351E636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8115" y="5719363"/>
            <a:ext cx="1362245" cy="31909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600814F-C5FB-A5A6-C7E7-672B5C1EA70C}"/>
              </a:ext>
            </a:extLst>
          </p:cNvPr>
          <p:cNvSpPr txBox="1"/>
          <p:nvPr/>
        </p:nvSpPr>
        <p:spPr>
          <a:xfrm>
            <a:off x="905928" y="1460155"/>
            <a:ext cx="8864373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b="1" dirty="0">
                <a:solidFill>
                  <a:srgbClr val="971B2F"/>
                </a:solidFill>
                <a:latin typeface="+mj-lt"/>
              </a:rPr>
              <a:t>Goal: </a:t>
            </a:r>
            <a:r>
              <a:rPr lang="de-DE" sz="2000" b="1" dirty="0" err="1">
                <a:solidFill>
                  <a:srgbClr val="971B2F"/>
                </a:solidFill>
                <a:latin typeface="+mj-lt"/>
              </a:rPr>
              <a:t>Have</a:t>
            </a:r>
            <a:r>
              <a:rPr lang="de-DE" sz="2000" b="1" dirty="0">
                <a:solidFill>
                  <a:srgbClr val="971B2F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971B2F"/>
                </a:solidFill>
                <a:latin typeface="+mj-lt"/>
              </a:rPr>
              <a:t>the</a:t>
            </a:r>
            <a:r>
              <a:rPr lang="de-DE" sz="2000" b="1" dirty="0">
                <a:solidFill>
                  <a:srgbClr val="971B2F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971B2F"/>
                </a:solidFill>
                <a:latin typeface="+mj-lt"/>
              </a:rPr>
              <a:t>most</a:t>
            </a:r>
            <a:r>
              <a:rPr lang="de-DE" sz="2000" b="1" dirty="0">
                <a:solidFill>
                  <a:srgbClr val="971B2F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971B2F"/>
                </a:solidFill>
                <a:latin typeface="+mj-lt"/>
              </a:rPr>
              <a:t>training</a:t>
            </a:r>
            <a:r>
              <a:rPr lang="de-DE" sz="2000" b="1" dirty="0">
                <a:solidFill>
                  <a:srgbClr val="971B2F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971B2F"/>
                </a:solidFill>
                <a:latin typeface="+mj-lt"/>
              </a:rPr>
              <a:t>data</a:t>
            </a:r>
            <a:r>
              <a:rPr lang="de-DE" sz="2000" b="1" dirty="0">
                <a:solidFill>
                  <a:srgbClr val="971B2F"/>
                </a:solidFill>
                <a:latin typeface="+mj-lt"/>
              </a:rPr>
              <a:t> </a:t>
            </a:r>
            <a:r>
              <a:rPr lang="de-DE" sz="2000" b="1" err="1">
                <a:solidFill>
                  <a:srgbClr val="971B2F"/>
                </a:solidFill>
                <a:latin typeface="+mj-lt"/>
              </a:rPr>
              <a:t>of</a:t>
            </a:r>
            <a:r>
              <a:rPr lang="de-DE" sz="2000" b="1">
                <a:solidFill>
                  <a:srgbClr val="971B2F"/>
                </a:solidFill>
                <a:latin typeface="+mj-lt"/>
              </a:rPr>
              <a:t> </a:t>
            </a:r>
            <a:r>
              <a:rPr lang="de-DE" sz="2000" b="1" err="1">
                <a:solidFill>
                  <a:srgbClr val="971B2F"/>
                </a:solidFill>
                <a:latin typeface="+mj-lt"/>
              </a:rPr>
              <a:t>each</a:t>
            </a:r>
            <a:r>
              <a:rPr lang="de-DE" sz="2000" b="1">
                <a:solidFill>
                  <a:srgbClr val="971B2F"/>
                </a:solidFill>
                <a:latin typeface="+mj-lt"/>
              </a:rPr>
              <a:t> component </a:t>
            </a:r>
            <a:r>
              <a:rPr lang="de-DE" sz="2000" b="1" dirty="0">
                <a:solidFill>
                  <a:srgbClr val="971B2F"/>
                </a:solidFill>
                <a:latin typeface="+mj-lt"/>
              </a:rPr>
              <a:t>in </a:t>
            </a:r>
            <a:r>
              <a:rPr lang="de-DE" sz="2000" b="1" dirty="0" err="1">
                <a:solidFill>
                  <a:srgbClr val="971B2F"/>
                </a:solidFill>
                <a:latin typeface="+mj-lt"/>
              </a:rPr>
              <a:t>our</a:t>
            </a:r>
            <a:r>
              <a:rPr lang="de-DE" sz="2000" b="1" dirty="0">
                <a:solidFill>
                  <a:srgbClr val="971B2F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971B2F"/>
                </a:solidFill>
                <a:latin typeface="+mj-lt"/>
              </a:rPr>
              <a:t>models</a:t>
            </a:r>
            <a:endParaRPr lang="en-GB" sz="2000" b="1" dirty="0">
              <a:solidFill>
                <a:srgbClr val="971B2F"/>
              </a:solidFill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13BBC4-36E1-345F-4E9F-B08C48E06413}"/>
              </a:ext>
            </a:extLst>
          </p:cNvPr>
          <p:cNvSpPr txBox="1"/>
          <p:nvPr/>
        </p:nvSpPr>
        <p:spPr>
          <a:xfrm>
            <a:off x="7252978" y="5098677"/>
            <a:ext cx="4612277" cy="14818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2000" b="1" dirty="0" err="1">
                <a:solidFill>
                  <a:srgbClr val="971B2F"/>
                </a:solidFill>
                <a:latin typeface="+mj-lt"/>
              </a:rPr>
              <a:t>Conclusion</a:t>
            </a:r>
            <a:r>
              <a:rPr lang="de-DE" sz="2000" b="1" dirty="0">
                <a:solidFill>
                  <a:srgbClr val="971B2F"/>
                </a:solidFill>
                <a:latin typeface="+mj-lt"/>
              </a:rPr>
              <a:t>: </a:t>
            </a:r>
            <a:r>
              <a:rPr lang="en-US" sz="2000" b="1" dirty="0">
                <a:solidFill>
                  <a:srgbClr val="971B2F"/>
                </a:solidFill>
                <a:latin typeface="+mj-lt"/>
              </a:rPr>
              <a:t>Focus on all 24 components on the front sides of all boxes, including 199 images</a:t>
            </a:r>
            <a:endParaRPr lang="en-GB" sz="2000" b="1" dirty="0">
              <a:solidFill>
                <a:srgbClr val="971B2F"/>
              </a:solidFill>
              <a:latin typeface="+mj-lt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b="1" dirty="0">
                <a:solidFill>
                  <a:srgbClr val="971B2F"/>
                </a:solidFill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146015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文本框 19">
            <a:extLst>
              <a:ext uri="{FF2B5EF4-FFF2-40B4-BE49-F238E27FC236}">
                <a16:creationId xmlns:a16="http://schemas.microsoft.com/office/drawing/2014/main" id="{27985C8D-FDDD-4F6B-A925-D5E34A1AB86D}"/>
              </a:ext>
            </a:extLst>
          </p:cNvPr>
          <p:cNvSpPr txBox="1"/>
          <p:nvPr/>
        </p:nvSpPr>
        <p:spPr>
          <a:xfrm>
            <a:off x="640792" y="4860462"/>
            <a:ext cx="248575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zh-CN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思源黑体 CN Regular"/>
                <a:cs typeface="+mn-cs"/>
              </a:rPr>
              <a:t>A </a:t>
            </a:r>
            <a:r>
              <a:rPr kumimoji="0" lang="en-GB" altLang="zh-CN" sz="16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思源黑体 CN Regular"/>
                <a:cs typeface="+mn-cs"/>
              </a:rPr>
              <a:t>box classification model </a:t>
            </a:r>
            <a:r>
              <a:rPr kumimoji="0" lang="en-GB" altLang="zh-CN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思源黑体 CN Regular"/>
                <a:cs typeface="+mn-cs"/>
              </a:rPr>
              <a:t>classifies which box is on the image 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DC2DE330-6229-4785-B018-1F73DB6427DF}"/>
              </a:ext>
            </a:extLst>
          </p:cNvPr>
          <p:cNvSpPr txBox="1">
            <a:spLocks/>
          </p:cNvSpPr>
          <p:nvPr/>
        </p:nvSpPr>
        <p:spPr>
          <a:xfrm>
            <a:off x="9172524" y="4860462"/>
            <a:ext cx="237868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zh-CN" sz="1600" b="1" i="1" err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Component</a:t>
            </a:r>
            <a:r>
              <a:rPr lang="de-DE" altLang="zh-CN" sz="1600" b="1" i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 </a:t>
            </a:r>
            <a:r>
              <a:rPr lang="de-DE" altLang="zh-CN" sz="1600" b="1" i="1" err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classification</a:t>
            </a:r>
            <a:r>
              <a:rPr lang="de-DE" altLang="zh-CN" sz="1600" b="1" i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 </a:t>
            </a:r>
            <a:r>
              <a:rPr lang="de-DE" altLang="zh-CN" sz="1600" b="1" i="1" err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models</a:t>
            </a:r>
            <a:r>
              <a:rPr lang="de-DE" altLang="zh-CN" sz="1600" b="1" i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 </a:t>
            </a:r>
            <a:r>
              <a:rPr lang="de-DE" sz="1600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check </a:t>
            </a:r>
            <a:r>
              <a:rPr lang="de-DE" sz="1600" err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if</a:t>
            </a:r>
            <a:r>
              <a:rPr lang="de-DE" sz="1600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 all </a:t>
            </a:r>
            <a:r>
              <a:rPr lang="de-DE" sz="1600" err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elements</a:t>
            </a:r>
            <a:r>
              <a:rPr lang="de-DE" sz="1600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 </a:t>
            </a:r>
            <a:r>
              <a:rPr lang="de-DE" sz="1600" err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are</a:t>
            </a:r>
            <a:r>
              <a:rPr lang="de-DE" sz="1600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 </a:t>
            </a:r>
            <a:r>
              <a:rPr lang="de-DE" sz="1600" err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present</a:t>
            </a:r>
            <a:endParaRPr lang="zh-CN" altLang="en-US" sz="1600">
              <a:solidFill>
                <a:prstClr val="black">
                  <a:lumMod val="75000"/>
                  <a:lumOff val="25000"/>
                </a:prstClr>
              </a:solidFill>
              <a:ea typeface="思源黑体 CN Regular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D059DE80-F977-47D9-BE90-74BB98B017A3}"/>
              </a:ext>
            </a:extLst>
          </p:cNvPr>
          <p:cNvSpPr txBox="1"/>
          <p:nvPr/>
        </p:nvSpPr>
        <p:spPr>
          <a:xfrm>
            <a:off x="6559415" y="3730459"/>
            <a:ext cx="192384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zh-CN" sz="1600" b="1" i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Components </a:t>
            </a:r>
            <a:r>
              <a:rPr lang="de-DE" altLang="zh-CN" sz="1600" b="1" i="1" err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are</a:t>
            </a:r>
            <a:r>
              <a:rPr lang="de-DE" altLang="zh-CN" sz="1600" b="1" i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 </a:t>
            </a:r>
            <a:r>
              <a:rPr lang="de-DE" altLang="zh-CN" sz="1600" b="1" i="1" err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cropped</a:t>
            </a:r>
            <a:r>
              <a:rPr lang="de-DE" altLang="zh-CN" sz="1600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 </a:t>
            </a:r>
            <a:r>
              <a:rPr lang="de-DE" altLang="zh-CN" sz="1600" err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according</a:t>
            </a:r>
            <a:r>
              <a:rPr lang="de-DE" altLang="zh-CN" sz="1600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 </a:t>
            </a:r>
            <a:r>
              <a:rPr lang="de-DE" altLang="zh-CN" sz="1600" err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to</a:t>
            </a:r>
            <a:r>
              <a:rPr lang="de-DE" altLang="zh-CN" sz="1600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 a </a:t>
            </a:r>
            <a:r>
              <a:rPr lang="de-DE" altLang="zh-CN" sz="1600" err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predefined</a:t>
            </a:r>
            <a:r>
              <a:rPr lang="de-DE" altLang="zh-CN" sz="1600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 </a:t>
            </a:r>
            <a:r>
              <a:rPr lang="de-DE" altLang="zh-CN" sz="1600" err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xml</a:t>
            </a:r>
            <a:r>
              <a:rPr lang="de-DE" altLang="zh-CN" sz="1600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 </a:t>
            </a:r>
            <a:r>
              <a:rPr lang="de-DE" altLang="zh-CN" sz="1600" err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file</a:t>
            </a:r>
            <a:endParaRPr lang="zh-CN" altLang="en-US" sz="1600">
              <a:solidFill>
                <a:prstClr val="black">
                  <a:lumMod val="75000"/>
                  <a:lumOff val="25000"/>
                </a:prstClr>
              </a:solidFill>
              <a:ea typeface="思源黑体 CN Regular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A726FBD2-46E4-4858-9E0C-B850BE79015C}"/>
              </a:ext>
            </a:extLst>
          </p:cNvPr>
          <p:cNvSpPr txBox="1">
            <a:spLocks/>
          </p:cNvSpPr>
          <p:nvPr/>
        </p:nvSpPr>
        <p:spPr>
          <a:xfrm>
            <a:off x="3563109" y="3730459"/>
            <a:ext cx="217472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A </a:t>
            </a:r>
            <a:r>
              <a:rPr lang="en-US" sz="1600" b="1" i="1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box localization model </a:t>
            </a:r>
            <a:r>
              <a:rPr lang="en-US" sz="1600">
                <a:solidFill>
                  <a:prstClr val="black">
                    <a:lumMod val="75000"/>
                    <a:lumOff val="25000"/>
                  </a:prstClr>
                </a:solidFill>
                <a:ea typeface="思源黑体 CN Regular"/>
              </a:rPr>
              <a:t>recognizes the box, then the box is aligned</a:t>
            </a:r>
            <a:endParaRPr lang="zh-CN" altLang="en-US" sz="1600">
              <a:solidFill>
                <a:prstClr val="black">
                  <a:lumMod val="75000"/>
                  <a:lumOff val="25000"/>
                </a:prstClr>
              </a:solidFill>
              <a:ea typeface="思源黑体 CN Regular"/>
            </a:endParaRP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C9E67802-6CF1-439A-A570-E36F96A42128}"/>
              </a:ext>
            </a:extLst>
          </p:cNvPr>
          <p:cNvGrpSpPr/>
          <p:nvPr/>
        </p:nvGrpSpPr>
        <p:grpSpPr>
          <a:xfrm>
            <a:off x="955412" y="2930261"/>
            <a:ext cx="1734990" cy="1954382"/>
            <a:chOff x="891912" y="2358251"/>
            <a:chExt cx="1734990" cy="1954382"/>
          </a:xfrm>
        </p:grpSpPr>
        <p:sp>
          <p:nvSpPr>
            <p:cNvPr id="50" name="图形 49">
              <a:extLst>
                <a:ext uri="{FF2B5EF4-FFF2-40B4-BE49-F238E27FC236}">
                  <a16:creationId xmlns:a16="http://schemas.microsoft.com/office/drawing/2014/main" id="{8165DE73-D578-4F2F-B25C-38AB00665071}"/>
                </a:ext>
              </a:extLst>
            </p:cNvPr>
            <p:cNvSpPr/>
            <p:nvPr/>
          </p:nvSpPr>
          <p:spPr>
            <a:xfrm>
              <a:off x="891912" y="2358251"/>
              <a:ext cx="1734990" cy="1954382"/>
            </a:xfrm>
            <a:custGeom>
              <a:avLst/>
              <a:gdLst>
                <a:gd name="connsiteX0" fmla="*/ 2559177 w 2559176"/>
                <a:gd name="connsiteY0" fmla="*/ 2045661 h 2882788"/>
                <a:gd name="connsiteX1" fmla="*/ 2559177 w 2559176"/>
                <a:gd name="connsiteY1" fmla="*/ 837224 h 2882788"/>
                <a:gd name="connsiteX2" fmla="*/ 2442686 w 2559176"/>
                <a:gd name="connsiteY2" fmla="*/ 635389 h 2882788"/>
                <a:gd name="connsiteX3" fmla="*/ 1396079 w 2559176"/>
                <a:gd name="connsiteY3" fmla="*/ 31218 h 2882788"/>
                <a:gd name="connsiteX4" fmla="*/ 1163003 w 2559176"/>
                <a:gd name="connsiteY4" fmla="*/ 31218 h 2882788"/>
                <a:gd name="connsiteX5" fmla="*/ 116491 w 2559176"/>
                <a:gd name="connsiteY5" fmla="*/ 635389 h 2882788"/>
                <a:gd name="connsiteX6" fmla="*/ 0 w 2559176"/>
                <a:gd name="connsiteY6" fmla="*/ 837224 h 2882788"/>
                <a:gd name="connsiteX7" fmla="*/ 0 w 2559176"/>
                <a:gd name="connsiteY7" fmla="*/ 2045565 h 2882788"/>
                <a:gd name="connsiteX8" fmla="*/ 116491 w 2559176"/>
                <a:gd name="connsiteY8" fmla="*/ 2247400 h 2882788"/>
                <a:gd name="connsiteX9" fmla="*/ 1163003 w 2559176"/>
                <a:gd name="connsiteY9" fmla="*/ 2851571 h 2882788"/>
                <a:gd name="connsiteX10" fmla="*/ 1396079 w 2559176"/>
                <a:gd name="connsiteY10" fmla="*/ 2851571 h 2882788"/>
                <a:gd name="connsiteX11" fmla="*/ 2442591 w 2559176"/>
                <a:gd name="connsiteY11" fmla="*/ 2247400 h 2882788"/>
                <a:gd name="connsiteX12" fmla="*/ 2559177 w 2559176"/>
                <a:gd name="connsiteY12" fmla="*/ 2045661 h 288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59176" h="2882788">
                  <a:moveTo>
                    <a:pt x="2559177" y="2045661"/>
                  </a:moveTo>
                  <a:lnTo>
                    <a:pt x="2559177" y="837224"/>
                  </a:lnTo>
                  <a:cubicBezTo>
                    <a:pt x="2559177" y="753975"/>
                    <a:pt x="2514791" y="677013"/>
                    <a:pt x="2442686" y="635389"/>
                  </a:cubicBezTo>
                  <a:lnTo>
                    <a:pt x="1396079" y="31218"/>
                  </a:lnTo>
                  <a:cubicBezTo>
                    <a:pt x="1323975" y="-10406"/>
                    <a:pt x="1235107" y="-10406"/>
                    <a:pt x="1163003" y="31218"/>
                  </a:cubicBezTo>
                  <a:lnTo>
                    <a:pt x="116491" y="635389"/>
                  </a:lnTo>
                  <a:cubicBezTo>
                    <a:pt x="44387" y="677013"/>
                    <a:pt x="0" y="753975"/>
                    <a:pt x="0" y="837224"/>
                  </a:cubicBezTo>
                  <a:lnTo>
                    <a:pt x="0" y="2045565"/>
                  </a:lnTo>
                  <a:cubicBezTo>
                    <a:pt x="0" y="2128814"/>
                    <a:pt x="44387" y="2205776"/>
                    <a:pt x="116491" y="2247400"/>
                  </a:cubicBezTo>
                  <a:lnTo>
                    <a:pt x="1163003" y="2851571"/>
                  </a:lnTo>
                  <a:cubicBezTo>
                    <a:pt x="1235107" y="2893195"/>
                    <a:pt x="1323975" y="2893195"/>
                    <a:pt x="1396079" y="2851571"/>
                  </a:cubicBezTo>
                  <a:lnTo>
                    <a:pt x="2442591" y="2247400"/>
                  </a:lnTo>
                  <a:cubicBezTo>
                    <a:pt x="2514695" y="2205871"/>
                    <a:pt x="2559177" y="2128909"/>
                    <a:pt x="2559177" y="2045661"/>
                  </a:cubicBezTo>
                  <a:close/>
                </a:path>
              </a:pathLst>
            </a:custGeom>
            <a:noFill/>
            <a:ln>
              <a:gradFill flip="none" rotWithShape="1">
                <a:gsLst>
                  <a:gs pos="36000">
                    <a:srgbClr val="04316A"/>
                  </a:gs>
                  <a:gs pos="100000">
                    <a:schemeClr val="accent1">
                      <a:lumMod val="20000"/>
                      <a:lumOff val="80000"/>
                      <a:alpha val="0"/>
                    </a:schemeClr>
                  </a:gs>
                </a:gsLst>
                <a:lin ang="5400000" scaled="1"/>
                <a:tileRect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思源黑体 CN Regular"/>
                <a:cs typeface="+mn-cs"/>
              </a:endParaRPr>
            </a:p>
          </p:txBody>
        </p:sp>
        <p:sp>
          <p:nvSpPr>
            <p:cNvPr id="52" name="图形 49">
              <a:extLst>
                <a:ext uri="{FF2B5EF4-FFF2-40B4-BE49-F238E27FC236}">
                  <a16:creationId xmlns:a16="http://schemas.microsoft.com/office/drawing/2014/main" id="{A0970403-D9E3-44DC-A480-246217C72EF4}"/>
                </a:ext>
              </a:extLst>
            </p:cNvPr>
            <p:cNvSpPr/>
            <p:nvPr/>
          </p:nvSpPr>
          <p:spPr>
            <a:xfrm>
              <a:off x="1177379" y="2679816"/>
              <a:ext cx="1164056" cy="1311252"/>
            </a:xfrm>
            <a:custGeom>
              <a:avLst/>
              <a:gdLst>
                <a:gd name="connsiteX0" fmla="*/ 2559177 w 2559176"/>
                <a:gd name="connsiteY0" fmla="*/ 2045661 h 2882788"/>
                <a:gd name="connsiteX1" fmla="*/ 2559177 w 2559176"/>
                <a:gd name="connsiteY1" fmla="*/ 837224 h 2882788"/>
                <a:gd name="connsiteX2" fmla="*/ 2442686 w 2559176"/>
                <a:gd name="connsiteY2" fmla="*/ 635389 h 2882788"/>
                <a:gd name="connsiteX3" fmla="*/ 1396079 w 2559176"/>
                <a:gd name="connsiteY3" fmla="*/ 31218 h 2882788"/>
                <a:gd name="connsiteX4" fmla="*/ 1163003 w 2559176"/>
                <a:gd name="connsiteY4" fmla="*/ 31218 h 2882788"/>
                <a:gd name="connsiteX5" fmla="*/ 116491 w 2559176"/>
                <a:gd name="connsiteY5" fmla="*/ 635389 h 2882788"/>
                <a:gd name="connsiteX6" fmla="*/ 0 w 2559176"/>
                <a:gd name="connsiteY6" fmla="*/ 837224 h 2882788"/>
                <a:gd name="connsiteX7" fmla="*/ 0 w 2559176"/>
                <a:gd name="connsiteY7" fmla="*/ 2045565 h 2882788"/>
                <a:gd name="connsiteX8" fmla="*/ 116491 w 2559176"/>
                <a:gd name="connsiteY8" fmla="*/ 2247400 h 2882788"/>
                <a:gd name="connsiteX9" fmla="*/ 1163003 w 2559176"/>
                <a:gd name="connsiteY9" fmla="*/ 2851571 h 2882788"/>
                <a:gd name="connsiteX10" fmla="*/ 1396079 w 2559176"/>
                <a:gd name="connsiteY10" fmla="*/ 2851571 h 2882788"/>
                <a:gd name="connsiteX11" fmla="*/ 2442591 w 2559176"/>
                <a:gd name="connsiteY11" fmla="*/ 2247400 h 2882788"/>
                <a:gd name="connsiteX12" fmla="*/ 2559177 w 2559176"/>
                <a:gd name="connsiteY12" fmla="*/ 2045661 h 288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59176" h="2882788">
                  <a:moveTo>
                    <a:pt x="2559177" y="2045661"/>
                  </a:moveTo>
                  <a:lnTo>
                    <a:pt x="2559177" y="837224"/>
                  </a:lnTo>
                  <a:cubicBezTo>
                    <a:pt x="2559177" y="753975"/>
                    <a:pt x="2514791" y="677013"/>
                    <a:pt x="2442686" y="635389"/>
                  </a:cubicBezTo>
                  <a:lnTo>
                    <a:pt x="1396079" y="31218"/>
                  </a:lnTo>
                  <a:cubicBezTo>
                    <a:pt x="1323975" y="-10406"/>
                    <a:pt x="1235107" y="-10406"/>
                    <a:pt x="1163003" y="31218"/>
                  </a:cubicBezTo>
                  <a:lnTo>
                    <a:pt x="116491" y="635389"/>
                  </a:lnTo>
                  <a:cubicBezTo>
                    <a:pt x="44387" y="677013"/>
                    <a:pt x="0" y="753975"/>
                    <a:pt x="0" y="837224"/>
                  </a:cubicBezTo>
                  <a:lnTo>
                    <a:pt x="0" y="2045565"/>
                  </a:lnTo>
                  <a:cubicBezTo>
                    <a:pt x="0" y="2128814"/>
                    <a:pt x="44387" y="2205776"/>
                    <a:pt x="116491" y="2247400"/>
                  </a:cubicBezTo>
                  <a:lnTo>
                    <a:pt x="1163003" y="2851571"/>
                  </a:lnTo>
                  <a:cubicBezTo>
                    <a:pt x="1235107" y="2893195"/>
                    <a:pt x="1323975" y="2893195"/>
                    <a:pt x="1396079" y="2851571"/>
                  </a:cubicBezTo>
                  <a:lnTo>
                    <a:pt x="2442591" y="2247400"/>
                  </a:lnTo>
                  <a:cubicBezTo>
                    <a:pt x="2514695" y="2205871"/>
                    <a:pt x="2559177" y="2128909"/>
                    <a:pt x="2559177" y="2045661"/>
                  </a:cubicBezTo>
                  <a:close/>
                </a:path>
              </a:pathLst>
            </a:custGeom>
            <a:solidFill>
              <a:srgbClr val="04316A"/>
            </a:solidFill>
            <a:ln>
              <a:noFill/>
            </a:ln>
            <a:effectLst>
              <a:outerShdw blurRad="342900" dist="419100" dir="5400000" sx="84000" sy="84000" algn="t" rotWithShape="0">
                <a:schemeClr val="accent1">
                  <a:alpha val="1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思源黑体 CN Regular"/>
                <a:cs typeface="+mn-cs"/>
              </a:endParaRPr>
            </a:p>
          </p:txBody>
        </p:sp>
      </p:grpSp>
      <p:sp>
        <p:nvSpPr>
          <p:cNvPr id="54" name="图形 49">
            <a:extLst>
              <a:ext uri="{FF2B5EF4-FFF2-40B4-BE49-F238E27FC236}">
                <a16:creationId xmlns:a16="http://schemas.microsoft.com/office/drawing/2014/main" id="{04FE5149-E562-4C57-B255-1AF0A6AF3989}"/>
              </a:ext>
            </a:extLst>
          </p:cNvPr>
          <p:cNvSpPr/>
          <p:nvPr/>
        </p:nvSpPr>
        <p:spPr>
          <a:xfrm>
            <a:off x="9501599" y="2930261"/>
            <a:ext cx="1734990" cy="1954382"/>
          </a:xfrm>
          <a:custGeom>
            <a:avLst/>
            <a:gdLst>
              <a:gd name="connsiteX0" fmla="*/ 2559177 w 2559176"/>
              <a:gd name="connsiteY0" fmla="*/ 2045661 h 2882788"/>
              <a:gd name="connsiteX1" fmla="*/ 2559177 w 2559176"/>
              <a:gd name="connsiteY1" fmla="*/ 837224 h 2882788"/>
              <a:gd name="connsiteX2" fmla="*/ 2442686 w 2559176"/>
              <a:gd name="connsiteY2" fmla="*/ 635389 h 2882788"/>
              <a:gd name="connsiteX3" fmla="*/ 1396079 w 2559176"/>
              <a:gd name="connsiteY3" fmla="*/ 31218 h 2882788"/>
              <a:gd name="connsiteX4" fmla="*/ 1163003 w 2559176"/>
              <a:gd name="connsiteY4" fmla="*/ 31218 h 2882788"/>
              <a:gd name="connsiteX5" fmla="*/ 116491 w 2559176"/>
              <a:gd name="connsiteY5" fmla="*/ 635389 h 2882788"/>
              <a:gd name="connsiteX6" fmla="*/ 0 w 2559176"/>
              <a:gd name="connsiteY6" fmla="*/ 837224 h 2882788"/>
              <a:gd name="connsiteX7" fmla="*/ 0 w 2559176"/>
              <a:gd name="connsiteY7" fmla="*/ 2045565 h 2882788"/>
              <a:gd name="connsiteX8" fmla="*/ 116491 w 2559176"/>
              <a:gd name="connsiteY8" fmla="*/ 2247400 h 2882788"/>
              <a:gd name="connsiteX9" fmla="*/ 1163003 w 2559176"/>
              <a:gd name="connsiteY9" fmla="*/ 2851571 h 2882788"/>
              <a:gd name="connsiteX10" fmla="*/ 1396079 w 2559176"/>
              <a:gd name="connsiteY10" fmla="*/ 2851571 h 2882788"/>
              <a:gd name="connsiteX11" fmla="*/ 2442591 w 2559176"/>
              <a:gd name="connsiteY11" fmla="*/ 2247400 h 2882788"/>
              <a:gd name="connsiteX12" fmla="*/ 2559177 w 2559176"/>
              <a:gd name="connsiteY12" fmla="*/ 2045661 h 2882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59176" h="2882788">
                <a:moveTo>
                  <a:pt x="2559177" y="2045661"/>
                </a:moveTo>
                <a:lnTo>
                  <a:pt x="2559177" y="837224"/>
                </a:lnTo>
                <a:cubicBezTo>
                  <a:pt x="2559177" y="753975"/>
                  <a:pt x="2514791" y="677013"/>
                  <a:pt x="2442686" y="635389"/>
                </a:cubicBezTo>
                <a:lnTo>
                  <a:pt x="1396079" y="31218"/>
                </a:lnTo>
                <a:cubicBezTo>
                  <a:pt x="1323975" y="-10406"/>
                  <a:pt x="1235107" y="-10406"/>
                  <a:pt x="1163003" y="31218"/>
                </a:cubicBezTo>
                <a:lnTo>
                  <a:pt x="116491" y="635389"/>
                </a:lnTo>
                <a:cubicBezTo>
                  <a:pt x="44387" y="677013"/>
                  <a:pt x="0" y="753975"/>
                  <a:pt x="0" y="837224"/>
                </a:cubicBezTo>
                <a:lnTo>
                  <a:pt x="0" y="2045565"/>
                </a:lnTo>
                <a:cubicBezTo>
                  <a:pt x="0" y="2128814"/>
                  <a:pt x="44387" y="2205776"/>
                  <a:pt x="116491" y="2247400"/>
                </a:cubicBezTo>
                <a:lnTo>
                  <a:pt x="1163003" y="2851571"/>
                </a:lnTo>
                <a:cubicBezTo>
                  <a:pt x="1235107" y="2893195"/>
                  <a:pt x="1323975" y="2893195"/>
                  <a:pt x="1396079" y="2851571"/>
                </a:cubicBezTo>
                <a:lnTo>
                  <a:pt x="2442591" y="2247400"/>
                </a:lnTo>
                <a:cubicBezTo>
                  <a:pt x="2514695" y="2205871"/>
                  <a:pt x="2559177" y="2128909"/>
                  <a:pt x="2559177" y="2045661"/>
                </a:cubicBezTo>
                <a:close/>
              </a:path>
            </a:pathLst>
          </a:custGeom>
          <a:noFill/>
          <a:ln>
            <a:gradFill flip="none" rotWithShape="1">
              <a:gsLst>
                <a:gs pos="41000">
                  <a:srgbClr val="04316A"/>
                </a:gs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55" name="图形 49">
            <a:extLst>
              <a:ext uri="{FF2B5EF4-FFF2-40B4-BE49-F238E27FC236}">
                <a16:creationId xmlns:a16="http://schemas.microsoft.com/office/drawing/2014/main" id="{DF290B70-ED72-467D-9FBF-7BBF8840351D}"/>
              </a:ext>
            </a:extLst>
          </p:cNvPr>
          <p:cNvSpPr/>
          <p:nvPr/>
        </p:nvSpPr>
        <p:spPr>
          <a:xfrm>
            <a:off x="9787066" y="3251826"/>
            <a:ext cx="1164056" cy="1311252"/>
          </a:xfrm>
          <a:custGeom>
            <a:avLst/>
            <a:gdLst>
              <a:gd name="connsiteX0" fmla="*/ 2559177 w 2559176"/>
              <a:gd name="connsiteY0" fmla="*/ 2045661 h 2882788"/>
              <a:gd name="connsiteX1" fmla="*/ 2559177 w 2559176"/>
              <a:gd name="connsiteY1" fmla="*/ 837224 h 2882788"/>
              <a:gd name="connsiteX2" fmla="*/ 2442686 w 2559176"/>
              <a:gd name="connsiteY2" fmla="*/ 635389 h 2882788"/>
              <a:gd name="connsiteX3" fmla="*/ 1396079 w 2559176"/>
              <a:gd name="connsiteY3" fmla="*/ 31218 h 2882788"/>
              <a:gd name="connsiteX4" fmla="*/ 1163003 w 2559176"/>
              <a:gd name="connsiteY4" fmla="*/ 31218 h 2882788"/>
              <a:gd name="connsiteX5" fmla="*/ 116491 w 2559176"/>
              <a:gd name="connsiteY5" fmla="*/ 635389 h 2882788"/>
              <a:gd name="connsiteX6" fmla="*/ 0 w 2559176"/>
              <a:gd name="connsiteY6" fmla="*/ 837224 h 2882788"/>
              <a:gd name="connsiteX7" fmla="*/ 0 w 2559176"/>
              <a:gd name="connsiteY7" fmla="*/ 2045565 h 2882788"/>
              <a:gd name="connsiteX8" fmla="*/ 116491 w 2559176"/>
              <a:gd name="connsiteY8" fmla="*/ 2247400 h 2882788"/>
              <a:gd name="connsiteX9" fmla="*/ 1163003 w 2559176"/>
              <a:gd name="connsiteY9" fmla="*/ 2851571 h 2882788"/>
              <a:gd name="connsiteX10" fmla="*/ 1396079 w 2559176"/>
              <a:gd name="connsiteY10" fmla="*/ 2851571 h 2882788"/>
              <a:gd name="connsiteX11" fmla="*/ 2442591 w 2559176"/>
              <a:gd name="connsiteY11" fmla="*/ 2247400 h 2882788"/>
              <a:gd name="connsiteX12" fmla="*/ 2559177 w 2559176"/>
              <a:gd name="connsiteY12" fmla="*/ 2045661 h 2882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59176" h="2882788">
                <a:moveTo>
                  <a:pt x="2559177" y="2045661"/>
                </a:moveTo>
                <a:lnTo>
                  <a:pt x="2559177" y="837224"/>
                </a:lnTo>
                <a:cubicBezTo>
                  <a:pt x="2559177" y="753975"/>
                  <a:pt x="2514791" y="677013"/>
                  <a:pt x="2442686" y="635389"/>
                </a:cubicBezTo>
                <a:lnTo>
                  <a:pt x="1396079" y="31218"/>
                </a:lnTo>
                <a:cubicBezTo>
                  <a:pt x="1323975" y="-10406"/>
                  <a:pt x="1235107" y="-10406"/>
                  <a:pt x="1163003" y="31218"/>
                </a:cubicBezTo>
                <a:lnTo>
                  <a:pt x="116491" y="635389"/>
                </a:lnTo>
                <a:cubicBezTo>
                  <a:pt x="44387" y="677013"/>
                  <a:pt x="0" y="753975"/>
                  <a:pt x="0" y="837224"/>
                </a:cubicBezTo>
                <a:lnTo>
                  <a:pt x="0" y="2045565"/>
                </a:lnTo>
                <a:cubicBezTo>
                  <a:pt x="0" y="2128814"/>
                  <a:pt x="44387" y="2205776"/>
                  <a:pt x="116491" y="2247400"/>
                </a:cubicBezTo>
                <a:lnTo>
                  <a:pt x="1163003" y="2851571"/>
                </a:lnTo>
                <a:cubicBezTo>
                  <a:pt x="1235107" y="2893195"/>
                  <a:pt x="1323975" y="2893195"/>
                  <a:pt x="1396079" y="2851571"/>
                </a:cubicBezTo>
                <a:lnTo>
                  <a:pt x="2442591" y="2247400"/>
                </a:lnTo>
                <a:cubicBezTo>
                  <a:pt x="2514695" y="2205871"/>
                  <a:pt x="2559177" y="2128909"/>
                  <a:pt x="2559177" y="2045661"/>
                </a:cubicBezTo>
                <a:close/>
              </a:path>
            </a:pathLst>
          </a:custGeom>
          <a:solidFill>
            <a:srgbClr val="04316A"/>
          </a:solidFill>
          <a:ln>
            <a:noFill/>
          </a:ln>
          <a:effectLst>
            <a:outerShdw blurRad="342900" dist="419100" dir="5400000" sx="84000" sy="84000" algn="t" rotWithShape="0">
              <a:schemeClr val="accent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DFA414AB-D746-4C28-9471-472A4DF84CCA}"/>
              </a:ext>
            </a:extLst>
          </p:cNvPr>
          <p:cNvGrpSpPr/>
          <p:nvPr/>
        </p:nvGrpSpPr>
        <p:grpSpPr>
          <a:xfrm>
            <a:off x="3782974" y="1732947"/>
            <a:ext cx="1734990" cy="1954382"/>
            <a:chOff x="891912" y="2358251"/>
            <a:chExt cx="1734990" cy="1954382"/>
          </a:xfrm>
        </p:grpSpPr>
        <p:sp>
          <p:nvSpPr>
            <p:cNvPr id="58" name="图形 49">
              <a:extLst>
                <a:ext uri="{FF2B5EF4-FFF2-40B4-BE49-F238E27FC236}">
                  <a16:creationId xmlns:a16="http://schemas.microsoft.com/office/drawing/2014/main" id="{7C8E7F8A-9ECB-4029-8067-8CC698CE3743}"/>
                </a:ext>
              </a:extLst>
            </p:cNvPr>
            <p:cNvSpPr/>
            <p:nvPr/>
          </p:nvSpPr>
          <p:spPr>
            <a:xfrm>
              <a:off x="891912" y="2358251"/>
              <a:ext cx="1734990" cy="1954382"/>
            </a:xfrm>
            <a:custGeom>
              <a:avLst/>
              <a:gdLst>
                <a:gd name="connsiteX0" fmla="*/ 2559177 w 2559176"/>
                <a:gd name="connsiteY0" fmla="*/ 2045661 h 2882788"/>
                <a:gd name="connsiteX1" fmla="*/ 2559177 w 2559176"/>
                <a:gd name="connsiteY1" fmla="*/ 837224 h 2882788"/>
                <a:gd name="connsiteX2" fmla="*/ 2442686 w 2559176"/>
                <a:gd name="connsiteY2" fmla="*/ 635389 h 2882788"/>
                <a:gd name="connsiteX3" fmla="*/ 1396079 w 2559176"/>
                <a:gd name="connsiteY3" fmla="*/ 31218 h 2882788"/>
                <a:gd name="connsiteX4" fmla="*/ 1163003 w 2559176"/>
                <a:gd name="connsiteY4" fmla="*/ 31218 h 2882788"/>
                <a:gd name="connsiteX5" fmla="*/ 116491 w 2559176"/>
                <a:gd name="connsiteY5" fmla="*/ 635389 h 2882788"/>
                <a:gd name="connsiteX6" fmla="*/ 0 w 2559176"/>
                <a:gd name="connsiteY6" fmla="*/ 837224 h 2882788"/>
                <a:gd name="connsiteX7" fmla="*/ 0 w 2559176"/>
                <a:gd name="connsiteY7" fmla="*/ 2045565 h 2882788"/>
                <a:gd name="connsiteX8" fmla="*/ 116491 w 2559176"/>
                <a:gd name="connsiteY8" fmla="*/ 2247400 h 2882788"/>
                <a:gd name="connsiteX9" fmla="*/ 1163003 w 2559176"/>
                <a:gd name="connsiteY9" fmla="*/ 2851571 h 2882788"/>
                <a:gd name="connsiteX10" fmla="*/ 1396079 w 2559176"/>
                <a:gd name="connsiteY10" fmla="*/ 2851571 h 2882788"/>
                <a:gd name="connsiteX11" fmla="*/ 2442591 w 2559176"/>
                <a:gd name="connsiteY11" fmla="*/ 2247400 h 2882788"/>
                <a:gd name="connsiteX12" fmla="*/ 2559177 w 2559176"/>
                <a:gd name="connsiteY12" fmla="*/ 2045661 h 288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59176" h="2882788">
                  <a:moveTo>
                    <a:pt x="2559177" y="2045661"/>
                  </a:moveTo>
                  <a:lnTo>
                    <a:pt x="2559177" y="837224"/>
                  </a:lnTo>
                  <a:cubicBezTo>
                    <a:pt x="2559177" y="753975"/>
                    <a:pt x="2514791" y="677013"/>
                    <a:pt x="2442686" y="635389"/>
                  </a:cubicBezTo>
                  <a:lnTo>
                    <a:pt x="1396079" y="31218"/>
                  </a:lnTo>
                  <a:cubicBezTo>
                    <a:pt x="1323975" y="-10406"/>
                    <a:pt x="1235107" y="-10406"/>
                    <a:pt x="1163003" y="31218"/>
                  </a:cubicBezTo>
                  <a:lnTo>
                    <a:pt x="116491" y="635389"/>
                  </a:lnTo>
                  <a:cubicBezTo>
                    <a:pt x="44387" y="677013"/>
                    <a:pt x="0" y="753975"/>
                    <a:pt x="0" y="837224"/>
                  </a:cubicBezTo>
                  <a:lnTo>
                    <a:pt x="0" y="2045565"/>
                  </a:lnTo>
                  <a:cubicBezTo>
                    <a:pt x="0" y="2128814"/>
                    <a:pt x="44387" y="2205776"/>
                    <a:pt x="116491" y="2247400"/>
                  </a:cubicBezTo>
                  <a:lnTo>
                    <a:pt x="1163003" y="2851571"/>
                  </a:lnTo>
                  <a:cubicBezTo>
                    <a:pt x="1235107" y="2893195"/>
                    <a:pt x="1323975" y="2893195"/>
                    <a:pt x="1396079" y="2851571"/>
                  </a:cubicBezTo>
                  <a:lnTo>
                    <a:pt x="2442591" y="2247400"/>
                  </a:lnTo>
                  <a:cubicBezTo>
                    <a:pt x="2514695" y="2205871"/>
                    <a:pt x="2559177" y="2128909"/>
                    <a:pt x="2559177" y="2045661"/>
                  </a:cubicBezTo>
                  <a:close/>
                </a:path>
              </a:pathLst>
            </a:custGeom>
            <a:noFill/>
            <a:ln>
              <a:gradFill flip="none" rotWithShape="1">
                <a:gsLst>
                  <a:gs pos="41000">
                    <a:srgbClr val="04316A"/>
                  </a:gs>
                  <a:gs pos="100000">
                    <a:schemeClr val="accent1">
                      <a:lumMod val="20000"/>
                      <a:lumOff val="80000"/>
                      <a:alpha val="0"/>
                    </a:schemeClr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思源黑体 CN Regular"/>
                <a:cs typeface="+mn-cs"/>
              </a:endParaRPr>
            </a:p>
          </p:txBody>
        </p:sp>
        <p:sp>
          <p:nvSpPr>
            <p:cNvPr id="59" name="图形 49">
              <a:extLst>
                <a:ext uri="{FF2B5EF4-FFF2-40B4-BE49-F238E27FC236}">
                  <a16:creationId xmlns:a16="http://schemas.microsoft.com/office/drawing/2014/main" id="{A237B092-26AB-47A4-AF59-5BC3AAAFA7E5}"/>
                </a:ext>
              </a:extLst>
            </p:cNvPr>
            <p:cNvSpPr/>
            <p:nvPr/>
          </p:nvSpPr>
          <p:spPr>
            <a:xfrm>
              <a:off x="1177379" y="2679816"/>
              <a:ext cx="1164056" cy="1311252"/>
            </a:xfrm>
            <a:custGeom>
              <a:avLst/>
              <a:gdLst>
                <a:gd name="connsiteX0" fmla="*/ 2559177 w 2559176"/>
                <a:gd name="connsiteY0" fmla="*/ 2045661 h 2882788"/>
                <a:gd name="connsiteX1" fmla="*/ 2559177 w 2559176"/>
                <a:gd name="connsiteY1" fmla="*/ 837224 h 2882788"/>
                <a:gd name="connsiteX2" fmla="*/ 2442686 w 2559176"/>
                <a:gd name="connsiteY2" fmla="*/ 635389 h 2882788"/>
                <a:gd name="connsiteX3" fmla="*/ 1396079 w 2559176"/>
                <a:gd name="connsiteY3" fmla="*/ 31218 h 2882788"/>
                <a:gd name="connsiteX4" fmla="*/ 1163003 w 2559176"/>
                <a:gd name="connsiteY4" fmla="*/ 31218 h 2882788"/>
                <a:gd name="connsiteX5" fmla="*/ 116491 w 2559176"/>
                <a:gd name="connsiteY5" fmla="*/ 635389 h 2882788"/>
                <a:gd name="connsiteX6" fmla="*/ 0 w 2559176"/>
                <a:gd name="connsiteY6" fmla="*/ 837224 h 2882788"/>
                <a:gd name="connsiteX7" fmla="*/ 0 w 2559176"/>
                <a:gd name="connsiteY7" fmla="*/ 2045565 h 2882788"/>
                <a:gd name="connsiteX8" fmla="*/ 116491 w 2559176"/>
                <a:gd name="connsiteY8" fmla="*/ 2247400 h 2882788"/>
                <a:gd name="connsiteX9" fmla="*/ 1163003 w 2559176"/>
                <a:gd name="connsiteY9" fmla="*/ 2851571 h 2882788"/>
                <a:gd name="connsiteX10" fmla="*/ 1396079 w 2559176"/>
                <a:gd name="connsiteY10" fmla="*/ 2851571 h 2882788"/>
                <a:gd name="connsiteX11" fmla="*/ 2442591 w 2559176"/>
                <a:gd name="connsiteY11" fmla="*/ 2247400 h 2882788"/>
                <a:gd name="connsiteX12" fmla="*/ 2559177 w 2559176"/>
                <a:gd name="connsiteY12" fmla="*/ 2045661 h 288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59176" h="2882788">
                  <a:moveTo>
                    <a:pt x="2559177" y="2045661"/>
                  </a:moveTo>
                  <a:lnTo>
                    <a:pt x="2559177" y="837224"/>
                  </a:lnTo>
                  <a:cubicBezTo>
                    <a:pt x="2559177" y="753975"/>
                    <a:pt x="2514791" y="677013"/>
                    <a:pt x="2442686" y="635389"/>
                  </a:cubicBezTo>
                  <a:lnTo>
                    <a:pt x="1396079" y="31218"/>
                  </a:lnTo>
                  <a:cubicBezTo>
                    <a:pt x="1323975" y="-10406"/>
                    <a:pt x="1235107" y="-10406"/>
                    <a:pt x="1163003" y="31218"/>
                  </a:cubicBezTo>
                  <a:lnTo>
                    <a:pt x="116491" y="635389"/>
                  </a:lnTo>
                  <a:cubicBezTo>
                    <a:pt x="44387" y="677013"/>
                    <a:pt x="0" y="753975"/>
                    <a:pt x="0" y="837224"/>
                  </a:cubicBezTo>
                  <a:lnTo>
                    <a:pt x="0" y="2045565"/>
                  </a:lnTo>
                  <a:cubicBezTo>
                    <a:pt x="0" y="2128814"/>
                    <a:pt x="44387" y="2205776"/>
                    <a:pt x="116491" y="2247400"/>
                  </a:cubicBezTo>
                  <a:lnTo>
                    <a:pt x="1163003" y="2851571"/>
                  </a:lnTo>
                  <a:cubicBezTo>
                    <a:pt x="1235107" y="2893195"/>
                    <a:pt x="1323975" y="2893195"/>
                    <a:pt x="1396079" y="2851571"/>
                  </a:cubicBezTo>
                  <a:lnTo>
                    <a:pt x="2442591" y="2247400"/>
                  </a:lnTo>
                  <a:cubicBezTo>
                    <a:pt x="2514695" y="2205871"/>
                    <a:pt x="2559177" y="2128909"/>
                    <a:pt x="2559177" y="2045661"/>
                  </a:cubicBezTo>
                  <a:close/>
                </a:path>
              </a:pathLst>
            </a:custGeom>
            <a:solidFill>
              <a:srgbClr val="04316A"/>
            </a:solidFill>
            <a:ln>
              <a:noFill/>
            </a:ln>
            <a:effectLst>
              <a:outerShdw blurRad="342900" dist="419100" dir="5400000" sx="84000" sy="84000" algn="t" rotWithShape="0">
                <a:schemeClr val="accent1">
                  <a:alpha val="1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思源黑体 CN Regular"/>
                <a:cs typeface="+mn-cs"/>
              </a:endParaRPr>
            </a:p>
          </p:txBody>
        </p:sp>
      </p:grp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BA318D9D-0F07-4F93-95ED-56A5ED5200D6}"/>
              </a:ext>
            </a:extLst>
          </p:cNvPr>
          <p:cNvGrpSpPr/>
          <p:nvPr/>
        </p:nvGrpSpPr>
        <p:grpSpPr>
          <a:xfrm>
            <a:off x="6674036" y="1732947"/>
            <a:ext cx="1734990" cy="1954382"/>
            <a:chOff x="891912" y="2358251"/>
            <a:chExt cx="1734990" cy="1954382"/>
          </a:xfrm>
        </p:grpSpPr>
        <p:sp>
          <p:nvSpPr>
            <p:cNvPr id="61" name="图形 49">
              <a:extLst>
                <a:ext uri="{FF2B5EF4-FFF2-40B4-BE49-F238E27FC236}">
                  <a16:creationId xmlns:a16="http://schemas.microsoft.com/office/drawing/2014/main" id="{F332564A-3E4E-4A55-96C9-1BF570A3EFF8}"/>
                </a:ext>
              </a:extLst>
            </p:cNvPr>
            <p:cNvSpPr/>
            <p:nvPr/>
          </p:nvSpPr>
          <p:spPr>
            <a:xfrm>
              <a:off x="891912" y="2358251"/>
              <a:ext cx="1734990" cy="1954382"/>
            </a:xfrm>
            <a:custGeom>
              <a:avLst/>
              <a:gdLst>
                <a:gd name="connsiteX0" fmla="*/ 2559177 w 2559176"/>
                <a:gd name="connsiteY0" fmla="*/ 2045661 h 2882788"/>
                <a:gd name="connsiteX1" fmla="*/ 2559177 w 2559176"/>
                <a:gd name="connsiteY1" fmla="*/ 837224 h 2882788"/>
                <a:gd name="connsiteX2" fmla="*/ 2442686 w 2559176"/>
                <a:gd name="connsiteY2" fmla="*/ 635389 h 2882788"/>
                <a:gd name="connsiteX3" fmla="*/ 1396079 w 2559176"/>
                <a:gd name="connsiteY3" fmla="*/ 31218 h 2882788"/>
                <a:gd name="connsiteX4" fmla="*/ 1163003 w 2559176"/>
                <a:gd name="connsiteY4" fmla="*/ 31218 h 2882788"/>
                <a:gd name="connsiteX5" fmla="*/ 116491 w 2559176"/>
                <a:gd name="connsiteY5" fmla="*/ 635389 h 2882788"/>
                <a:gd name="connsiteX6" fmla="*/ 0 w 2559176"/>
                <a:gd name="connsiteY6" fmla="*/ 837224 h 2882788"/>
                <a:gd name="connsiteX7" fmla="*/ 0 w 2559176"/>
                <a:gd name="connsiteY7" fmla="*/ 2045565 h 2882788"/>
                <a:gd name="connsiteX8" fmla="*/ 116491 w 2559176"/>
                <a:gd name="connsiteY8" fmla="*/ 2247400 h 2882788"/>
                <a:gd name="connsiteX9" fmla="*/ 1163003 w 2559176"/>
                <a:gd name="connsiteY9" fmla="*/ 2851571 h 2882788"/>
                <a:gd name="connsiteX10" fmla="*/ 1396079 w 2559176"/>
                <a:gd name="connsiteY10" fmla="*/ 2851571 h 2882788"/>
                <a:gd name="connsiteX11" fmla="*/ 2442591 w 2559176"/>
                <a:gd name="connsiteY11" fmla="*/ 2247400 h 2882788"/>
                <a:gd name="connsiteX12" fmla="*/ 2559177 w 2559176"/>
                <a:gd name="connsiteY12" fmla="*/ 2045661 h 288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59176" h="2882788">
                  <a:moveTo>
                    <a:pt x="2559177" y="2045661"/>
                  </a:moveTo>
                  <a:lnTo>
                    <a:pt x="2559177" y="837224"/>
                  </a:lnTo>
                  <a:cubicBezTo>
                    <a:pt x="2559177" y="753975"/>
                    <a:pt x="2514791" y="677013"/>
                    <a:pt x="2442686" y="635389"/>
                  </a:cubicBezTo>
                  <a:lnTo>
                    <a:pt x="1396079" y="31218"/>
                  </a:lnTo>
                  <a:cubicBezTo>
                    <a:pt x="1323975" y="-10406"/>
                    <a:pt x="1235107" y="-10406"/>
                    <a:pt x="1163003" y="31218"/>
                  </a:cubicBezTo>
                  <a:lnTo>
                    <a:pt x="116491" y="635389"/>
                  </a:lnTo>
                  <a:cubicBezTo>
                    <a:pt x="44387" y="677013"/>
                    <a:pt x="0" y="753975"/>
                    <a:pt x="0" y="837224"/>
                  </a:cubicBezTo>
                  <a:lnTo>
                    <a:pt x="0" y="2045565"/>
                  </a:lnTo>
                  <a:cubicBezTo>
                    <a:pt x="0" y="2128814"/>
                    <a:pt x="44387" y="2205776"/>
                    <a:pt x="116491" y="2247400"/>
                  </a:cubicBezTo>
                  <a:lnTo>
                    <a:pt x="1163003" y="2851571"/>
                  </a:lnTo>
                  <a:cubicBezTo>
                    <a:pt x="1235107" y="2893195"/>
                    <a:pt x="1323975" y="2893195"/>
                    <a:pt x="1396079" y="2851571"/>
                  </a:cubicBezTo>
                  <a:lnTo>
                    <a:pt x="2442591" y="2247400"/>
                  </a:lnTo>
                  <a:cubicBezTo>
                    <a:pt x="2514695" y="2205871"/>
                    <a:pt x="2559177" y="2128909"/>
                    <a:pt x="2559177" y="2045661"/>
                  </a:cubicBezTo>
                  <a:close/>
                </a:path>
              </a:pathLst>
            </a:custGeom>
            <a:noFill/>
            <a:ln>
              <a:gradFill flip="none" rotWithShape="1">
                <a:gsLst>
                  <a:gs pos="41000">
                    <a:srgbClr val="04316A"/>
                  </a:gs>
                  <a:gs pos="100000">
                    <a:schemeClr val="accent1">
                      <a:lumMod val="20000"/>
                      <a:lumOff val="80000"/>
                      <a:alpha val="0"/>
                    </a:schemeClr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思源黑体 CN Regular"/>
                <a:cs typeface="+mn-cs"/>
              </a:endParaRPr>
            </a:p>
          </p:txBody>
        </p:sp>
        <p:sp>
          <p:nvSpPr>
            <p:cNvPr id="62" name="图形 49">
              <a:extLst>
                <a:ext uri="{FF2B5EF4-FFF2-40B4-BE49-F238E27FC236}">
                  <a16:creationId xmlns:a16="http://schemas.microsoft.com/office/drawing/2014/main" id="{EE82FAA7-637B-483F-99B2-7AD25B6CBC6D}"/>
                </a:ext>
              </a:extLst>
            </p:cNvPr>
            <p:cNvSpPr/>
            <p:nvPr/>
          </p:nvSpPr>
          <p:spPr>
            <a:xfrm>
              <a:off x="1177379" y="2679816"/>
              <a:ext cx="1164056" cy="1311252"/>
            </a:xfrm>
            <a:custGeom>
              <a:avLst/>
              <a:gdLst>
                <a:gd name="connsiteX0" fmla="*/ 2559177 w 2559176"/>
                <a:gd name="connsiteY0" fmla="*/ 2045661 h 2882788"/>
                <a:gd name="connsiteX1" fmla="*/ 2559177 w 2559176"/>
                <a:gd name="connsiteY1" fmla="*/ 837224 h 2882788"/>
                <a:gd name="connsiteX2" fmla="*/ 2442686 w 2559176"/>
                <a:gd name="connsiteY2" fmla="*/ 635389 h 2882788"/>
                <a:gd name="connsiteX3" fmla="*/ 1396079 w 2559176"/>
                <a:gd name="connsiteY3" fmla="*/ 31218 h 2882788"/>
                <a:gd name="connsiteX4" fmla="*/ 1163003 w 2559176"/>
                <a:gd name="connsiteY4" fmla="*/ 31218 h 2882788"/>
                <a:gd name="connsiteX5" fmla="*/ 116491 w 2559176"/>
                <a:gd name="connsiteY5" fmla="*/ 635389 h 2882788"/>
                <a:gd name="connsiteX6" fmla="*/ 0 w 2559176"/>
                <a:gd name="connsiteY6" fmla="*/ 837224 h 2882788"/>
                <a:gd name="connsiteX7" fmla="*/ 0 w 2559176"/>
                <a:gd name="connsiteY7" fmla="*/ 2045565 h 2882788"/>
                <a:gd name="connsiteX8" fmla="*/ 116491 w 2559176"/>
                <a:gd name="connsiteY8" fmla="*/ 2247400 h 2882788"/>
                <a:gd name="connsiteX9" fmla="*/ 1163003 w 2559176"/>
                <a:gd name="connsiteY9" fmla="*/ 2851571 h 2882788"/>
                <a:gd name="connsiteX10" fmla="*/ 1396079 w 2559176"/>
                <a:gd name="connsiteY10" fmla="*/ 2851571 h 2882788"/>
                <a:gd name="connsiteX11" fmla="*/ 2442591 w 2559176"/>
                <a:gd name="connsiteY11" fmla="*/ 2247400 h 2882788"/>
                <a:gd name="connsiteX12" fmla="*/ 2559177 w 2559176"/>
                <a:gd name="connsiteY12" fmla="*/ 2045661 h 288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59176" h="2882788">
                  <a:moveTo>
                    <a:pt x="2559177" y="2045661"/>
                  </a:moveTo>
                  <a:lnTo>
                    <a:pt x="2559177" y="837224"/>
                  </a:lnTo>
                  <a:cubicBezTo>
                    <a:pt x="2559177" y="753975"/>
                    <a:pt x="2514791" y="677013"/>
                    <a:pt x="2442686" y="635389"/>
                  </a:cubicBezTo>
                  <a:lnTo>
                    <a:pt x="1396079" y="31218"/>
                  </a:lnTo>
                  <a:cubicBezTo>
                    <a:pt x="1323975" y="-10406"/>
                    <a:pt x="1235107" y="-10406"/>
                    <a:pt x="1163003" y="31218"/>
                  </a:cubicBezTo>
                  <a:lnTo>
                    <a:pt x="116491" y="635389"/>
                  </a:lnTo>
                  <a:cubicBezTo>
                    <a:pt x="44387" y="677013"/>
                    <a:pt x="0" y="753975"/>
                    <a:pt x="0" y="837224"/>
                  </a:cubicBezTo>
                  <a:lnTo>
                    <a:pt x="0" y="2045565"/>
                  </a:lnTo>
                  <a:cubicBezTo>
                    <a:pt x="0" y="2128814"/>
                    <a:pt x="44387" y="2205776"/>
                    <a:pt x="116491" y="2247400"/>
                  </a:cubicBezTo>
                  <a:lnTo>
                    <a:pt x="1163003" y="2851571"/>
                  </a:lnTo>
                  <a:cubicBezTo>
                    <a:pt x="1235107" y="2893195"/>
                    <a:pt x="1323975" y="2893195"/>
                    <a:pt x="1396079" y="2851571"/>
                  </a:cubicBezTo>
                  <a:lnTo>
                    <a:pt x="2442591" y="2247400"/>
                  </a:lnTo>
                  <a:cubicBezTo>
                    <a:pt x="2514695" y="2205871"/>
                    <a:pt x="2559177" y="2128909"/>
                    <a:pt x="2559177" y="2045661"/>
                  </a:cubicBezTo>
                  <a:close/>
                </a:path>
              </a:pathLst>
            </a:custGeom>
            <a:solidFill>
              <a:srgbClr val="04316A"/>
            </a:solidFill>
            <a:ln>
              <a:noFill/>
            </a:ln>
            <a:effectLst>
              <a:outerShdw blurRad="342900" dist="419100" dir="5400000" sx="84000" sy="84000" algn="t" rotWithShape="0">
                <a:schemeClr val="accent1">
                  <a:alpha val="1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思源黑体 CN Regular"/>
                <a:cs typeface="+mn-cs"/>
              </a:endParaRPr>
            </a:p>
          </p:txBody>
        </p:sp>
      </p:grpSp>
      <p:pic>
        <p:nvPicPr>
          <p:cNvPr id="3" name="Graphic 2" descr="Illustrator with solid fill">
            <a:extLst>
              <a:ext uri="{FF2B5EF4-FFF2-40B4-BE49-F238E27FC236}">
                <a16:creationId xmlns:a16="http://schemas.microsoft.com/office/drawing/2014/main" id="{4FEE2D88-E78F-3099-A0F8-368BDDD67E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65176" y="3527501"/>
            <a:ext cx="727166" cy="727166"/>
          </a:xfrm>
          <a:prstGeom prst="rect">
            <a:avLst/>
          </a:prstGeom>
        </p:spPr>
      </p:pic>
      <p:sp>
        <p:nvSpPr>
          <p:cNvPr id="8" name="Title 31">
            <a:extLst>
              <a:ext uri="{FF2B5EF4-FFF2-40B4-BE49-F238E27FC236}">
                <a16:creationId xmlns:a16="http://schemas.microsoft.com/office/drawing/2014/main" id="{2A8F0A31-3B4A-6E38-2150-1E851124088A}"/>
              </a:ext>
            </a:extLst>
          </p:cNvPr>
          <p:cNvSpPr txBox="1">
            <a:spLocks/>
          </p:cNvSpPr>
          <p:nvPr/>
        </p:nvSpPr>
        <p:spPr>
          <a:xfrm>
            <a:off x="518318" y="301185"/>
            <a:ext cx="6844385" cy="3323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41E4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Quality </a:t>
            </a:r>
            <a:r>
              <a:rPr lang="de-DE" err="1"/>
              <a:t>Inspection</a:t>
            </a:r>
            <a:r>
              <a:rPr lang="de-DE"/>
              <a:t> Pipeline</a:t>
            </a:r>
            <a:endParaRPr lang="en-GB"/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A98238E9-0073-43EA-4FCB-08E9B4B86B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933" y="2296347"/>
            <a:ext cx="763679" cy="763679"/>
          </a:xfrm>
          <a:prstGeom prst="rect">
            <a:avLst/>
          </a:prstGeom>
        </p:spPr>
      </p:pic>
      <p:pic>
        <p:nvPicPr>
          <p:cNvPr id="13" name="Graphic 12" descr="Gears with solid fill">
            <a:extLst>
              <a:ext uri="{FF2B5EF4-FFF2-40B4-BE49-F238E27FC236}">
                <a16:creationId xmlns:a16="http://schemas.microsoft.com/office/drawing/2014/main" id="{914DA17C-82A4-FEBA-E182-243E504C0F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52836" y="2308469"/>
            <a:ext cx="739434" cy="739434"/>
          </a:xfrm>
          <a:prstGeom prst="rect">
            <a:avLst/>
          </a:prstGeom>
        </p:spPr>
      </p:pic>
      <p:pic>
        <p:nvPicPr>
          <p:cNvPr id="14" name="Graphic 13" descr="Clipboard Mixed with solid fill">
            <a:extLst>
              <a:ext uri="{FF2B5EF4-FFF2-40B4-BE49-F238E27FC236}">
                <a16:creationId xmlns:a16="http://schemas.microsoft.com/office/drawing/2014/main" id="{76AF083F-3AA8-A1D6-AA31-1461C185BAD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99377" y="3529634"/>
            <a:ext cx="739434" cy="739434"/>
          </a:xfrm>
          <a:prstGeom prst="rect">
            <a:avLst/>
          </a:prstGeom>
        </p:spPr>
      </p:pic>
      <p:sp>
        <p:nvSpPr>
          <p:cNvPr id="17" name="矩形: 圆角 46">
            <a:extLst>
              <a:ext uri="{FF2B5EF4-FFF2-40B4-BE49-F238E27FC236}">
                <a16:creationId xmlns:a16="http://schemas.microsoft.com/office/drawing/2014/main" id="{1150A66D-DCCD-3713-EC95-41368DBB40D8}"/>
              </a:ext>
            </a:extLst>
          </p:cNvPr>
          <p:cNvSpPr/>
          <p:nvPr/>
        </p:nvSpPr>
        <p:spPr>
          <a:xfrm>
            <a:off x="3563108" y="5041605"/>
            <a:ext cx="5105763" cy="830996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800" b="1" dirty="0">
                <a:solidFill>
                  <a:schemeClr val="bg1"/>
                </a:solidFill>
                <a:latin typeface="+mj-lt"/>
              </a:rPr>
              <a:t>Our goal: Automatic quality inspection of Kontron boxes with high accuracy</a:t>
            </a:r>
            <a:endParaRPr lang="en-GB" sz="18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703269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C46B3-551E-EB4A-1B19-8431C04D3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ox Classification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7755B5F-5B92-9175-C19B-E27003856FAD}"/>
              </a:ext>
            </a:extLst>
          </p:cNvPr>
          <p:cNvSpPr txBox="1">
            <a:spLocks/>
          </p:cNvSpPr>
          <p:nvPr/>
        </p:nvSpPr>
        <p:spPr>
          <a:xfrm>
            <a:off x="397365" y="633169"/>
            <a:ext cx="6844385" cy="24981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highlight>
                <a:srgbClr val="FFFF00"/>
              </a:highlight>
            </a:endParaRPr>
          </a:p>
        </p:txBody>
      </p:sp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50F34847-9E5C-CF5F-A787-63C69AB8E5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1331322"/>
              </p:ext>
            </p:extLst>
          </p:nvPr>
        </p:nvGraphicFramePr>
        <p:xfrm>
          <a:off x="1225851" y="3287605"/>
          <a:ext cx="3596262" cy="26758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E3A52CD-04C4-1250-4A9A-98DD985B9548}"/>
              </a:ext>
            </a:extLst>
          </p:cNvPr>
          <p:cNvGrpSpPr/>
          <p:nvPr/>
        </p:nvGrpSpPr>
        <p:grpSpPr>
          <a:xfrm>
            <a:off x="874714" y="1865479"/>
            <a:ext cx="5818331" cy="1608205"/>
            <a:chOff x="874714" y="1945882"/>
            <a:chExt cx="5818331" cy="1608205"/>
          </a:xfrm>
        </p:grpSpPr>
        <p:sp>
          <p:nvSpPr>
            <p:cNvPr id="9" name="矩形: 圆角 3">
              <a:extLst>
                <a:ext uri="{FF2B5EF4-FFF2-40B4-BE49-F238E27FC236}">
                  <a16:creationId xmlns:a16="http://schemas.microsoft.com/office/drawing/2014/main" id="{5539DD1F-1C12-9436-6F52-48648B45A3FD}"/>
                </a:ext>
              </a:extLst>
            </p:cNvPr>
            <p:cNvSpPr/>
            <p:nvPr/>
          </p:nvSpPr>
          <p:spPr>
            <a:xfrm>
              <a:off x="874714" y="1945882"/>
              <a:ext cx="4298536" cy="1483118"/>
            </a:xfrm>
            <a:prstGeom prst="roundRect">
              <a:avLst>
                <a:gd name="adj" fmla="val 4887"/>
              </a:avLst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思源黑体 CN Regular"/>
                <a:cs typeface="+mn-cs"/>
              </a:endParaRPr>
            </a:p>
          </p:txBody>
        </p:sp>
        <p:sp>
          <p:nvSpPr>
            <p:cNvPr id="11" name="文本框 5">
              <a:extLst>
                <a:ext uri="{FF2B5EF4-FFF2-40B4-BE49-F238E27FC236}">
                  <a16:creationId xmlns:a16="http://schemas.microsoft.com/office/drawing/2014/main" id="{9E862F88-2B6B-9D31-F69F-99B17FF1F480}"/>
                </a:ext>
              </a:extLst>
            </p:cNvPr>
            <p:cNvSpPr txBox="1"/>
            <p:nvPr/>
          </p:nvSpPr>
          <p:spPr>
            <a:xfrm>
              <a:off x="1006117" y="2085216"/>
              <a:ext cx="740908" cy="400110"/>
            </a:xfrm>
            <a:prstGeom prst="rect">
              <a:avLst/>
            </a:prstGeom>
            <a:noFill/>
          </p:spPr>
          <p:txBody>
            <a:bodyPr wrap="none" lIns="91440" tIns="45720" rIns="91440" bIns="45720" anchor="t">
              <a:spAutoFit/>
            </a:bodyPr>
            <a:lstStyle/>
            <a:p>
              <a:r>
                <a:rPr lang="en-US" sz="2000" b="1" dirty="0">
                  <a:solidFill>
                    <a:srgbClr val="04316A"/>
                  </a:solidFill>
                  <a:latin typeface="+mj-lt"/>
                </a:rPr>
                <a:t>Data</a:t>
              </a:r>
              <a:endParaRPr lang="de-DE" dirty="0"/>
            </a:p>
          </p:txBody>
        </p:sp>
        <p:sp>
          <p:nvSpPr>
            <p:cNvPr id="5" name="文本框 19">
              <a:extLst>
                <a:ext uri="{FF2B5EF4-FFF2-40B4-BE49-F238E27FC236}">
                  <a16:creationId xmlns:a16="http://schemas.microsoft.com/office/drawing/2014/main" id="{446B0656-F512-68C9-E3FD-323794E35C64}"/>
                </a:ext>
              </a:extLst>
            </p:cNvPr>
            <p:cNvSpPr txBox="1"/>
            <p:nvPr/>
          </p:nvSpPr>
          <p:spPr>
            <a:xfrm>
              <a:off x="1035016" y="2399412"/>
              <a:ext cx="5658029" cy="11546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dirty="0"/>
                <a:t>Combine ‘Kontron’ and ‘IPEVO’ sample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dirty="0"/>
                <a:t>Binary classification task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lang="zh-CN" altLang="en-US" sz="1600" dirty="0"/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051A5957-1633-20C9-C0F1-41AC788FE19B}"/>
              </a:ext>
            </a:extLst>
          </p:cNvPr>
          <p:cNvGrpSpPr/>
          <p:nvPr/>
        </p:nvGrpSpPr>
        <p:grpSpPr>
          <a:xfrm>
            <a:off x="6262686" y="1507472"/>
            <a:ext cx="5054600" cy="1924110"/>
            <a:chOff x="6262686" y="1861793"/>
            <a:chExt cx="5054600" cy="1924110"/>
          </a:xfrm>
        </p:grpSpPr>
        <p:pic>
          <p:nvPicPr>
            <p:cNvPr id="18" name="Grafik 17" descr="Ein Bild, das Tisch enthält.&#10;&#10;Automatisch generierte Beschreibung">
              <a:extLst>
                <a:ext uri="{FF2B5EF4-FFF2-40B4-BE49-F238E27FC236}">
                  <a16:creationId xmlns:a16="http://schemas.microsoft.com/office/drawing/2014/main" id="{A711F477-588F-C93F-3BFC-2C92E1841C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62686" y="2261903"/>
              <a:ext cx="5054600" cy="1524000"/>
            </a:xfrm>
            <a:prstGeom prst="rect">
              <a:avLst/>
            </a:prstGeom>
          </p:spPr>
        </p:pic>
        <p:sp>
          <p:nvSpPr>
            <p:cNvPr id="22" name="文本框 5">
              <a:extLst>
                <a:ext uri="{FF2B5EF4-FFF2-40B4-BE49-F238E27FC236}">
                  <a16:creationId xmlns:a16="http://schemas.microsoft.com/office/drawing/2014/main" id="{14E099C3-739B-F0E9-BCD4-5BDF1D8D08F2}"/>
                </a:ext>
              </a:extLst>
            </p:cNvPr>
            <p:cNvSpPr txBox="1"/>
            <p:nvPr/>
          </p:nvSpPr>
          <p:spPr>
            <a:xfrm>
              <a:off x="6262686" y="1861793"/>
              <a:ext cx="2438488" cy="400110"/>
            </a:xfrm>
            <a:prstGeom prst="rect">
              <a:avLst/>
            </a:prstGeom>
            <a:noFill/>
          </p:spPr>
          <p:txBody>
            <a:bodyPr wrap="none" lIns="91440" tIns="45720" rIns="91440" bIns="45720" anchor="t">
              <a:spAutoFit/>
            </a:bodyPr>
            <a:lstStyle/>
            <a:p>
              <a:r>
                <a:rPr lang="en-US" sz="2000" b="1" dirty="0">
                  <a:solidFill>
                    <a:srgbClr val="04316A"/>
                  </a:solidFill>
                  <a:latin typeface="+mj-lt"/>
                </a:rPr>
                <a:t>Hand-Crafted CNN</a:t>
              </a:r>
              <a:endParaRPr lang="de-DE" dirty="0"/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F16CCAEB-FB69-F9BA-677F-AE209444D0E1}"/>
              </a:ext>
            </a:extLst>
          </p:cNvPr>
          <p:cNvGrpSpPr/>
          <p:nvPr/>
        </p:nvGrpSpPr>
        <p:grpSpPr>
          <a:xfrm>
            <a:off x="6173874" y="4044417"/>
            <a:ext cx="5054600" cy="1919017"/>
            <a:chOff x="6262686" y="1861793"/>
            <a:chExt cx="5054600" cy="1919017"/>
          </a:xfrm>
        </p:grpSpPr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FEAD3E2A-8D50-CA9C-0E03-B15E8E82BB9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262686" y="2266996"/>
              <a:ext cx="5054600" cy="1513814"/>
            </a:xfrm>
            <a:prstGeom prst="rect">
              <a:avLst/>
            </a:prstGeom>
          </p:spPr>
        </p:pic>
        <p:sp>
          <p:nvSpPr>
            <p:cNvPr id="27" name="文本框 5">
              <a:extLst>
                <a:ext uri="{FF2B5EF4-FFF2-40B4-BE49-F238E27FC236}">
                  <a16:creationId xmlns:a16="http://schemas.microsoft.com/office/drawing/2014/main" id="{6CF7BD2C-1D65-8B84-5553-8CD9F55FF11A}"/>
                </a:ext>
              </a:extLst>
            </p:cNvPr>
            <p:cNvSpPr txBox="1"/>
            <p:nvPr/>
          </p:nvSpPr>
          <p:spPr>
            <a:xfrm>
              <a:off x="6262686" y="1861793"/>
              <a:ext cx="2789738" cy="400110"/>
            </a:xfrm>
            <a:prstGeom prst="rect">
              <a:avLst/>
            </a:prstGeom>
            <a:noFill/>
          </p:spPr>
          <p:txBody>
            <a:bodyPr wrap="none" lIns="91440" tIns="45720" rIns="91440" bIns="45720" anchor="t">
              <a:spAutoFit/>
            </a:bodyPr>
            <a:lstStyle/>
            <a:p>
              <a:r>
                <a:rPr lang="en-US" sz="2000" b="1" dirty="0">
                  <a:solidFill>
                    <a:srgbClr val="04316A"/>
                  </a:solidFill>
                  <a:latin typeface="+mj-lt"/>
                </a:rPr>
                <a:t>Fine-Tuned ResNet18</a:t>
              </a:r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2844427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: 圆角 20">
            <a:extLst>
              <a:ext uri="{FF2B5EF4-FFF2-40B4-BE49-F238E27FC236}">
                <a16:creationId xmlns:a16="http://schemas.microsoft.com/office/drawing/2014/main" id="{8A607ABF-C136-F5B0-5C23-8697B3C40F5A}"/>
              </a:ext>
            </a:extLst>
          </p:cNvPr>
          <p:cNvSpPr/>
          <p:nvPr/>
        </p:nvSpPr>
        <p:spPr>
          <a:xfrm>
            <a:off x="874713" y="3973714"/>
            <a:ext cx="5978637" cy="2229575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15" name="矩形: 圆角 3">
            <a:extLst>
              <a:ext uri="{FF2B5EF4-FFF2-40B4-BE49-F238E27FC236}">
                <a16:creationId xmlns:a16="http://schemas.microsoft.com/office/drawing/2014/main" id="{C6D351DB-5CEB-943E-A3C9-52A637C07A33}"/>
              </a:ext>
            </a:extLst>
          </p:cNvPr>
          <p:cNvSpPr/>
          <p:nvPr/>
        </p:nvSpPr>
        <p:spPr>
          <a:xfrm>
            <a:off x="874713" y="1945882"/>
            <a:ext cx="5978637" cy="1808238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4EAAE7E-8825-1C20-CF47-B7D63ADF20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ox </a:t>
            </a:r>
            <a:r>
              <a:rPr lang="de-DE" err="1"/>
              <a:t>Localizatio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4F350ED-E11A-7F3E-D6D1-7AC8ABBAB3DC}"/>
              </a:ext>
            </a:extLst>
          </p:cNvPr>
          <p:cNvSpPr txBox="1"/>
          <p:nvPr/>
        </p:nvSpPr>
        <p:spPr>
          <a:xfrm>
            <a:off x="3251014" y="1946122"/>
            <a:ext cx="156543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de-DE" u="sng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7" name="文本框 5">
            <a:extLst>
              <a:ext uri="{FF2B5EF4-FFF2-40B4-BE49-F238E27FC236}">
                <a16:creationId xmlns:a16="http://schemas.microsoft.com/office/drawing/2014/main" id="{321B00DA-0C54-1DFD-FF85-36DC175FF2E1}"/>
              </a:ext>
            </a:extLst>
          </p:cNvPr>
          <p:cNvSpPr txBox="1"/>
          <p:nvPr/>
        </p:nvSpPr>
        <p:spPr>
          <a:xfrm>
            <a:off x="946932" y="2003838"/>
            <a:ext cx="1383712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Approach</a:t>
            </a:r>
          </a:p>
        </p:txBody>
      </p:sp>
      <p:sp>
        <p:nvSpPr>
          <p:cNvPr id="21" name="文本框 5">
            <a:extLst>
              <a:ext uri="{FF2B5EF4-FFF2-40B4-BE49-F238E27FC236}">
                <a16:creationId xmlns:a16="http://schemas.microsoft.com/office/drawing/2014/main" id="{8DB80EA5-9653-305E-BC65-CB041F34AB12}"/>
              </a:ext>
            </a:extLst>
          </p:cNvPr>
          <p:cNvSpPr txBox="1"/>
          <p:nvPr/>
        </p:nvSpPr>
        <p:spPr>
          <a:xfrm>
            <a:off x="946931" y="4082573"/>
            <a:ext cx="1481496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Evaluation</a:t>
            </a:r>
            <a:endParaRPr lang="de-DE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D6F2C6E-97C8-6F7C-C7CD-092FD51F1892}"/>
              </a:ext>
            </a:extLst>
          </p:cNvPr>
          <p:cNvSpPr txBox="1">
            <a:spLocks/>
          </p:cNvSpPr>
          <p:nvPr/>
        </p:nvSpPr>
        <p:spPr>
          <a:xfrm>
            <a:off x="445746" y="687598"/>
            <a:ext cx="6844385" cy="24981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Hand-</a:t>
            </a:r>
            <a:r>
              <a:rPr lang="de-DE" err="1"/>
              <a:t>Crafted</a:t>
            </a:r>
            <a:r>
              <a:rPr lang="de-DE"/>
              <a:t> Model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5AAEFF0-7421-C140-30C7-7F433E6FDB49}"/>
              </a:ext>
            </a:extLst>
          </p:cNvPr>
          <p:cNvSpPr txBox="1"/>
          <p:nvPr/>
        </p:nvSpPr>
        <p:spPr>
          <a:xfrm>
            <a:off x="1249680" y="2462784"/>
            <a:ext cx="5151120" cy="11900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Aft>
                <a:spcPts val="800"/>
              </a:spcAft>
              <a:buFont typeface="Arial,Sans-Serif"/>
              <a:buChar char="•"/>
            </a:pPr>
            <a:r>
              <a:rPr lang="de-DE" sz="1600" dirty="0">
                <a:latin typeface="Arial"/>
                <a:cs typeface="Arial"/>
              </a:rPr>
              <a:t>Simple </a:t>
            </a:r>
            <a:r>
              <a:rPr lang="de-DE" sz="1600" dirty="0" err="1">
                <a:latin typeface="Arial"/>
                <a:cs typeface="Arial"/>
              </a:rPr>
              <a:t>architecture</a:t>
            </a:r>
            <a:r>
              <a:rPr lang="de-DE" sz="1600" dirty="0">
                <a:latin typeface="Arial"/>
                <a:cs typeface="Arial"/>
              </a:rPr>
              <a:t> </a:t>
            </a:r>
            <a:r>
              <a:rPr lang="de-DE" sz="1600" dirty="0" err="1">
                <a:latin typeface="Arial"/>
                <a:cs typeface="Arial"/>
              </a:rPr>
              <a:t>with</a:t>
            </a:r>
            <a:r>
              <a:rPr lang="de-DE" sz="1600" dirty="0">
                <a:latin typeface="Arial"/>
                <a:cs typeface="Arial"/>
              </a:rPr>
              <a:t> </a:t>
            </a:r>
            <a:r>
              <a:rPr lang="de-DE" sz="1600" dirty="0" err="1">
                <a:latin typeface="Arial"/>
                <a:cs typeface="Arial"/>
              </a:rPr>
              <a:t>two</a:t>
            </a:r>
            <a:r>
              <a:rPr lang="de-DE" sz="1600" dirty="0">
                <a:latin typeface="Arial"/>
                <a:cs typeface="Arial"/>
              </a:rPr>
              <a:t> </a:t>
            </a:r>
            <a:r>
              <a:rPr lang="de-DE" sz="1600" dirty="0" err="1">
                <a:latin typeface="Arial"/>
                <a:cs typeface="Arial"/>
              </a:rPr>
              <a:t>convolutional</a:t>
            </a:r>
            <a:r>
              <a:rPr lang="de-DE" sz="1600" dirty="0">
                <a:latin typeface="Arial"/>
                <a:cs typeface="Arial"/>
              </a:rPr>
              <a:t> and </a:t>
            </a:r>
            <a:r>
              <a:rPr lang="de-DE" sz="1600" dirty="0" err="1">
                <a:latin typeface="Arial"/>
                <a:cs typeface="Arial"/>
              </a:rPr>
              <a:t>two</a:t>
            </a:r>
            <a:r>
              <a:rPr lang="de-DE" sz="1600" dirty="0">
                <a:latin typeface="Arial"/>
                <a:cs typeface="Arial"/>
              </a:rPr>
              <a:t> fully </a:t>
            </a:r>
            <a:r>
              <a:rPr lang="de-DE" sz="1600" dirty="0" err="1">
                <a:latin typeface="Arial"/>
                <a:cs typeface="Arial"/>
              </a:rPr>
              <a:t>connected</a:t>
            </a:r>
            <a:r>
              <a:rPr lang="de-DE" sz="1600" dirty="0">
                <a:latin typeface="Arial"/>
                <a:cs typeface="Arial"/>
              </a:rPr>
              <a:t> </a:t>
            </a:r>
            <a:r>
              <a:rPr lang="de-DE" sz="1600" dirty="0" err="1">
                <a:latin typeface="Arial"/>
                <a:cs typeface="Arial"/>
              </a:rPr>
              <a:t>layers</a:t>
            </a:r>
            <a:endParaRPr lang="de-DE" sz="1600" dirty="0">
              <a:latin typeface="Arial"/>
              <a:cs typeface="Arial"/>
            </a:endParaRPr>
          </a:p>
          <a:p>
            <a:pPr marL="285750" indent="-285750">
              <a:spcAft>
                <a:spcPts val="800"/>
              </a:spcAft>
              <a:buFont typeface="Arial,Sans-Serif"/>
              <a:buChar char="•"/>
            </a:pPr>
            <a:r>
              <a:rPr lang="de-DE" sz="1600" dirty="0">
                <a:cs typeface="Arial"/>
              </a:rPr>
              <a:t>Generally </a:t>
            </a:r>
            <a:r>
              <a:rPr lang="de-DE" sz="1600" dirty="0" err="1">
                <a:cs typeface="Arial"/>
              </a:rPr>
              <a:t>inaccurate</a:t>
            </a:r>
            <a:r>
              <a:rPr lang="de-DE" sz="1600" dirty="0">
                <a:cs typeface="Arial"/>
              </a:rPr>
              <a:t> </a:t>
            </a:r>
            <a:r>
              <a:rPr lang="de-DE" sz="1600" dirty="0" err="1">
                <a:cs typeface="Arial"/>
              </a:rPr>
              <a:t>performance</a:t>
            </a:r>
            <a:r>
              <a:rPr lang="de-DE" sz="1600" dirty="0">
                <a:cs typeface="Arial"/>
              </a:rPr>
              <a:t> </a:t>
            </a:r>
          </a:p>
          <a:p>
            <a:pPr marL="285750" indent="-285750">
              <a:spcAft>
                <a:spcPts val="800"/>
              </a:spcAft>
              <a:buFont typeface="Arial,Sans-Serif"/>
              <a:buChar char="•"/>
            </a:pPr>
            <a:endParaRPr lang="de-DE" sz="1600" dirty="0">
              <a:cs typeface="Arial"/>
            </a:endParaRPr>
          </a:p>
        </p:txBody>
      </p:sp>
      <p:sp>
        <p:nvSpPr>
          <p:cNvPr id="11" name="文本框 5">
            <a:extLst>
              <a:ext uri="{FF2B5EF4-FFF2-40B4-BE49-F238E27FC236}">
                <a16:creationId xmlns:a16="http://schemas.microsoft.com/office/drawing/2014/main" id="{EAE8AD44-10D7-EC1B-B3BC-B13D69F9AA31}"/>
              </a:ext>
            </a:extLst>
          </p:cNvPr>
          <p:cNvSpPr txBox="1"/>
          <p:nvPr/>
        </p:nvSpPr>
        <p:spPr>
          <a:xfrm>
            <a:off x="1247538" y="4655793"/>
            <a:ext cx="1371016" cy="707886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 dirty="0">
                <a:solidFill>
                  <a:srgbClr val="04316A"/>
                </a:solidFill>
                <a:latin typeface="+mj-lt"/>
              </a:rPr>
              <a:t>Avg. </a:t>
            </a:r>
            <a:r>
              <a:rPr lang="en-US" sz="2000" b="1" dirty="0" err="1">
                <a:solidFill>
                  <a:srgbClr val="04316A"/>
                </a:solidFill>
                <a:latin typeface="+mj-lt"/>
              </a:rPr>
              <a:t>IoU</a:t>
            </a:r>
            <a:r>
              <a:rPr lang="en-US" sz="2000" b="1" dirty="0">
                <a:solidFill>
                  <a:srgbClr val="04316A"/>
                </a:solidFill>
                <a:latin typeface="+mj-lt"/>
              </a:rPr>
              <a:t>: </a:t>
            </a:r>
            <a:endParaRPr lang="de-DE" dirty="0">
              <a:solidFill>
                <a:srgbClr val="000000"/>
              </a:solidFill>
              <a:latin typeface="+mj-lt"/>
            </a:endParaRPr>
          </a:p>
          <a:p>
            <a:r>
              <a:rPr lang="en-US" sz="2000" b="1" dirty="0">
                <a:solidFill>
                  <a:srgbClr val="04316A"/>
                </a:solidFill>
                <a:latin typeface="+mj-lt"/>
              </a:rPr>
              <a:t>   0.72</a:t>
            </a:r>
            <a:endParaRPr lang="de-DE" dirty="0">
              <a:cs typeface="Arial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F060FAA-0839-7235-BBDE-CA8ACCC5ED39}"/>
              </a:ext>
            </a:extLst>
          </p:cNvPr>
          <p:cNvSpPr txBox="1"/>
          <p:nvPr/>
        </p:nvSpPr>
        <p:spPr>
          <a:xfrm>
            <a:off x="998097" y="5470723"/>
            <a:ext cx="186547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200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In </a:t>
            </a:r>
            <a:r>
              <a:rPr lang="de-DE" sz="1200" err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the</a:t>
            </a:r>
            <a:r>
              <a:rPr lang="de-DE" sz="1200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 </a:t>
            </a:r>
            <a:r>
              <a:rPr lang="de-DE" sz="1200" err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test</a:t>
            </a:r>
            <a:r>
              <a:rPr lang="de-DE" sz="1200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 </a:t>
            </a:r>
            <a:r>
              <a:rPr lang="de-DE" sz="1200" err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data</a:t>
            </a:r>
            <a:r>
              <a:rPr lang="de-DE" sz="1200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 </a:t>
            </a:r>
            <a:r>
              <a:rPr lang="de-DE" sz="1200" err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the</a:t>
            </a:r>
            <a:r>
              <a:rPr lang="de-DE" sz="1200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 </a:t>
            </a:r>
            <a:r>
              <a:rPr lang="de-DE" sz="1200" b="1" err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maximun</a:t>
            </a:r>
            <a:r>
              <a:rPr lang="de-DE" sz="1200" b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 </a:t>
            </a:r>
            <a:r>
              <a:rPr lang="de-DE" sz="1200" b="1" err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IoU</a:t>
            </a:r>
            <a:r>
              <a:rPr lang="de-DE" sz="1200" b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 </a:t>
            </a:r>
            <a:r>
              <a:rPr lang="de-DE" sz="1200" b="1" err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is</a:t>
            </a:r>
            <a:r>
              <a:rPr lang="de-DE" sz="1200" b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 0.86 </a:t>
            </a:r>
            <a:r>
              <a:rPr lang="de-DE" sz="1200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and </a:t>
            </a:r>
            <a:r>
              <a:rPr lang="de-DE" sz="1200" err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the</a:t>
            </a:r>
            <a:r>
              <a:rPr lang="de-DE" sz="1200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 </a:t>
            </a:r>
            <a:r>
              <a:rPr lang="de-DE" sz="1200" b="1" err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minimun</a:t>
            </a:r>
            <a:r>
              <a:rPr lang="de-DE" sz="1200" b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 </a:t>
            </a:r>
            <a:r>
              <a:rPr lang="de-DE" sz="1200" b="1" err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IoU</a:t>
            </a:r>
            <a:r>
              <a:rPr lang="de-DE" sz="1200" b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 </a:t>
            </a:r>
            <a:r>
              <a:rPr lang="de-DE" sz="1200" b="1" err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is</a:t>
            </a:r>
            <a:r>
              <a:rPr lang="de-DE" sz="1200" b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 0.46</a:t>
            </a:r>
          </a:p>
          <a:p>
            <a:pPr algn="ctr"/>
            <a:endParaRPr lang="de-DE">
              <a:solidFill>
                <a:schemeClr val="tx1">
                  <a:lumMod val="85000"/>
                  <a:lumOff val="15000"/>
                </a:schemeClr>
              </a:solidFill>
              <a:cs typeface="Arial"/>
            </a:endParaRPr>
          </a:p>
        </p:txBody>
      </p:sp>
      <p:pic>
        <p:nvPicPr>
          <p:cNvPr id="14" name="Grafik 10" descr="Ein Bild, das Text, drinnen enthält.&#10;&#10;Beschreibung automatisch generiert.">
            <a:extLst>
              <a:ext uri="{FF2B5EF4-FFF2-40B4-BE49-F238E27FC236}">
                <a16:creationId xmlns:a16="http://schemas.microsoft.com/office/drawing/2014/main" id="{27A6EFCF-D7CE-680C-C5BB-4B150A79656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565" b="21565"/>
          <a:stretch/>
        </p:blipFill>
        <p:spPr>
          <a:xfrm>
            <a:off x="7448290" y="4520723"/>
            <a:ext cx="3984868" cy="1438552"/>
          </a:xfrm>
          <a:prstGeom prst="rect">
            <a:avLst/>
          </a:prstGeom>
        </p:spPr>
      </p:pic>
      <p:pic>
        <p:nvPicPr>
          <p:cNvPr id="18" name="Grafik 11" descr="Ein Bild, das Text, drinnen enthält.&#10;&#10;Beschreibung automatisch generiert.">
            <a:extLst>
              <a:ext uri="{FF2B5EF4-FFF2-40B4-BE49-F238E27FC236}">
                <a16:creationId xmlns:a16="http://schemas.microsoft.com/office/drawing/2014/main" id="{9D1A3F15-BB1F-12D5-A3F7-2B7CDCC42C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8434" y="2005327"/>
            <a:ext cx="3211582" cy="1990128"/>
          </a:xfrm>
          <a:prstGeom prst="rect">
            <a:avLst/>
          </a:prstGeom>
        </p:spPr>
      </p:pic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6DA70F5C-C36A-0908-15F7-DCADB4D18B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5432700"/>
              </p:ext>
            </p:extLst>
          </p:nvPr>
        </p:nvGraphicFramePr>
        <p:xfrm>
          <a:off x="3213735" y="4584191"/>
          <a:ext cx="3362703" cy="12773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0901">
                  <a:extLst>
                    <a:ext uri="{9D8B030D-6E8A-4147-A177-3AD203B41FA5}">
                      <a16:colId xmlns:a16="http://schemas.microsoft.com/office/drawing/2014/main" val="3962916728"/>
                    </a:ext>
                  </a:extLst>
                </a:gridCol>
                <a:gridCol w="1120901">
                  <a:extLst>
                    <a:ext uri="{9D8B030D-6E8A-4147-A177-3AD203B41FA5}">
                      <a16:colId xmlns:a16="http://schemas.microsoft.com/office/drawing/2014/main" val="481503173"/>
                    </a:ext>
                  </a:extLst>
                </a:gridCol>
                <a:gridCol w="1120901">
                  <a:extLst>
                    <a:ext uri="{9D8B030D-6E8A-4147-A177-3AD203B41FA5}">
                      <a16:colId xmlns:a16="http://schemas.microsoft.com/office/drawing/2014/main" val="234759083"/>
                    </a:ext>
                  </a:extLst>
                </a:gridCol>
              </a:tblGrid>
              <a:tr h="255469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Threshold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Precision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Recall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144229921"/>
                  </a:ext>
                </a:extLst>
              </a:tr>
              <a:tr h="255469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8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1.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6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40238152"/>
                  </a:ext>
                </a:extLst>
              </a:tr>
              <a:tr h="255469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85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1.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1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34509032"/>
                  </a:ext>
                </a:extLst>
              </a:tr>
              <a:tr h="255469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9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500068441"/>
                  </a:ext>
                </a:extLst>
              </a:tr>
              <a:tr h="255469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.95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</a:pPr>
                      <a:r>
                        <a:rPr lang="en-US" sz="1000">
                          <a:effectLst/>
                        </a:rPr>
                        <a:t>0</a:t>
                      </a:r>
                      <a:endParaRPr lang="en-US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159716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306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EAAE7E-8825-1C20-CF47-B7D63ADF20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ox </a:t>
            </a:r>
            <a:r>
              <a:rPr lang="de-DE" err="1"/>
              <a:t>Localizatio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4F350ED-E11A-7F3E-D6D1-7AC8ABBAB3DC}"/>
              </a:ext>
            </a:extLst>
          </p:cNvPr>
          <p:cNvSpPr txBox="1"/>
          <p:nvPr/>
        </p:nvSpPr>
        <p:spPr>
          <a:xfrm>
            <a:off x="3251014" y="1946122"/>
            <a:ext cx="156543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de-DE" u="sng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0" name="矩形: 圆角 20">
            <a:extLst>
              <a:ext uri="{FF2B5EF4-FFF2-40B4-BE49-F238E27FC236}">
                <a16:creationId xmlns:a16="http://schemas.microsoft.com/office/drawing/2014/main" id="{090B08D9-39AA-BDDC-9807-DD7FF5928F93}"/>
              </a:ext>
            </a:extLst>
          </p:cNvPr>
          <p:cNvSpPr/>
          <p:nvPr/>
        </p:nvSpPr>
        <p:spPr>
          <a:xfrm>
            <a:off x="817741" y="2748817"/>
            <a:ext cx="5978637" cy="2229575"/>
          </a:xfrm>
          <a:prstGeom prst="roundRect">
            <a:avLst>
              <a:gd name="adj" fmla="val 488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思源黑体 CN Regular"/>
              <a:cs typeface="+mn-cs"/>
            </a:endParaRPr>
          </a:p>
        </p:txBody>
      </p:sp>
      <p:sp>
        <p:nvSpPr>
          <p:cNvPr id="21" name="文本框 5">
            <a:extLst>
              <a:ext uri="{FF2B5EF4-FFF2-40B4-BE49-F238E27FC236}">
                <a16:creationId xmlns:a16="http://schemas.microsoft.com/office/drawing/2014/main" id="{8DB80EA5-9653-305E-BC65-CB041F34AB12}"/>
              </a:ext>
            </a:extLst>
          </p:cNvPr>
          <p:cNvSpPr txBox="1"/>
          <p:nvPr/>
        </p:nvSpPr>
        <p:spPr>
          <a:xfrm>
            <a:off x="892216" y="2902536"/>
            <a:ext cx="2193486" cy="40011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r>
              <a:rPr lang="en-US" sz="2000" b="1">
                <a:solidFill>
                  <a:srgbClr val="04316A"/>
                </a:solidFill>
                <a:latin typeface="+mj-lt"/>
              </a:rPr>
              <a:t>Transformations</a:t>
            </a:r>
            <a:endParaRPr lang="de-DE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766D317-FA3A-2906-C098-6CE25A4ED5B7}"/>
              </a:ext>
            </a:extLst>
          </p:cNvPr>
          <p:cNvSpPr txBox="1"/>
          <p:nvPr/>
        </p:nvSpPr>
        <p:spPr>
          <a:xfrm>
            <a:off x="1018761" y="3529981"/>
            <a:ext cx="1170432" cy="281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b="1" err="1">
                <a:latin typeface="Arial"/>
                <a:cs typeface="Arial"/>
              </a:rPr>
              <a:t>Rotations</a:t>
            </a:r>
            <a:endParaRPr kumimoji="0" lang="de-DE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E2E54F89-0027-0F5F-A785-EB24F45D2E4F}"/>
              </a:ext>
            </a:extLst>
          </p:cNvPr>
          <p:cNvSpPr txBox="1"/>
          <p:nvPr/>
        </p:nvSpPr>
        <p:spPr>
          <a:xfrm>
            <a:off x="2954829" y="3529981"/>
            <a:ext cx="1298448" cy="281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b="1">
                <a:latin typeface="Arial"/>
                <a:cs typeface="Arial"/>
              </a:rPr>
              <a:t>Color </a:t>
            </a:r>
            <a:r>
              <a:rPr lang="de-DE" b="1" err="1">
                <a:latin typeface="Arial"/>
                <a:cs typeface="Arial"/>
              </a:rPr>
              <a:t>Jitter</a:t>
            </a:r>
            <a:endParaRPr lang="de-DE" b="1">
              <a:cs typeface="Arial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5E5A4A0-A94D-BD8A-DE59-EE5DB9F2D880}"/>
              </a:ext>
            </a:extLst>
          </p:cNvPr>
          <p:cNvSpPr txBox="1"/>
          <p:nvPr/>
        </p:nvSpPr>
        <p:spPr>
          <a:xfrm>
            <a:off x="4836971" y="3529981"/>
            <a:ext cx="1528257" cy="281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b="1" err="1">
                <a:latin typeface="Arial"/>
                <a:cs typeface="Arial"/>
              </a:rPr>
              <a:t>Normalization</a:t>
            </a:r>
            <a:endParaRPr lang="de-DE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D6F2C6E-97C8-6F7C-C7CD-092FD51F1892}"/>
              </a:ext>
            </a:extLst>
          </p:cNvPr>
          <p:cNvSpPr txBox="1">
            <a:spLocks/>
          </p:cNvSpPr>
          <p:nvPr/>
        </p:nvSpPr>
        <p:spPr>
          <a:xfrm>
            <a:off x="439698" y="675503"/>
            <a:ext cx="6844385" cy="24981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rgbClr val="041E42"/>
                </a:solidFill>
              </a:rPr>
              <a:t>Data </a:t>
            </a:r>
            <a:r>
              <a:rPr lang="de-DE" err="1">
                <a:solidFill>
                  <a:srgbClr val="041E42"/>
                </a:solidFill>
              </a:rPr>
              <a:t>Preprocessing</a:t>
            </a:r>
            <a:endParaRPr lang="en-GB">
              <a:solidFill>
                <a:srgbClr val="041E42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8BFEA6ED-2DB4-9F14-A0A2-05F87535397E}"/>
              </a:ext>
            </a:extLst>
          </p:cNvPr>
          <p:cNvSpPr txBox="1"/>
          <p:nvPr/>
        </p:nvSpPr>
        <p:spPr>
          <a:xfrm>
            <a:off x="938988" y="3939225"/>
            <a:ext cx="2167890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de-DE" sz="1400">
                <a:cs typeface="Arial"/>
              </a:rPr>
              <a:t>Up </a:t>
            </a:r>
            <a:r>
              <a:rPr lang="de-DE" sz="1400" err="1">
                <a:cs typeface="Arial"/>
              </a:rPr>
              <a:t>to</a:t>
            </a:r>
            <a:r>
              <a:rPr lang="de-DE" sz="1400">
                <a:cs typeface="Arial"/>
              </a:rPr>
              <a:t> 10 </a:t>
            </a:r>
            <a:r>
              <a:rPr lang="de-DE" sz="1400" err="1">
                <a:cs typeface="Arial"/>
              </a:rPr>
              <a:t>degrees</a:t>
            </a:r>
            <a:endParaRPr lang="de-DE" sz="140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de-DE" sz="1400">
                <a:cs typeface="Arial"/>
              </a:rPr>
              <a:t>P = 0.2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542D4D6-2DBF-973E-CABE-2047AAAACF06}"/>
              </a:ext>
            </a:extLst>
          </p:cNvPr>
          <p:cNvSpPr txBox="1"/>
          <p:nvPr/>
        </p:nvSpPr>
        <p:spPr>
          <a:xfrm>
            <a:off x="2927116" y="3938521"/>
            <a:ext cx="1838706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de-DE" sz="1400" err="1"/>
              <a:t>Brigness</a:t>
            </a:r>
            <a:r>
              <a:rPr lang="de-DE" sz="1400"/>
              <a:t>: 0.1</a:t>
            </a:r>
          </a:p>
          <a:p>
            <a:pPr marL="285750" indent="-285750">
              <a:buFont typeface="Arial"/>
              <a:buChar char="•"/>
            </a:pPr>
            <a:r>
              <a:rPr lang="de-DE" sz="1400">
                <a:cs typeface="Arial"/>
              </a:rPr>
              <a:t>Saturation: 0.1</a:t>
            </a:r>
          </a:p>
          <a:p>
            <a:pPr marL="285750" indent="-285750">
              <a:buFont typeface="Arial"/>
              <a:buChar char="•"/>
            </a:pPr>
            <a:r>
              <a:rPr lang="de-DE" sz="1400">
                <a:cs typeface="Arial"/>
              </a:rPr>
              <a:t>Hue: 0.1</a:t>
            </a:r>
          </a:p>
          <a:p>
            <a:pPr marL="285750" indent="-285750">
              <a:buFont typeface="Arial"/>
              <a:buChar char="•"/>
            </a:pPr>
            <a:r>
              <a:rPr lang="de-DE" sz="1400">
                <a:cs typeface="Arial"/>
              </a:rPr>
              <a:t>P = 0.3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4CA336F-AD78-260F-E1CE-F3280CD63783}"/>
              </a:ext>
            </a:extLst>
          </p:cNvPr>
          <p:cNvSpPr txBox="1"/>
          <p:nvPr/>
        </p:nvSpPr>
        <p:spPr>
          <a:xfrm>
            <a:off x="4749820" y="3938521"/>
            <a:ext cx="2350770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DE" sz="1400" err="1">
                <a:cs typeface="Arial"/>
              </a:rPr>
              <a:t>According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to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the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traning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images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of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the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pretrained</a:t>
            </a:r>
            <a:r>
              <a:rPr lang="de-DE" sz="1400">
                <a:cs typeface="Arial"/>
              </a:rPr>
              <a:t> network</a:t>
            </a:r>
          </a:p>
        </p:txBody>
      </p:sp>
      <p:pic>
        <p:nvPicPr>
          <p:cNvPr id="16" name="Grafik 18" descr="Ein Bild, das drinnen enthält.&#10;&#10;Beschreibung automatisch generiert.">
            <a:extLst>
              <a:ext uri="{FF2B5EF4-FFF2-40B4-BE49-F238E27FC236}">
                <a16:creationId xmlns:a16="http://schemas.microsoft.com/office/drawing/2014/main" id="{9B91BFD8-BF8B-B9CA-C0EF-ED99DB7B66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8096" y="1898443"/>
            <a:ext cx="1950720" cy="1902873"/>
          </a:xfrm>
          <a:prstGeom prst="rect">
            <a:avLst/>
          </a:prstGeom>
        </p:spPr>
      </p:pic>
      <p:pic>
        <p:nvPicPr>
          <p:cNvPr id="19" name="Grafik 23" descr="Ein Bild, das drinnen enthält.&#10;&#10;Beschreibung automatisch generiert.">
            <a:extLst>
              <a:ext uri="{FF2B5EF4-FFF2-40B4-BE49-F238E27FC236}">
                <a16:creationId xmlns:a16="http://schemas.microsoft.com/office/drawing/2014/main" id="{BE8F2435-928E-15B3-434F-23D812F25F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8096" y="4187121"/>
            <a:ext cx="1950720" cy="1952383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CEA5BA0A-8E35-423E-EF8F-75E8E3AD000C}"/>
              </a:ext>
            </a:extLst>
          </p:cNvPr>
          <p:cNvSpPr txBox="1"/>
          <p:nvPr/>
        </p:nvSpPr>
        <p:spPr>
          <a:xfrm>
            <a:off x="10446493" y="2674889"/>
            <a:ext cx="1353312" cy="281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>
                <a:latin typeface="Arial"/>
                <a:cs typeface="Arial"/>
              </a:rPr>
              <a:t>Rotation</a:t>
            </a:r>
            <a:endParaRPr lang="de-DE">
              <a:cs typeface="Arial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2EA6FF6-DF24-58DA-E183-126FCA886E26}"/>
              </a:ext>
            </a:extLst>
          </p:cNvPr>
          <p:cNvSpPr txBox="1"/>
          <p:nvPr/>
        </p:nvSpPr>
        <p:spPr>
          <a:xfrm>
            <a:off x="10446493" y="5074834"/>
            <a:ext cx="1353312" cy="281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>
                <a:latin typeface="Arial"/>
                <a:cs typeface="Arial"/>
              </a:rPr>
              <a:t>Color </a:t>
            </a:r>
            <a:r>
              <a:rPr lang="de-DE" err="1">
                <a:latin typeface="Arial"/>
                <a:cs typeface="Arial"/>
              </a:rPr>
              <a:t>Jitter</a:t>
            </a:r>
            <a:endParaRPr lang="de-D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35823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I.gJcNMirOVV8MPo9Xb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WNi4K8vbavvhNenfEsg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8T40xN0Ac5tjdcvFLMt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d0O3f3RYwvJiC8iXn1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n0_k6vDZzOMagBjj_iE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RyCqdlDgbWM.aBVeEj0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14HaXxXetj9spIQA1lA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oyXFNyO5KFpJY2aGnS.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5IuhVAgPLk.q.uT8j0s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JCLY3mbcm3VmTI9lgI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Hm5BINKJTzJ4xgBj1dd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xR.bfSWLCX6WbXGs1yH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Bir5twenX9D83tnyFnW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CBExGGcT3EOFEgyhlys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js0IRl9zV3SSHVsOXjr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4IqNWXnHiwCy48g4Hhr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.GdH6ETw8W7aA2SGjiG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Yspf.cofdi_CFcTEPOn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08RZNNcZfPo0q3yS0zp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9V8JKWBThrDdlsXeAU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CRKPEnz4mXCPgXYX16E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hRO_ULBvZAVZJAqnWRt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iBZXfaUYMddyCC.NxY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uPd0PR92OjZjJL1PpPr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tNNVOTdgxV7FYe2ydjc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zTAbCHaskZ2aIeKwDYp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zTAbCHaskZ2aIeKwDYp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ABwqYAyR7kGrHBxaNyw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JCLY3mbcm3VmTI9lgIi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9MqlnyPRP2NYxRg2Ms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0bDKbFoyCpmm2pkKepf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9MqlnyPRP2NYxRg2Ms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C0rO5x4ghnzzxMPKIw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4RHTylVld7z8.0fhB.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gFWu6Sw4MfxrSFxCX0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Rcr9I_yDph95rUGXvq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X2uVmyxnCP_08WOgP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u_zYvhFklVAH4hgVn13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Mnfzml0eGtRmAQ.HWHP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kgDcTFHtKOEUxz6gIS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CH4LUKX.6FDxKnBJTU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6WXkV5Q1YMdTo7BWiWi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8U.8ILUWfP2Bk0z6Se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vtFGq0SJQmGcEuEa2Qw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nhlo2jDYK.D_zpQHXM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KaGmhGSKtE1cUusV.kk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ZsyYMP00lULakfb3ek0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nnZkno672SQO_GpKt8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yeUCZ2k2z.djylSI_Ws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j4oucic51RHVF1towH5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sKxgW.1uEOOBd9PEvp_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MUSKjYAbie2Cxk2RNd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tquLji.B3OAw_fBx37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KWASL2CUXj4jGzBhN7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5jMunfo6JqOHx2Rpk7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JEo7AXAzythzsDMXdpM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beV7jr03IPlJY8RMH95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5e19IBGjVF.olW7kEh9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qh5oX6zdCAVTm8DJSbV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Yrmjtsmg7QJ_foTgmft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5NMGrQWfsqueZRimNZ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lL1nABd96XTR9V1QwEu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5jCycOfDKctc78UoR3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O_mhE2sQEdJBG0qMyrK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gVAmigB61.Jw6x802u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Ssm3fE3JmuxJY71_AX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_Oj5bZ0uAO.MmuyFxj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aqJes3QZNlzbaZpLhBG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f1KFl0.f1Ezq7qNn7jG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pEkE9KBupZT06IFBAqS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Ozsl9YJvXhg3khhf3Y1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nVkcZLD_sxxcW8CIMJ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BJDU.LXhXsxTOz3MEvZ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fgkIYuKTklR6nYNBCG6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g3qVNLHHnnu.XFTKRk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8AgkXnllYC2B0EQtrA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767qXnAU9Db1oNSZQUW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vuwMKFslUyyyKKIjqXn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t07aVThuvtSryOh7fyR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UKy14DiqqC6hK7_tQCi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FERHipwYocEHlUapChd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_yRYAQNLeg63ZPTdYVq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NDVCJU5yI_QJoxmrGs3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nVMzK9MTxYEOl76NiJ0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RJ6mmTTLKZF1btYrwh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nF4fcFgyXTpoJu_BUN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J5XZ.oJK29oGHScvIhz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cr91Ekb52ZlmlrjJhr8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l8dvgzfr6DZvxMTLmSU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LnivQeXDT6Ymyqn_vhL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AdRV5UCgCFahywG_8a7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hyRP34FpQC7o.dAUXI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1gXFfk18E71AECgHif7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jb6I4koYcNXtF6xXkhb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wddDHPGjPuwTLx.wff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dtLer_SN4EjNaesh4Qh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JTCVw.XsFP6VUkV_AAE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25.oc0kcW2LFLas9nWH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ODTwZ54p6fVLHygO6kh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9MqlnyPRP2NYxRg2MsK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Q4QeCS_aiv5ipPdcBrF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iOrNuOavKEsq6mlbrZj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515PT5arWxIArxc2b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ywML.hk57OC9nEkoCLe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TclzqyJSOG_AGoqb4O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VpWtqsomq1OasvJtbu9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08HpOkARz_Baq.w5Lwg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2NRx5YAupizDIRNI130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_pIyij4bQ5H0.hRNxXV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ABwqYAyR7kGrHBxaNyw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oOwVTae5qiQVK.KFqMK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zTAbCHaskZ2aIeKwDY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XXvHgf4uKt8.Sn8zTqq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VsjI51UKJ6smaGu04jR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BMCKzNwYRX1ZLlXwn5nA"/>
</p:tagLst>
</file>

<file path=ppt/theme/theme1.xml><?xml version="1.0" encoding="utf-8"?>
<a:theme xmlns:a="http://schemas.openxmlformats.org/drawingml/2006/main" name="FAU - Wirtschafts- und Sozialwissenschaften">
  <a:themeElements>
    <a:clrScheme name="Custom 1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003865"/>
      </a:accent1>
      <a:accent2>
        <a:srgbClr val="8D1429"/>
      </a:accent2>
      <a:accent3>
        <a:srgbClr val="17BEBB"/>
      </a:accent3>
      <a:accent4>
        <a:srgbClr val="FFC000"/>
      </a:accent4>
      <a:accent5>
        <a:srgbClr val="EBCCB7"/>
      </a:accent5>
      <a:accent6>
        <a:srgbClr val="C7C7C7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_Titel">
  <a:themeElements>
    <a:clrScheme name="F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3865"/>
      </a:accent1>
      <a:accent2>
        <a:srgbClr val="8D1429"/>
      </a:accent2>
      <a:accent3>
        <a:srgbClr val="70AD47"/>
      </a:accent3>
      <a:accent4>
        <a:srgbClr val="954F72"/>
      </a:accent4>
      <a:accent5>
        <a:srgbClr val="5B9BD5"/>
      </a:accent5>
      <a:accent6>
        <a:srgbClr val="ED7D31"/>
      </a:accent6>
      <a:hlink>
        <a:srgbClr val="0563C1"/>
      </a:hlink>
      <a:folHlink>
        <a:srgbClr val="954F72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FAU - Wirtschafts- und Sozialwissenschaften">
  <a:themeElements>
    <a:clrScheme name="FAU - Rot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7F7F7F"/>
      </a:accent1>
      <a:accent2>
        <a:srgbClr val="662938"/>
      </a:accent2>
      <a:accent3>
        <a:srgbClr val="971B2F"/>
      </a:accent3>
      <a:accent4>
        <a:srgbClr val="C50F3C"/>
      </a:accent4>
      <a:accent5>
        <a:srgbClr val="EBCCB7"/>
      </a:accent5>
      <a:accent6>
        <a:srgbClr val="C7C7C7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FDD9FE6657DB143A5315A65E48A0D0D" ma:contentTypeVersion="10" ma:contentTypeDescription="Ein neues Dokument erstellen." ma:contentTypeScope="" ma:versionID="bc54c1613d04fad341169c27e268dbfe">
  <xsd:schema xmlns:xsd="http://www.w3.org/2001/XMLSchema" xmlns:xs="http://www.w3.org/2001/XMLSchema" xmlns:p="http://schemas.microsoft.com/office/2006/metadata/properties" xmlns:ns2="108ae969-72cb-4d3b-b8ee-b35a78b72763" xmlns:ns3="cc4d19f6-bfbc-4a1c-b196-c064732be69e" targetNamespace="http://schemas.microsoft.com/office/2006/metadata/properties" ma:root="true" ma:fieldsID="701eae9e8d3cd3f9d42cbad78389ec0d" ns2:_="" ns3:_="">
    <xsd:import namespace="108ae969-72cb-4d3b-b8ee-b35a78b72763"/>
    <xsd:import namespace="cc4d19f6-bfbc-4a1c-b196-c064732be6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8ae969-72cb-4d3b-b8ee-b35a78b727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0e979915-1b84-43d5-84e4-ad1a289bda8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4d19f6-bfbc-4a1c-b196-c064732be69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a4385773-0eeb-4bb4-a486-344640a6d114}" ma:internalName="TaxCatchAll" ma:showField="CatchAllData" ma:web="cc4d19f6-bfbc-4a1c-b196-c064732be6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c4d19f6-bfbc-4a1c-b196-c064732be69e" xsi:nil="true"/>
    <lcf76f155ced4ddcb4097134ff3c332f xmlns="108ae969-72cb-4d3b-b8ee-b35a78b72763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457329C-FB5F-4A4D-B331-82D30E9A743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69AFCB8-284E-4ADC-8800-B8A8489449CE}">
  <ds:schemaRefs>
    <ds:schemaRef ds:uri="108ae969-72cb-4d3b-b8ee-b35a78b72763"/>
    <ds:schemaRef ds:uri="cc4d19f6-bfbc-4a1c-b196-c064732be69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C1A7FE3-81F7-4596-A188-3EE8D4188E1F}">
  <ds:schemaRefs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cc4d19f6-bfbc-4a1c-b196-c064732be69e"/>
    <ds:schemaRef ds:uri="108ae969-72cb-4d3b-b8ee-b35a78b72763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71</Words>
  <Application>Microsoft Macintosh PowerPoint</Application>
  <PresentationFormat>Breitbild</PresentationFormat>
  <Paragraphs>480</Paragraphs>
  <Slides>31</Slides>
  <Notes>1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31</vt:i4>
      </vt:variant>
    </vt:vector>
  </HeadingPairs>
  <TitlesOfParts>
    <vt:vector size="45" baseType="lpstr">
      <vt:lpstr>Arial</vt:lpstr>
      <vt:lpstr>Arial,Sans-Serif</vt:lpstr>
      <vt:lpstr>Calibri</vt:lpstr>
      <vt:lpstr>Calibri Light</vt:lpstr>
      <vt:lpstr>Helvetica</vt:lpstr>
      <vt:lpstr>Roboto</vt:lpstr>
      <vt:lpstr>Symbol</vt:lpstr>
      <vt:lpstr>Times New Roman</vt:lpstr>
      <vt:lpstr>Wingdings</vt:lpstr>
      <vt:lpstr>FAU - Wirtschafts- und Sozialwissenschaften</vt:lpstr>
      <vt:lpstr>DE_Titel</vt:lpstr>
      <vt:lpstr>FAU - Wirtschafts- und Sozialwissenschaften</vt:lpstr>
      <vt:lpstr>think-cell Folie</vt:lpstr>
      <vt:lpstr>think-cell Slide</vt:lpstr>
      <vt:lpstr>Quality Control of Kontron Industrial Computers Development of Deep Vision Systems</vt:lpstr>
      <vt:lpstr>Agenda</vt:lpstr>
      <vt:lpstr>PowerPoint-Präsentation</vt:lpstr>
      <vt:lpstr>Project Timeline </vt:lpstr>
      <vt:lpstr>PowerPoint-Präsentation</vt:lpstr>
      <vt:lpstr>PowerPoint-Präsentation</vt:lpstr>
      <vt:lpstr>Box Classification</vt:lpstr>
      <vt:lpstr>Box Localization</vt:lpstr>
      <vt:lpstr>Box Localization</vt:lpstr>
      <vt:lpstr>Box Localization</vt:lpstr>
      <vt:lpstr>Box Localization</vt:lpstr>
      <vt:lpstr>Box Localization</vt:lpstr>
      <vt:lpstr>Box Alignment</vt:lpstr>
      <vt:lpstr>Data Preparation: Components</vt:lpstr>
      <vt:lpstr>Component Classification</vt:lpstr>
      <vt:lpstr>Component Classification</vt:lpstr>
      <vt:lpstr>Component Anomaly Detection</vt:lpstr>
      <vt:lpstr>Component Anomaly Detection</vt:lpstr>
      <vt:lpstr>Component Anomaly Detection</vt:lpstr>
      <vt:lpstr>Component Anomaly Detection</vt:lpstr>
      <vt:lpstr>Discuss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Feedbacks and Questions</vt:lpstr>
      <vt:lpstr>References</vt:lpstr>
      <vt:lpstr>Appendix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llkommen</dc:title>
  <dc:creator>Julia Gutschmidt</dc:creator>
  <cp:lastModifiedBy>Wilps, Julius</cp:lastModifiedBy>
  <cp:revision>1</cp:revision>
  <dcterms:created xsi:type="dcterms:W3CDTF">2021-11-18T07:49:57Z</dcterms:created>
  <dcterms:modified xsi:type="dcterms:W3CDTF">2023-03-13T22:5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DD9FE6657DB143A5315A65E48A0D0D</vt:lpwstr>
  </property>
  <property fmtid="{D5CDD505-2E9C-101B-9397-08002B2CF9AE}" pid="3" name="MediaServiceImageTags">
    <vt:lpwstr/>
  </property>
</Properties>
</file>